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3.xml" ContentType="application/vnd.openxmlformats-officedocument.drawingml.chart+xml"/>
  <Override PartName="/ppt/charts/chart14.xml" ContentType="application/vnd.openxmlformats-officedocument.drawingml.chart+xml"/>
  <Override PartName="/ppt/notesSlides/notesSlide5.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33.xml" ContentType="application/vnd.openxmlformats-officedocument.drawingml.chart+xml"/>
  <Override PartName="/ppt/charts/chart34.xml" ContentType="application/vnd.openxmlformats-officedocument.drawingml.chart+xml"/>
  <Override PartName="/ppt/notesSlides/notesSlide9.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notesSlides/notesSlide12.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notesSlides/notesSlide13.xml" ContentType="application/vnd.openxmlformats-officedocument.presentationml.notesSl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notesSlides/notesSlide14.xml" ContentType="application/vnd.openxmlformats-officedocument.presentationml.notesSlide+xml"/>
  <Override PartName="/ppt/media/image53.jpg" ContentType="image/png"/>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1" r:id="rId1"/>
    <p:sldMasterId id="2147483744" r:id="rId2"/>
    <p:sldMasterId id="2147483746" r:id="rId3"/>
  </p:sldMasterIdLst>
  <p:notesMasterIdLst>
    <p:notesMasterId r:id="rId77"/>
  </p:notesMasterIdLst>
  <p:handoutMasterIdLst>
    <p:handoutMasterId r:id="rId78"/>
  </p:handoutMasterIdLst>
  <p:sldIdLst>
    <p:sldId id="730" r:id="rId4"/>
    <p:sldId id="833" r:id="rId5"/>
    <p:sldId id="835" r:id="rId6"/>
    <p:sldId id="834" r:id="rId7"/>
    <p:sldId id="758" r:id="rId8"/>
    <p:sldId id="759" r:id="rId9"/>
    <p:sldId id="762" r:id="rId10"/>
    <p:sldId id="751" r:id="rId11"/>
    <p:sldId id="763" r:id="rId12"/>
    <p:sldId id="764" r:id="rId13"/>
    <p:sldId id="765" r:id="rId14"/>
    <p:sldId id="826" r:id="rId15"/>
    <p:sldId id="827" r:id="rId16"/>
    <p:sldId id="766" r:id="rId17"/>
    <p:sldId id="767" r:id="rId18"/>
    <p:sldId id="768" r:id="rId19"/>
    <p:sldId id="769" r:id="rId20"/>
    <p:sldId id="770" r:id="rId21"/>
    <p:sldId id="828" r:id="rId22"/>
    <p:sldId id="755" r:id="rId23"/>
    <p:sldId id="771" r:id="rId24"/>
    <p:sldId id="772" r:id="rId25"/>
    <p:sldId id="773" r:id="rId26"/>
    <p:sldId id="829" r:id="rId27"/>
    <p:sldId id="830" r:id="rId28"/>
    <p:sldId id="774" r:id="rId29"/>
    <p:sldId id="775" r:id="rId30"/>
    <p:sldId id="776" r:id="rId31"/>
    <p:sldId id="777" r:id="rId32"/>
    <p:sldId id="778" r:id="rId33"/>
    <p:sldId id="779" r:id="rId34"/>
    <p:sldId id="756" r:id="rId35"/>
    <p:sldId id="780" r:id="rId36"/>
    <p:sldId id="781" r:id="rId37"/>
    <p:sldId id="782" r:id="rId38"/>
    <p:sldId id="783" r:id="rId39"/>
    <p:sldId id="784" r:id="rId40"/>
    <p:sldId id="785" r:id="rId41"/>
    <p:sldId id="786" r:id="rId42"/>
    <p:sldId id="757" r:id="rId43"/>
    <p:sldId id="787" r:id="rId44"/>
    <p:sldId id="788" r:id="rId45"/>
    <p:sldId id="789" r:id="rId46"/>
    <p:sldId id="831" r:id="rId47"/>
    <p:sldId id="790" r:id="rId48"/>
    <p:sldId id="791" r:id="rId49"/>
    <p:sldId id="792" r:id="rId50"/>
    <p:sldId id="793" r:id="rId51"/>
    <p:sldId id="794" r:id="rId52"/>
    <p:sldId id="796" r:id="rId53"/>
    <p:sldId id="797" r:id="rId54"/>
    <p:sldId id="798" r:id="rId55"/>
    <p:sldId id="799" r:id="rId56"/>
    <p:sldId id="832" r:id="rId57"/>
    <p:sldId id="800" r:id="rId58"/>
    <p:sldId id="801" r:id="rId59"/>
    <p:sldId id="802" r:id="rId60"/>
    <p:sldId id="803" r:id="rId61"/>
    <p:sldId id="804" r:id="rId62"/>
    <p:sldId id="817" r:id="rId63"/>
    <p:sldId id="818" r:id="rId64"/>
    <p:sldId id="819" r:id="rId65"/>
    <p:sldId id="820" r:id="rId66"/>
    <p:sldId id="821" r:id="rId67"/>
    <p:sldId id="822" r:id="rId68"/>
    <p:sldId id="815" r:id="rId69"/>
    <p:sldId id="809" r:id="rId70"/>
    <p:sldId id="810" r:id="rId71"/>
    <p:sldId id="811" r:id="rId72"/>
    <p:sldId id="812" r:id="rId73"/>
    <p:sldId id="823" r:id="rId74"/>
    <p:sldId id="824" r:id="rId75"/>
    <p:sldId id="825" r:id="rId7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522">
          <p15:clr>
            <a:srgbClr val="A4A3A4"/>
          </p15:clr>
        </p15:guide>
        <p15:guide id="4" orient="horz" pos="2914">
          <p15:clr>
            <a:srgbClr val="A4A3A4"/>
          </p15:clr>
        </p15:guide>
        <p15:guide id="5" orient="horz" pos="1621">
          <p15:clr>
            <a:srgbClr val="A4A3A4"/>
          </p15:clr>
        </p15:guide>
        <p15:guide id="6" pos="2876">
          <p15:clr>
            <a:srgbClr val="A4A3A4"/>
          </p15:clr>
        </p15:guide>
        <p15:guide id="7" pos="2266">
          <p15:clr>
            <a:srgbClr val="A4A3A4"/>
          </p15:clr>
        </p15:guide>
        <p15:guide id="8" pos="5522">
          <p15:clr>
            <a:srgbClr val="A4A3A4"/>
          </p15:clr>
        </p15:guide>
        <p15:guide id="9" pos="26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J" initials="2" lastIdx="2" clrIdx="0"/>
  <p:cmAuthor id="1" name="Mishra, Maitree (Cognizant)" initials="MM(" lastIdx="3" clrIdx="1"/>
  <p:cmAuthor id="2" name="BS, Arun (Cognizant)" initials="B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696B"/>
    <a:srgbClr val="3093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29" autoAdjust="0"/>
    <p:restoredTop sz="92101" autoAdjust="0"/>
  </p:normalViewPr>
  <p:slideViewPr>
    <p:cSldViewPr snapToGrid="0">
      <p:cViewPr varScale="1">
        <p:scale>
          <a:sx n="90" d="100"/>
          <a:sy n="90" d="100"/>
        </p:scale>
        <p:origin x="1104" y="90"/>
      </p:cViewPr>
      <p:guideLst>
        <p:guide orient="horz" pos="1620"/>
        <p:guide pos="2880"/>
        <p:guide orient="horz" pos="522"/>
        <p:guide orient="horz" pos="2914"/>
        <p:guide orient="horz" pos="1621"/>
        <p:guide pos="2876"/>
        <p:guide pos="2266"/>
        <p:guide pos="5522"/>
        <p:guide pos="263"/>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commentAuthors" Target="commentAuthor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theme" Target="theme/theme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s>
</file>

<file path=ppt/charts/_rels/chart1.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C:\Users\614831\Documents\Naranja\DevOps_Assessment_BFS_V_1.0-NOLCA.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25.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26.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27.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29.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30.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31.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32.xml.rels><?xml version="1.0" encoding="UTF-8" standalone="yes"?>
<Relationships xmlns="http://schemas.openxmlformats.org/package/2006/relationships"><Relationship Id="rId1" Type="http://schemas.openxmlformats.org/officeDocument/2006/relationships/oleObject" Target="file:///C:\Users\614831\Documents\Naranja\DevOps_Assessment_BFS_App_Naranja.xlsx" TargetMode="External"/></Relationships>
</file>

<file path=ppt/charts/_rels/chart33.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34.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35.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36.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37.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38.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39.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40.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41.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42.xml.rels><?xml version="1.0" encoding="UTF-8" standalone="yes"?>
<Relationships xmlns="http://schemas.openxmlformats.org/package/2006/relationships"><Relationship Id="rId1" Type="http://schemas.openxmlformats.org/officeDocument/2006/relationships/oleObject" Target="file:///C:\Users\614831\Documents\Naranja\DevOps_Assessment_BFS_V_1.0_BPM.xlsx" TargetMode="External"/></Relationships>
</file>

<file path=ppt/charts/_rels/chart43.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44.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45.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46.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47.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48.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49.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50.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51.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52.xml.rels><?xml version="1.0" encoding="UTF-8" standalone="yes"?>
<Relationships xmlns="http://schemas.openxmlformats.org/package/2006/relationships"><Relationship Id="rId1" Type="http://schemas.openxmlformats.org/officeDocument/2006/relationships/oleObject" Target="file:///C:\Users\614831\Documents\Naranja\DevOps_Assessment_BFS_V_1.0-GEN.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NOL.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614831\Documents\Naranja\DevOps_Assessment_BFS_Naranje_ON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vOps</a:t>
            </a:r>
            <a:r>
              <a:rPr lang="en-US" baseline="0"/>
              <a:t> Maturity</a:t>
            </a:r>
            <a:endParaRPr lang="en-US"/>
          </a:p>
        </c:rich>
      </c:tx>
      <c:layout/>
      <c:overlay val="0"/>
      <c:spPr>
        <a:noFill/>
        <a:ln>
          <a:noFill/>
        </a:ln>
        <a:effectLst/>
      </c:spPr>
    </c:title>
    <c:autoTitleDeleted val="0"/>
    <c:plotArea>
      <c:layout>
        <c:manualLayout>
          <c:layoutTarget val="inner"/>
          <c:xMode val="edge"/>
          <c:yMode val="edge"/>
          <c:x val="0.1854322693982256"/>
          <c:y val="0.21448751135670582"/>
          <c:w val="0.60133216283200996"/>
          <c:h val="0.72381691892241662"/>
        </c:manualLayout>
      </c:layout>
      <c:radarChart>
        <c:radarStyle val="marker"/>
        <c:varyColors val="0"/>
        <c:ser>
          <c:idx val="0"/>
          <c:order val="0"/>
          <c:tx>
            <c:strRef>
              <c:f>Dashboard!$C$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3.3404452690166977</c:v>
                </c:pt>
                <c:pt idx="1">
                  <c:v>3.4285714285714288</c:v>
                </c:pt>
                <c:pt idx="2" formatCode="General">
                  <c:v>2.5</c:v>
                </c:pt>
                <c:pt idx="3">
                  <c:v>2.0818713450292399</c:v>
                </c:pt>
                <c:pt idx="4">
                  <c:v>2.3809523809523809</c:v>
                </c:pt>
                <c:pt idx="5">
                  <c:v>1.7523809523809524</c:v>
                </c:pt>
              </c:numCache>
            </c:numRef>
          </c:val>
          <c:extLst xmlns:c16r2="http://schemas.microsoft.com/office/drawing/2015/06/chart">
            <c:ext xmlns:c16="http://schemas.microsoft.com/office/drawing/2014/chart" uri="{C3380CC4-5D6E-409C-BE32-E72D297353CC}">
              <c16:uniqueId val="{00000000-D955-4CAA-852D-8096FFEBE47D}"/>
            </c:ext>
          </c:extLst>
        </c:ser>
        <c:dLbls>
          <c:showLegendKey val="0"/>
          <c:showVal val="0"/>
          <c:showCatName val="0"/>
          <c:showSerName val="0"/>
          <c:showPercent val="0"/>
          <c:showBubbleSize val="0"/>
        </c:dLbls>
        <c:axId val="461104176"/>
        <c:axId val="461078416"/>
      </c:radarChart>
      <c:catAx>
        <c:axId val="4611041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61078416"/>
        <c:crosses val="autoZero"/>
        <c:auto val="1"/>
        <c:lblAlgn val="ctr"/>
        <c:lblOffset val="100"/>
        <c:noMultiLvlLbl val="0"/>
      </c:catAx>
      <c:valAx>
        <c:axId val="461078416"/>
        <c:scaling>
          <c:orientation val="minMax"/>
          <c:max val="5"/>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104176"/>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Release</a:t>
            </a:r>
          </a:p>
        </c:rich>
      </c:tx>
      <c:layout/>
      <c:overlay val="0"/>
      <c:spPr>
        <a:noFill/>
        <a:ln>
          <a:noFill/>
        </a:ln>
        <a:effectLst/>
      </c:spPr>
    </c:title>
    <c:autoTitleDeleted val="0"/>
    <c:plotArea>
      <c:layout/>
      <c:barChart>
        <c:barDir val="col"/>
        <c:grouping val="clustered"/>
        <c:varyColors val="0"/>
        <c:ser>
          <c:idx val="0"/>
          <c:order val="0"/>
          <c:tx>
            <c:strRef>
              <c:f>Dashboard!$W$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V$3:$V$4</c:f>
              <c:strCache>
                <c:ptCount val="2"/>
                <c:pt idx="0">
                  <c:v>Release Management</c:v>
                </c:pt>
                <c:pt idx="1">
                  <c:v>End to End Traceability</c:v>
                </c:pt>
              </c:strCache>
            </c:strRef>
          </c:cat>
          <c:val>
            <c:numRef>
              <c:f>Dashboard!$W$3:$W$4</c:f>
              <c:numCache>
                <c:formatCode>0.0</c:formatCode>
                <c:ptCount val="2"/>
                <c:pt idx="0">
                  <c:v>2.5263157894736841</c:v>
                </c:pt>
                <c:pt idx="1">
                  <c:v>2.5555555555555554</c:v>
                </c:pt>
              </c:numCache>
            </c:numRef>
          </c:val>
        </c:ser>
        <c:ser>
          <c:idx val="1"/>
          <c:order val="1"/>
          <c:tx>
            <c:strRef>
              <c:f>Dashboard!$X$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V$3:$V$4</c:f>
              <c:strCache>
                <c:ptCount val="2"/>
                <c:pt idx="0">
                  <c:v>Release Management</c:v>
                </c:pt>
                <c:pt idx="1">
                  <c:v>End to End Traceability</c:v>
                </c:pt>
              </c:strCache>
            </c:strRef>
          </c:cat>
          <c:val>
            <c:numRef>
              <c:f>Dashboard!$X$3:$X$4</c:f>
              <c:numCache>
                <c:formatCode>General</c:formatCode>
                <c:ptCount val="2"/>
                <c:pt idx="0">
                  <c:v>5</c:v>
                </c:pt>
                <c:pt idx="1">
                  <c:v>5</c:v>
                </c:pt>
              </c:numCache>
            </c:numRef>
          </c:val>
        </c:ser>
        <c:dLbls>
          <c:showLegendKey val="0"/>
          <c:showVal val="0"/>
          <c:showCatName val="0"/>
          <c:showSerName val="0"/>
          <c:showPercent val="0"/>
          <c:showBubbleSize val="0"/>
        </c:dLbls>
        <c:gapWidth val="150"/>
        <c:axId val="500178832"/>
        <c:axId val="500174352"/>
      </c:barChart>
      <c:catAx>
        <c:axId val="5001788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00174352"/>
        <c:crosses val="autoZero"/>
        <c:auto val="1"/>
        <c:lblAlgn val="ctr"/>
        <c:lblOffset val="100"/>
        <c:noMultiLvlLbl val="0"/>
      </c:catAx>
      <c:valAx>
        <c:axId val="500174352"/>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7883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Measure</a:t>
            </a:r>
            <a:r>
              <a:rPr lang="en-US" baseline="0"/>
              <a:t> and Monitor</a:t>
            </a:r>
            <a:endParaRPr lang="en-US"/>
          </a:p>
        </c:rich>
      </c:tx>
      <c:layout/>
      <c:overlay val="0"/>
      <c:spPr>
        <a:noFill/>
        <a:ln>
          <a:noFill/>
        </a:ln>
        <a:effectLst/>
      </c:spPr>
    </c:title>
    <c:autoTitleDeleted val="0"/>
    <c:plotArea>
      <c:layout/>
      <c:barChart>
        <c:barDir val="col"/>
        <c:grouping val="clustered"/>
        <c:varyColors val="0"/>
        <c:ser>
          <c:idx val="0"/>
          <c:order val="0"/>
          <c:tx>
            <c:strRef>
              <c:f>Dashboard!$AB$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AA$3</c:f>
              <c:strCache>
                <c:ptCount val="1"/>
                <c:pt idx="0">
                  <c:v>FA and M</c:v>
                </c:pt>
              </c:strCache>
            </c:strRef>
          </c:cat>
          <c:val>
            <c:numRef>
              <c:f>Dashboard!$AB$3</c:f>
              <c:numCache>
                <c:formatCode>0.0</c:formatCode>
                <c:ptCount val="1"/>
                <c:pt idx="0">
                  <c:v>2.5714285714285716</c:v>
                </c:pt>
              </c:numCache>
            </c:numRef>
          </c:val>
        </c:ser>
        <c:ser>
          <c:idx val="1"/>
          <c:order val="1"/>
          <c:tx>
            <c:strRef>
              <c:f>Dashboard!$AC$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AA$3</c:f>
              <c:strCache>
                <c:ptCount val="1"/>
                <c:pt idx="0">
                  <c:v>FA and M</c:v>
                </c:pt>
              </c:strCache>
            </c:strRef>
          </c:cat>
          <c:val>
            <c:numRef>
              <c:f>Dashboard!$AC$3</c:f>
              <c:numCache>
                <c:formatCode>General</c:formatCode>
                <c:ptCount val="1"/>
                <c:pt idx="0">
                  <c:v>5</c:v>
                </c:pt>
              </c:numCache>
            </c:numRef>
          </c:val>
        </c:ser>
        <c:dLbls>
          <c:showLegendKey val="0"/>
          <c:showVal val="0"/>
          <c:showCatName val="0"/>
          <c:showSerName val="0"/>
          <c:showPercent val="0"/>
          <c:showBubbleSize val="0"/>
        </c:dLbls>
        <c:gapWidth val="150"/>
        <c:axId val="500164272"/>
        <c:axId val="500162592"/>
      </c:barChart>
      <c:catAx>
        <c:axId val="5001642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00162592"/>
        <c:crosses val="autoZero"/>
        <c:auto val="1"/>
        <c:lblAlgn val="ctr"/>
        <c:lblOffset val="100"/>
        <c:noMultiLvlLbl val="0"/>
      </c:catAx>
      <c:valAx>
        <c:axId val="500162592"/>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64272"/>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Environment</a:t>
            </a:r>
          </a:p>
        </c:rich>
      </c:tx>
      <c:layout/>
      <c:overlay val="0"/>
      <c:spPr>
        <a:noFill/>
        <a:ln>
          <a:noFill/>
        </a:ln>
        <a:effectLst/>
      </c:spPr>
    </c:title>
    <c:autoTitleDeleted val="0"/>
    <c:plotArea>
      <c:layout>
        <c:manualLayout>
          <c:layoutTarget val="inner"/>
          <c:xMode val="edge"/>
          <c:yMode val="edge"/>
          <c:x val="0.2830873493154793"/>
          <c:y val="0.24761204849250865"/>
          <c:w val="0.41997677372923403"/>
          <c:h val="0.66081008625878779"/>
        </c:manualLayout>
      </c:layout>
      <c:radarChart>
        <c:radarStyle val="marker"/>
        <c:varyColors val="0"/>
        <c:ser>
          <c:idx val="0"/>
          <c:order val="0"/>
          <c:tx>
            <c:strRef>
              <c:f>Dashboard!$AG$2</c:f>
              <c:strCache>
                <c:ptCount val="1"/>
                <c:pt idx="0">
                  <c:v>Score</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G$3:$AG$5</c:f>
              <c:numCache>
                <c:formatCode>General</c:formatCode>
                <c:ptCount val="3"/>
                <c:pt idx="0" formatCode="0.0">
                  <c:v>2.2000000000000002</c:v>
                </c:pt>
                <c:pt idx="1">
                  <c:v>1.3333333333333333</c:v>
                </c:pt>
                <c:pt idx="2">
                  <c:v>1.5</c:v>
                </c:pt>
              </c:numCache>
            </c:numRef>
          </c:val>
        </c:ser>
        <c:ser>
          <c:idx val="1"/>
          <c:order val="1"/>
          <c:tx>
            <c:strRef>
              <c:f>Dashboard!$AH$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H$3:$AH$5</c:f>
              <c:numCache>
                <c:formatCode>General</c:formatCode>
                <c:ptCount val="3"/>
                <c:pt idx="0">
                  <c:v>5</c:v>
                </c:pt>
                <c:pt idx="1">
                  <c:v>5</c:v>
                </c:pt>
                <c:pt idx="2">
                  <c:v>5</c:v>
                </c:pt>
              </c:numCache>
            </c:numRef>
          </c:val>
        </c:ser>
        <c:dLbls>
          <c:showLegendKey val="0"/>
          <c:showVal val="0"/>
          <c:showCatName val="0"/>
          <c:showSerName val="0"/>
          <c:showPercent val="0"/>
          <c:showBubbleSize val="0"/>
        </c:dLbls>
        <c:axId val="500169872"/>
        <c:axId val="500164832"/>
      </c:radarChart>
      <c:catAx>
        <c:axId val="5001698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00164832"/>
        <c:crosses val="autoZero"/>
        <c:auto val="1"/>
        <c:lblAlgn val="ctr"/>
        <c:lblOffset val="100"/>
        <c:noMultiLvlLbl val="0"/>
      </c:catAx>
      <c:valAx>
        <c:axId val="500164832"/>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69872"/>
        <c:crosses val="autoZero"/>
        <c:crossBetween val="between"/>
      </c:valAx>
      <c:spPr>
        <a:noFill/>
        <a:ln>
          <a:noFill/>
        </a:ln>
        <a:effectLst/>
      </c:spPr>
    </c:plotArea>
    <c:legend>
      <c:legendPos val="t"/>
      <c:layout>
        <c:manualLayout>
          <c:xMode val="edge"/>
          <c:yMode val="edge"/>
          <c:x val="0.3718524132240717"/>
          <c:y val="0.87192235708249988"/>
          <c:w val="0.25629517355185655"/>
          <c:h val="6.128448814495708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invertIfNegative val="0"/>
          <c:dLbls>
            <c:dLbl>
              <c:idx val="0"/>
              <c:layout>
                <c:manualLayout>
                  <c:x val="0"/>
                  <c:y val="-0.24407096435356779"/>
                </c:manualLayout>
              </c:layout>
              <c:spPr>
                <a:solidFill>
                  <a:schemeClr val="accent1">
                    <a:lumMod val="40000"/>
                    <a:lumOff val="60000"/>
                  </a:schemeClr>
                </a:solidFill>
              </c:spPr>
              <c:txPr>
                <a:bodyPr/>
                <a:lstStyle/>
                <a:p>
                  <a:pPr>
                    <a:defRPr b="1"/>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21F-4066-8839-D8811F880045}"/>
                </c:ext>
                <c:ext xmlns:c15="http://schemas.microsoft.com/office/drawing/2012/chart" uri="{CE6537A1-D6FC-4f65-9D91-7224C49458BB}">
                  <c15:layout/>
                </c:ext>
              </c:extLst>
            </c:dLbl>
            <c:dLbl>
              <c:idx val="1"/>
              <c:layout>
                <c:manualLayout>
                  <c:x val="8.8060000685855945E-4"/>
                  <c:y val="-0.17161239681110235"/>
                </c:manualLayout>
              </c:layout>
              <c:spPr>
                <a:solidFill>
                  <a:schemeClr val="accent1">
                    <a:lumMod val="40000"/>
                    <a:lumOff val="60000"/>
                  </a:schemeClr>
                </a:solidFill>
              </c:spPr>
              <c:txPr>
                <a:bodyPr/>
                <a:lstStyle/>
                <a:p>
                  <a:pPr>
                    <a:defRPr b="1"/>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21F-4066-8839-D8811F880045}"/>
                </c:ext>
                <c:ext xmlns:c15="http://schemas.microsoft.com/office/drawing/2012/chart" uri="{CE6537A1-D6FC-4f65-9D91-7224C49458BB}">
                  <c15:layout/>
                </c:ext>
              </c:extLst>
            </c:dLbl>
            <c:dLbl>
              <c:idx val="2"/>
              <c:layout>
                <c:manualLayout>
                  <c:x val="3.5408010407167027E-3"/>
                  <c:y val="-0.20593517645748172"/>
                </c:manualLayout>
              </c:layout>
              <c:spPr>
                <a:solidFill>
                  <a:schemeClr val="accent1">
                    <a:lumMod val="40000"/>
                    <a:lumOff val="60000"/>
                  </a:schemeClr>
                </a:solidFill>
              </c:spPr>
              <c:txPr>
                <a:bodyPr/>
                <a:lstStyle/>
                <a:p>
                  <a:pPr>
                    <a:defRPr b="1"/>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21F-4066-8839-D8811F880045}"/>
                </c:ext>
                <c:ext xmlns:c15="http://schemas.microsoft.com/office/drawing/2012/chart" uri="{CE6537A1-D6FC-4f65-9D91-7224C49458BB}">
                  <c15:layout/>
                </c:ext>
              </c:extLst>
            </c:dLbl>
            <c:dLbl>
              <c:idx val="3"/>
              <c:layout>
                <c:manualLayout>
                  <c:x val="0"/>
                  <c:y val="-0.13347630863085738"/>
                </c:manualLayout>
              </c:layout>
              <c:spPr>
                <a:solidFill>
                  <a:schemeClr val="accent2">
                    <a:lumMod val="40000"/>
                    <a:lumOff val="60000"/>
                  </a:schemeClr>
                </a:solidFill>
              </c:spPr>
              <c:txPr>
                <a:bodyPr/>
                <a:lstStyle/>
                <a:p>
                  <a:pPr>
                    <a:defRPr b="1"/>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21F-4066-8839-D8811F880045}"/>
                </c:ext>
                <c:ext xmlns:c15="http://schemas.microsoft.com/office/drawing/2012/chart" uri="{CE6537A1-D6FC-4f65-9D91-7224C49458BB}">
                  <c15:layout/>
                </c:ext>
              </c:extLst>
            </c:dLbl>
            <c:dLbl>
              <c:idx val="4"/>
              <c:layout>
                <c:manualLayout>
                  <c:x val="0"/>
                  <c:y val="-0.11440826454073483"/>
                </c:manualLayout>
              </c:layout>
              <c:spPr>
                <a:solidFill>
                  <a:schemeClr val="accent2">
                    <a:lumMod val="40000"/>
                    <a:lumOff val="60000"/>
                  </a:schemeClr>
                </a:solidFill>
              </c:spPr>
              <c:txPr>
                <a:bodyPr/>
                <a:lstStyle/>
                <a:p>
                  <a:pPr>
                    <a:defRPr b="1"/>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21F-4066-8839-D8811F880045}"/>
                </c:ext>
                <c:ext xmlns:c15="http://schemas.microsoft.com/office/drawing/2012/chart" uri="{CE6537A1-D6FC-4f65-9D91-7224C49458BB}">
                  <c15:layout/>
                </c:ext>
              </c:extLst>
            </c:dLbl>
            <c:dLbl>
              <c:idx val="5"/>
              <c:layout>
                <c:manualLayout>
                  <c:x val="0"/>
                  <c:y val="-0.12203548217678382"/>
                </c:manualLayout>
              </c:layout>
              <c:spPr>
                <a:solidFill>
                  <a:schemeClr val="accent2">
                    <a:lumMod val="40000"/>
                    <a:lumOff val="60000"/>
                  </a:schemeClr>
                </a:solidFill>
              </c:spPr>
              <c:txPr>
                <a:bodyPr/>
                <a:lstStyle/>
                <a:p>
                  <a:pPr>
                    <a:defRPr b="1"/>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721F-4066-8839-D8811F880045}"/>
                </c:ext>
                <c:ext xmlns:c15="http://schemas.microsoft.com/office/drawing/2012/chart" uri="{CE6537A1-D6FC-4f65-9D91-7224C49458BB}">
                  <c15:layout/>
                </c:ext>
              </c:extLst>
            </c:dLbl>
            <c:spPr>
              <a:noFill/>
              <a:ln>
                <a:noFill/>
              </a:ln>
              <a:effectLst/>
            </c:spPr>
            <c:txPr>
              <a:bodyPr/>
              <a:lstStyle/>
              <a:p>
                <a:pPr>
                  <a:defRPr b="1"/>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B$65:$B$70</c:f>
              <c:strCache>
                <c:ptCount val="6"/>
                <c:pt idx="0">
                  <c:v>Build</c:v>
                </c:pt>
                <c:pt idx="1">
                  <c:v>Deploy</c:v>
                </c:pt>
                <c:pt idx="2">
                  <c:v>Verify</c:v>
                </c:pt>
                <c:pt idx="3">
                  <c:v>Release</c:v>
                </c:pt>
                <c:pt idx="4">
                  <c:v>Measure and Monitor</c:v>
                </c:pt>
                <c:pt idx="5">
                  <c:v>Environment</c:v>
                </c:pt>
              </c:strCache>
            </c:strRef>
          </c:cat>
          <c:val>
            <c:numRef>
              <c:f>Dashboard!$C$65:$C$70</c:f>
              <c:numCache>
                <c:formatCode>0.0</c:formatCode>
                <c:ptCount val="6"/>
                <c:pt idx="0">
                  <c:v>2.1</c:v>
                </c:pt>
                <c:pt idx="1">
                  <c:v>2.2999999999999998</c:v>
                </c:pt>
                <c:pt idx="2" formatCode="General">
                  <c:v>1</c:v>
                </c:pt>
                <c:pt idx="3">
                  <c:v>2.5</c:v>
                </c:pt>
                <c:pt idx="4">
                  <c:v>2.7</c:v>
                </c:pt>
                <c:pt idx="5">
                  <c:v>2</c:v>
                </c:pt>
              </c:numCache>
            </c:numRef>
          </c:val>
          <c:extLst xmlns:c16r2="http://schemas.microsoft.com/office/drawing/2015/06/chart">
            <c:ext xmlns:c16="http://schemas.microsoft.com/office/drawing/2014/chart" uri="{C3380CC4-5D6E-409C-BE32-E72D297353CC}">
              <c16:uniqueId val="{00000006-721F-4066-8839-D8811F880045}"/>
            </c:ext>
          </c:extLst>
        </c:ser>
        <c:dLbls>
          <c:showLegendKey val="0"/>
          <c:showVal val="0"/>
          <c:showCatName val="0"/>
          <c:showSerName val="0"/>
          <c:showPercent val="0"/>
          <c:showBubbleSize val="0"/>
        </c:dLbls>
        <c:gapWidth val="150"/>
        <c:overlap val="100"/>
        <c:axId val="500165952"/>
        <c:axId val="500181072"/>
      </c:barChart>
      <c:catAx>
        <c:axId val="500165952"/>
        <c:scaling>
          <c:orientation val="minMax"/>
        </c:scaling>
        <c:delete val="0"/>
        <c:axPos val="b"/>
        <c:numFmt formatCode="General" sourceLinked="0"/>
        <c:majorTickMark val="out"/>
        <c:minorTickMark val="none"/>
        <c:tickLblPos val="nextTo"/>
        <c:crossAx val="500181072"/>
        <c:crosses val="autoZero"/>
        <c:auto val="1"/>
        <c:lblAlgn val="ctr"/>
        <c:lblOffset val="100"/>
        <c:noMultiLvlLbl val="0"/>
      </c:catAx>
      <c:valAx>
        <c:axId val="500181072"/>
        <c:scaling>
          <c:orientation val="minMax"/>
          <c:max val="5"/>
        </c:scaling>
        <c:delete val="0"/>
        <c:axPos val="l"/>
        <c:numFmt formatCode="0.0" sourceLinked="1"/>
        <c:majorTickMark val="out"/>
        <c:minorTickMark val="none"/>
        <c:tickLblPos val="nextTo"/>
        <c:crossAx val="500165952"/>
        <c:crosses val="autoZero"/>
        <c:crossBetween val="between"/>
      </c:valAx>
    </c:plotArea>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vOps</a:t>
            </a:r>
            <a:r>
              <a:rPr lang="en-US" baseline="0"/>
              <a:t> Maturity</a:t>
            </a:r>
            <a:endParaRPr lang="en-US"/>
          </a:p>
        </c:rich>
      </c:tx>
      <c:layout/>
      <c:overlay val="0"/>
      <c:spPr>
        <a:noFill/>
        <a:ln>
          <a:noFill/>
        </a:ln>
        <a:effectLst/>
      </c:spPr>
    </c:title>
    <c:autoTitleDeleted val="0"/>
    <c:plotArea>
      <c:layout>
        <c:manualLayout>
          <c:layoutTarget val="inner"/>
          <c:xMode val="edge"/>
          <c:yMode val="edge"/>
          <c:x val="0.1854322693982256"/>
          <c:y val="0.21448751135670582"/>
          <c:w val="0.60133216283200996"/>
          <c:h val="0.72381691892241662"/>
        </c:manualLayout>
      </c:layout>
      <c:radarChart>
        <c:radarStyle val="marker"/>
        <c:varyColors val="0"/>
        <c:ser>
          <c:idx val="0"/>
          <c:order val="0"/>
          <c:tx>
            <c:strRef>
              <c:f>Dashboard!$C$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2.2053030303030305</c:v>
                </c:pt>
                <c:pt idx="1">
                  <c:v>2.3068181818181817</c:v>
                </c:pt>
                <c:pt idx="2" formatCode="General">
                  <c:v>1</c:v>
                </c:pt>
                <c:pt idx="3">
                  <c:v>2.5029239766081872</c:v>
                </c:pt>
                <c:pt idx="4">
                  <c:v>3</c:v>
                </c:pt>
                <c:pt idx="5">
                  <c:v>2.1055555555555556</c:v>
                </c:pt>
              </c:numCache>
            </c:numRef>
          </c:val>
          <c:extLst xmlns:c16r2="http://schemas.microsoft.com/office/drawing/2015/06/chart">
            <c:ext xmlns:c16="http://schemas.microsoft.com/office/drawing/2014/chart" uri="{C3380CC4-5D6E-409C-BE32-E72D297353CC}">
              <c16:uniqueId val="{00000000-70E7-4593-9754-98587CA80BEB}"/>
            </c:ext>
          </c:extLst>
        </c:ser>
        <c:dLbls>
          <c:showLegendKey val="0"/>
          <c:showVal val="0"/>
          <c:showCatName val="0"/>
          <c:showSerName val="0"/>
          <c:showPercent val="0"/>
          <c:showBubbleSize val="0"/>
        </c:dLbls>
        <c:axId val="500167632"/>
        <c:axId val="500170992"/>
      </c:radarChart>
      <c:catAx>
        <c:axId val="5001676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00170992"/>
        <c:crosses val="autoZero"/>
        <c:auto val="1"/>
        <c:lblAlgn val="ctr"/>
        <c:lblOffset val="100"/>
        <c:noMultiLvlLbl val="0"/>
      </c:catAx>
      <c:valAx>
        <c:axId val="500170992"/>
        <c:scaling>
          <c:orientation val="minMax"/>
          <c:max val="5"/>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67632"/>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666666666666666</c:v>
                </c:pt>
                <c:pt idx="1">
                  <c:v>3</c:v>
                </c:pt>
                <c:pt idx="2" formatCode="General">
                  <c:v>1</c:v>
                </c:pt>
                <c:pt idx="3">
                  <c:v>1.5454545454545454</c:v>
                </c:pt>
                <c:pt idx="4">
                  <c:v>3.125</c:v>
                </c:pt>
                <c:pt idx="5" formatCode="General">
                  <c:v>2.5</c:v>
                </c:pt>
                <c:pt idx="6">
                  <c:v>1</c:v>
                </c:pt>
              </c:numCache>
            </c:numRef>
          </c:val>
          <c:extLst xmlns:c16r2="http://schemas.microsoft.com/office/drawing/2015/06/chart">
            <c:ext xmlns:c16="http://schemas.microsoft.com/office/drawing/2014/chart" uri="{C3380CC4-5D6E-409C-BE32-E72D297353CC}">
              <c16:uniqueId val="{00000000-7F35-4455-9D21-361A5D82F901}"/>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7F35-4455-9D21-361A5D82F901}"/>
            </c:ext>
          </c:extLst>
        </c:ser>
        <c:dLbls>
          <c:showLegendKey val="0"/>
          <c:showVal val="0"/>
          <c:showCatName val="0"/>
          <c:showSerName val="0"/>
          <c:showPercent val="0"/>
          <c:showBubbleSize val="0"/>
        </c:dLbls>
        <c:axId val="500174912"/>
        <c:axId val="500187792"/>
      </c:radarChart>
      <c:catAx>
        <c:axId val="5001749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00187792"/>
        <c:crosses val="autoZero"/>
        <c:auto val="1"/>
        <c:lblAlgn val="ctr"/>
        <c:lblOffset val="100"/>
        <c:noMultiLvlLbl val="0"/>
      </c:catAx>
      <c:valAx>
        <c:axId val="500187792"/>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7491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666666666666666</c:v>
                </c:pt>
                <c:pt idx="1">
                  <c:v>3</c:v>
                </c:pt>
                <c:pt idx="2" formatCode="General">
                  <c:v>1</c:v>
                </c:pt>
                <c:pt idx="3">
                  <c:v>1.5454545454545454</c:v>
                </c:pt>
                <c:pt idx="4">
                  <c:v>3.125</c:v>
                </c:pt>
                <c:pt idx="5" formatCode="General">
                  <c:v>2.5</c:v>
                </c:pt>
                <c:pt idx="6">
                  <c:v>1</c:v>
                </c:pt>
              </c:numCache>
            </c:numRef>
          </c:val>
          <c:extLst xmlns:c16r2="http://schemas.microsoft.com/office/drawing/2015/06/chart">
            <c:ext xmlns:c16="http://schemas.microsoft.com/office/drawing/2014/chart" uri="{C3380CC4-5D6E-409C-BE32-E72D297353CC}">
              <c16:uniqueId val="{00000000-7F35-4455-9D21-361A5D82F901}"/>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7F35-4455-9D21-361A5D82F901}"/>
            </c:ext>
          </c:extLst>
        </c:ser>
        <c:dLbls>
          <c:showLegendKey val="0"/>
          <c:showVal val="0"/>
          <c:showCatName val="0"/>
          <c:showSerName val="0"/>
          <c:showPercent val="0"/>
          <c:showBubbleSize val="0"/>
        </c:dLbls>
        <c:axId val="500167072"/>
        <c:axId val="500172112"/>
      </c:radarChart>
      <c:catAx>
        <c:axId val="500167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00172112"/>
        <c:crosses val="autoZero"/>
        <c:auto val="1"/>
        <c:lblAlgn val="ctr"/>
        <c:lblOffset val="100"/>
        <c:noMultiLvlLbl val="0"/>
      </c:catAx>
      <c:valAx>
        <c:axId val="500172112"/>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6707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666666666666666</c:v>
                </c:pt>
                <c:pt idx="1">
                  <c:v>3</c:v>
                </c:pt>
                <c:pt idx="2" formatCode="General">
                  <c:v>1</c:v>
                </c:pt>
                <c:pt idx="3">
                  <c:v>1.5454545454545454</c:v>
                </c:pt>
                <c:pt idx="4">
                  <c:v>3.125</c:v>
                </c:pt>
                <c:pt idx="5" formatCode="General">
                  <c:v>2.5</c:v>
                </c:pt>
                <c:pt idx="6">
                  <c:v>1</c:v>
                </c:pt>
              </c:numCache>
            </c:numRef>
          </c:val>
          <c:extLst xmlns:c16r2="http://schemas.microsoft.com/office/drawing/2015/06/chart">
            <c:ext xmlns:c16="http://schemas.microsoft.com/office/drawing/2014/chart" uri="{C3380CC4-5D6E-409C-BE32-E72D297353CC}">
              <c16:uniqueId val="{00000000-7F35-4455-9D21-361A5D82F901}"/>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7F35-4455-9D21-361A5D82F901}"/>
            </c:ext>
          </c:extLst>
        </c:ser>
        <c:dLbls>
          <c:showLegendKey val="0"/>
          <c:showVal val="0"/>
          <c:showCatName val="0"/>
          <c:showSerName val="0"/>
          <c:showPercent val="0"/>
          <c:showBubbleSize val="0"/>
        </c:dLbls>
        <c:axId val="500189472"/>
        <c:axId val="500160352"/>
      </c:radarChart>
      <c:catAx>
        <c:axId val="5001894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00160352"/>
        <c:crosses val="autoZero"/>
        <c:auto val="1"/>
        <c:lblAlgn val="ctr"/>
        <c:lblOffset val="100"/>
        <c:noMultiLvlLbl val="0"/>
      </c:catAx>
      <c:valAx>
        <c:axId val="500160352"/>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8947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666666666666666</c:v>
                </c:pt>
                <c:pt idx="1">
                  <c:v>3</c:v>
                </c:pt>
                <c:pt idx="2" formatCode="General">
                  <c:v>1</c:v>
                </c:pt>
                <c:pt idx="3">
                  <c:v>1.5454545454545454</c:v>
                </c:pt>
                <c:pt idx="4">
                  <c:v>3.125</c:v>
                </c:pt>
                <c:pt idx="5" formatCode="General">
                  <c:v>2.5</c:v>
                </c:pt>
                <c:pt idx="6">
                  <c:v>1</c:v>
                </c:pt>
              </c:numCache>
            </c:numRef>
          </c:val>
          <c:extLst xmlns:c16r2="http://schemas.microsoft.com/office/drawing/2015/06/chart">
            <c:ext xmlns:c16="http://schemas.microsoft.com/office/drawing/2014/chart" uri="{C3380CC4-5D6E-409C-BE32-E72D297353CC}">
              <c16:uniqueId val="{00000000-7F35-4455-9D21-361A5D82F901}"/>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7F35-4455-9D21-361A5D82F901}"/>
            </c:ext>
          </c:extLst>
        </c:ser>
        <c:dLbls>
          <c:showLegendKey val="0"/>
          <c:showVal val="0"/>
          <c:showCatName val="0"/>
          <c:showSerName val="0"/>
          <c:showPercent val="0"/>
          <c:showBubbleSize val="0"/>
        </c:dLbls>
        <c:axId val="500183312"/>
        <c:axId val="500177152"/>
      </c:radarChart>
      <c:catAx>
        <c:axId val="5001833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500177152"/>
        <c:crosses val="autoZero"/>
        <c:auto val="1"/>
        <c:lblAlgn val="ctr"/>
        <c:lblOffset val="100"/>
        <c:noMultiLvlLbl val="0"/>
      </c:catAx>
      <c:valAx>
        <c:axId val="500177152"/>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8331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ploy</a:t>
            </a:r>
          </a:p>
        </c:rich>
      </c:tx>
      <c:layout/>
      <c:overlay val="0"/>
      <c:spPr>
        <a:noFill/>
        <a:ln>
          <a:noFill/>
        </a:ln>
        <a:effectLst/>
      </c:spPr>
    </c:title>
    <c:autoTitleDeleted val="0"/>
    <c:plotArea>
      <c:layout/>
      <c:barChart>
        <c:barDir val="col"/>
        <c:grouping val="clustered"/>
        <c:varyColors val="0"/>
        <c:ser>
          <c:idx val="0"/>
          <c:order val="0"/>
          <c:tx>
            <c:strRef>
              <c:f>Dashboard!$M$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L$3:$L$4</c:f>
              <c:strCache>
                <c:ptCount val="2"/>
                <c:pt idx="0">
                  <c:v>Artifact management</c:v>
                </c:pt>
                <c:pt idx="1">
                  <c:v>Continuous Deployment </c:v>
                </c:pt>
              </c:strCache>
            </c:strRef>
          </c:cat>
          <c:val>
            <c:numRef>
              <c:f>Dashboard!$M$3:$M$4</c:f>
              <c:numCache>
                <c:formatCode>0.0</c:formatCode>
                <c:ptCount val="2"/>
                <c:pt idx="0">
                  <c:v>3.25</c:v>
                </c:pt>
                <c:pt idx="1">
                  <c:v>1.3636363636363635</c:v>
                </c:pt>
              </c:numCache>
            </c:numRef>
          </c:val>
          <c:extLst xmlns:c16r2="http://schemas.microsoft.com/office/drawing/2015/06/chart">
            <c:ext xmlns:c16="http://schemas.microsoft.com/office/drawing/2014/chart" uri="{C3380CC4-5D6E-409C-BE32-E72D297353CC}">
              <c16:uniqueId val="{00000000-EC8A-4659-8DBC-0554E5E84FA4}"/>
            </c:ext>
          </c:extLst>
        </c:ser>
        <c:ser>
          <c:idx val="1"/>
          <c:order val="1"/>
          <c:tx>
            <c:strRef>
              <c:f>Dashboard!$N$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L$3:$L$4</c:f>
              <c:strCache>
                <c:ptCount val="2"/>
                <c:pt idx="0">
                  <c:v>Artifact management</c:v>
                </c:pt>
                <c:pt idx="1">
                  <c:v>Continuous Deployment </c:v>
                </c:pt>
              </c:strCache>
            </c:strRef>
          </c:cat>
          <c:val>
            <c:numRef>
              <c:f>Dashboard!$N$3:$N$4</c:f>
              <c:numCache>
                <c:formatCode>General</c:formatCode>
                <c:ptCount val="2"/>
                <c:pt idx="0">
                  <c:v>5</c:v>
                </c:pt>
                <c:pt idx="1">
                  <c:v>5</c:v>
                </c:pt>
              </c:numCache>
            </c:numRef>
          </c:val>
          <c:extLst xmlns:c16r2="http://schemas.microsoft.com/office/drawing/2015/06/chart">
            <c:ext xmlns:c16="http://schemas.microsoft.com/office/drawing/2014/chart" uri="{C3380CC4-5D6E-409C-BE32-E72D297353CC}">
              <c16:uniqueId val="{00000001-EC8A-4659-8DBC-0554E5E84FA4}"/>
            </c:ext>
          </c:extLst>
        </c:ser>
        <c:dLbls>
          <c:showLegendKey val="0"/>
          <c:showVal val="0"/>
          <c:showCatName val="0"/>
          <c:showSerName val="0"/>
          <c:showPercent val="0"/>
          <c:showBubbleSize val="0"/>
        </c:dLbls>
        <c:gapWidth val="150"/>
        <c:axId val="500177712"/>
        <c:axId val="500162032"/>
      </c:barChart>
      <c:catAx>
        <c:axId val="50017771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00162032"/>
        <c:crosses val="autoZero"/>
        <c:auto val="1"/>
        <c:lblAlgn val="ctr"/>
        <c:lblOffset val="100"/>
        <c:noMultiLvlLbl val="0"/>
      </c:catAx>
      <c:valAx>
        <c:axId val="500162032"/>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7771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invertIfNegative val="0"/>
          <c:dLbls>
            <c:dLbl>
              <c:idx val="0"/>
              <c:layout>
                <c:manualLayout>
                  <c:x val="0"/>
                  <c:y val="-0.252993754546256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3.2949162461843101E-17"/>
                  <c:y val="-0.1748633303481477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7972478050934286E-3"/>
                  <c:y val="-0.25299375454625611"/>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4151557520420697E-7"/>
                  <c:y val="-0.1674223375673754"/>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7972478050934286E-3"/>
                  <c:y val="-0.14137886283467258"/>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0.15254035200583094"/>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2.6641329258976318</c:v>
                </c:pt>
                <c:pt idx="1">
                  <c:v>2.7019230769230766</c:v>
                </c:pt>
                <c:pt idx="2" formatCode="General">
                  <c:v>3</c:v>
                </c:pt>
                <c:pt idx="3">
                  <c:v>2.5409356725146197</c:v>
                </c:pt>
                <c:pt idx="4">
                  <c:v>2.5714285714285716</c:v>
                </c:pt>
                <c:pt idx="5">
                  <c:v>1.6777777777777778</c:v>
                </c:pt>
              </c:numCache>
            </c:numRef>
          </c:val>
        </c:ser>
        <c:dLbls>
          <c:showLegendKey val="0"/>
          <c:showVal val="0"/>
          <c:showCatName val="0"/>
          <c:showSerName val="0"/>
          <c:showPercent val="0"/>
          <c:showBubbleSize val="0"/>
        </c:dLbls>
        <c:gapWidth val="150"/>
        <c:overlap val="100"/>
        <c:axId val="461102496"/>
        <c:axId val="461092416"/>
      </c:barChart>
      <c:catAx>
        <c:axId val="461102496"/>
        <c:scaling>
          <c:orientation val="minMax"/>
        </c:scaling>
        <c:delete val="0"/>
        <c:axPos val="b"/>
        <c:numFmt formatCode="General" sourceLinked="0"/>
        <c:majorTickMark val="out"/>
        <c:minorTickMark val="none"/>
        <c:tickLblPos val="nextTo"/>
        <c:crossAx val="461092416"/>
        <c:crosses val="autoZero"/>
        <c:auto val="1"/>
        <c:lblAlgn val="ctr"/>
        <c:lblOffset val="100"/>
        <c:noMultiLvlLbl val="0"/>
      </c:catAx>
      <c:valAx>
        <c:axId val="461092416"/>
        <c:scaling>
          <c:orientation val="minMax"/>
          <c:max val="5"/>
        </c:scaling>
        <c:delete val="0"/>
        <c:axPos val="l"/>
        <c:numFmt formatCode="0.0" sourceLinked="1"/>
        <c:majorTickMark val="out"/>
        <c:minorTickMark val="none"/>
        <c:tickLblPos val="nextTo"/>
        <c:crossAx val="461102496"/>
        <c:crosses val="autoZero"/>
        <c:crossBetween val="between"/>
      </c:valAx>
    </c:plotArea>
    <c:plotVisOnly val="1"/>
    <c:dispBlanksAs val="gap"/>
    <c:showDLblsOverMax val="0"/>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Verify</a:t>
            </a:r>
          </a:p>
        </c:rich>
      </c:tx>
      <c:layout/>
      <c:overlay val="0"/>
      <c:spPr>
        <a:noFill/>
        <a:ln>
          <a:noFill/>
        </a:ln>
        <a:effectLst/>
      </c:spPr>
    </c:title>
    <c:autoTitleDeleted val="0"/>
    <c:plotArea>
      <c:layout/>
      <c:barChart>
        <c:barDir val="col"/>
        <c:grouping val="clustered"/>
        <c:varyColors val="0"/>
        <c:ser>
          <c:idx val="0"/>
          <c:order val="0"/>
          <c:tx>
            <c:strRef>
              <c:f>Dashboard!$R$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Q$3</c:f>
              <c:strCache>
                <c:ptCount val="1"/>
                <c:pt idx="0">
                  <c:v>Test Automation</c:v>
                </c:pt>
              </c:strCache>
            </c:strRef>
          </c:cat>
          <c:val>
            <c:numRef>
              <c:f>Dashboard!$R$3</c:f>
              <c:numCache>
                <c:formatCode>0.0</c:formatCode>
                <c:ptCount val="1"/>
                <c:pt idx="0">
                  <c:v>1</c:v>
                </c:pt>
              </c:numCache>
            </c:numRef>
          </c:val>
          <c:extLst xmlns:c16r2="http://schemas.microsoft.com/office/drawing/2015/06/chart">
            <c:ext xmlns:c16="http://schemas.microsoft.com/office/drawing/2014/chart" uri="{C3380CC4-5D6E-409C-BE32-E72D297353CC}">
              <c16:uniqueId val="{00000000-4F89-4B4B-B483-459560D1BC08}"/>
            </c:ext>
          </c:extLst>
        </c:ser>
        <c:ser>
          <c:idx val="1"/>
          <c:order val="1"/>
          <c:tx>
            <c:strRef>
              <c:f>Dashboard!$S$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Q$3</c:f>
              <c:strCache>
                <c:ptCount val="1"/>
                <c:pt idx="0">
                  <c:v>Test Automation</c:v>
                </c:pt>
              </c:strCache>
            </c:strRef>
          </c:cat>
          <c:val>
            <c:numRef>
              <c:f>Dashboard!$S$3</c:f>
              <c:numCache>
                <c:formatCode>General</c:formatCode>
                <c:ptCount val="1"/>
                <c:pt idx="0">
                  <c:v>5</c:v>
                </c:pt>
              </c:numCache>
            </c:numRef>
          </c:val>
          <c:extLst xmlns:c16r2="http://schemas.microsoft.com/office/drawing/2015/06/chart">
            <c:ext xmlns:c16="http://schemas.microsoft.com/office/drawing/2014/chart" uri="{C3380CC4-5D6E-409C-BE32-E72D297353CC}">
              <c16:uniqueId val="{00000001-4F89-4B4B-B483-459560D1BC08}"/>
            </c:ext>
          </c:extLst>
        </c:ser>
        <c:dLbls>
          <c:showLegendKey val="0"/>
          <c:showVal val="0"/>
          <c:showCatName val="0"/>
          <c:showSerName val="0"/>
          <c:showPercent val="0"/>
          <c:showBubbleSize val="0"/>
        </c:dLbls>
        <c:gapWidth val="150"/>
        <c:axId val="447857440"/>
        <c:axId val="447861360"/>
      </c:barChart>
      <c:catAx>
        <c:axId val="447857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47861360"/>
        <c:crosses val="autoZero"/>
        <c:auto val="1"/>
        <c:lblAlgn val="ctr"/>
        <c:lblOffset val="100"/>
        <c:noMultiLvlLbl val="0"/>
      </c:catAx>
      <c:valAx>
        <c:axId val="447861360"/>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7857440"/>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Release</a:t>
            </a:r>
          </a:p>
        </c:rich>
      </c:tx>
      <c:layout/>
      <c:overlay val="0"/>
      <c:spPr>
        <a:noFill/>
        <a:ln>
          <a:noFill/>
        </a:ln>
        <a:effectLst/>
      </c:spPr>
    </c:title>
    <c:autoTitleDeleted val="0"/>
    <c:plotArea>
      <c:layout/>
      <c:barChart>
        <c:barDir val="col"/>
        <c:grouping val="clustered"/>
        <c:varyColors val="0"/>
        <c:ser>
          <c:idx val="0"/>
          <c:order val="0"/>
          <c:tx>
            <c:strRef>
              <c:f>Dashboard!$W$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V$3:$V$4</c:f>
              <c:strCache>
                <c:ptCount val="2"/>
                <c:pt idx="0">
                  <c:v>Release Management</c:v>
                </c:pt>
                <c:pt idx="1">
                  <c:v>End to End Traceability</c:v>
                </c:pt>
              </c:strCache>
            </c:strRef>
          </c:cat>
          <c:val>
            <c:numRef>
              <c:f>Dashboard!$W$3:$W$4</c:f>
              <c:numCache>
                <c:formatCode>0.0</c:formatCode>
                <c:ptCount val="2"/>
                <c:pt idx="0">
                  <c:v>2.8947368421052633</c:v>
                </c:pt>
                <c:pt idx="1">
                  <c:v>2.1111111111111112</c:v>
                </c:pt>
              </c:numCache>
            </c:numRef>
          </c:val>
          <c:extLst xmlns:c16r2="http://schemas.microsoft.com/office/drawing/2015/06/chart">
            <c:ext xmlns:c16="http://schemas.microsoft.com/office/drawing/2014/chart" uri="{C3380CC4-5D6E-409C-BE32-E72D297353CC}">
              <c16:uniqueId val="{00000000-77A2-4AFF-808D-21C19824C87C}"/>
            </c:ext>
          </c:extLst>
        </c:ser>
        <c:ser>
          <c:idx val="1"/>
          <c:order val="1"/>
          <c:tx>
            <c:strRef>
              <c:f>Dashboard!$X$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V$3:$V$4</c:f>
              <c:strCache>
                <c:ptCount val="2"/>
                <c:pt idx="0">
                  <c:v>Release Management</c:v>
                </c:pt>
                <c:pt idx="1">
                  <c:v>End to End Traceability</c:v>
                </c:pt>
              </c:strCache>
            </c:strRef>
          </c:cat>
          <c:val>
            <c:numRef>
              <c:f>Dashboard!$X$3:$X$4</c:f>
              <c:numCache>
                <c:formatCode>General</c:formatCode>
                <c:ptCount val="2"/>
                <c:pt idx="0">
                  <c:v>5</c:v>
                </c:pt>
                <c:pt idx="1">
                  <c:v>5</c:v>
                </c:pt>
              </c:numCache>
            </c:numRef>
          </c:val>
          <c:extLst xmlns:c16r2="http://schemas.microsoft.com/office/drawing/2015/06/chart">
            <c:ext xmlns:c16="http://schemas.microsoft.com/office/drawing/2014/chart" uri="{C3380CC4-5D6E-409C-BE32-E72D297353CC}">
              <c16:uniqueId val="{00000001-77A2-4AFF-808D-21C19824C87C}"/>
            </c:ext>
          </c:extLst>
        </c:ser>
        <c:dLbls>
          <c:showLegendKey val="0"/>
          <c:showVal val="0"/>
          <c:showCatName val="0"/>
          <c:showSerName val="0"/>
          <c:showPercent val="0"/>
          <c:showBubbleSize val="0"/>
        </c:dLbls>
        <c:gapWidth val="150"/>
        <c:axId val="447859680"/>
        <c:axId val="447869760"/>
      </c:barChart>
      <c:catAx>
        <c:axId val="44785968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47869760"/>
        <c:crosses val="autoZero"/>
        <c:auto val="1"/>
        <c:lblAlgn val="ctr"/>
        <c:lblOffset val="100"/>
        <c:noMultiLvlLbl val="0"/>
      </c:catAx>
      <c:valAx>
        <c:axId val="447869760"/>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7859680"/>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Measure</a:t>
            </a:r>
            <a:r>
              <a:rPr lang="en-US" baseline="0"/>
              <a:t> and Monitor</a:t>
            </a:r>
            <a:endParaRPr lang="en-US"/>
          </a:p>
        </c:rich>
      </c:tx>
      <c:layout/>
      <c:overlay val="0"/>
      <c:spPr>
        <a:noFill/>
        <a:ln>
          <a:noFill/>
        </a:ln>
        <a:effectLst/>
      </c:spPr>
    </c:title>
    <c:autoTitleDeleted val="0"/>
    <c:plotArea>
      <c:layout/>
      <c:barChart>
        <c:barDir val="col"/>
        <c:grouping val="clustered"/>
        <c:varyColors val="0"/>
        <c:ser>
          <c:idx val="0"/>
          <c:order val="0"/>
          <c:tx>
            <c:strRef>
              <c:f>Dashboard!$AB$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AA$3</c:f>
              <c:strCache>
                <c:ptCount val="1"/>
                <c:pt idx="0">
                  <c:v>FA and M</c:v>
                </c:pt>
              </c:strCache>
            </c:strRef>
          </c:cat>
          <c:val>
            <c:numRef>
              <c:f>Dashboard!$AB$3</c:f>
              <c:numCache>
                <c:formatCode>0.0</c:formatCode>
                <c:ptCount val="1"/>
                <c:pt idx="0">
                  <c:v>3</c:v>
                </c:pt>
              </c:numCache>
            </c:numRef>
          </c:val>
          <c:extLst xmlns:c16r2="http://schemas.microsoft.com/office/drawing/2015/06/chart">
            <c:ext xmlns:c16="http://schemas.microsoft.com/office/drawing/2014/chart" uri="{C3380CC4-5D6E-409C-BE32-E72D297353CC}">
              <c16:uniqueId val="{00000000-1D76-4FDE-BA6C-ACC08AD47E53}"/>
            </c:ext>
          </c:extLst>
        </c:ser>
        <c:ser>
          <c:idx val="1"/>
          <c:order val="1"/>
          <c:tx>
            <c:strRef>
              <c:f>Dashboard!$AC$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AA$3</c:f>
              <c:strCache>
                <c:ptCount val="1"/>
                <c:pt idx="0">
                  <c:v>FA and M</c:v>
                </c:pt>
              </c:strCache>
            </c:strRef>
          </c:cat>
          <c:val>
            <c:numRef>
              <c:f>Dashboard!$AC$3</c:f>
              <c:numCache>
                <c:formatCode>General</c:formatCode>
                <c:ptCount val="1"/>
                <c:pt idx="0">
                  <c:v>5</c:v>
                </c:pt>
              </c:numCache>
            </c:numRef>
          </c:val>
          <c:extLst xmlns:c16r2="http://schemas.microsoft.com/office/drawing/2015/06/chart">
            <c:ext xmlns:c16="http://schemas.microsoft.com/office/drawing/2014/chart" uri="{C3380CC4-5D6E-409C-BE32-E72D297353CC}">
              <c16:uniqueId val="{00000001-1D76-4FDE-BA6C-ACC08AD47E53}"/>
            </c:ext>
          </c:extLst>
        </c:ser>
        <c:dLbls>
          <c:showLegendKey val="0"/>
          <c:showVal val="0"/>
          <c:showCatName val="0"/>
          <c:showSerName val="0"/>
          <c:showPercent val="0"/>
          <c:showBubbleSize val="0"/>
        </c:dLbls>
        <c:gapWidth val="150"/>
        <c:axId val="447866960"/>
        <c:axId val="447868080"/>
      </c:barChart>
      <c:catAx>
        <c:axId val="44786696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7868080"/>
        <c:crosses val="autoZero"/>
        <c:auto val="1"/>
        <c:lblAlgn val="ctr"/>
        <c:lblOffset val="100"/>
        <c:noMultiLvlLbl val="0"/>
      </c:catAx>
      <c:valAx>
        <c:axId val="447868080"/>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7866960"/>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Environment</a:t>
            </a:r>
          </a:p>
        </c:rich>
      </c:tx>
      <c:layout/>
      <c:overlay val="0"/>
      <c:spPr>
        <a:noFill/>
        <a:ln>
          <a:noFill/>
        </a:ln>
        <a:effectLst/>
      </c:spPr>
    </c:title>
    <c:autoTitleDeleted val="0"/>
    <c:plotArea>
      <c:layout>
        <c:manualLayout>
          <c:layoutTarget val="inner"/>
          <c:xMode val="edge"/>
          <c:yMode val="edge"/>
          <c:x val="0.2830873493154793"/>
          <c:y val="0.24761204849250865"/>
          <c:w val="0.41997677372923403"/>
          <c:h val="0.66081008625878779"/>
        </c:manualLayout>
      </c:layout>
      <c:radarChart>
        <c:radarStyle val="marker"/>
        <c:varyColors val="0"/>
        <c:ser>
          <c:idx val="0"/>
          <c:order val="0"/>
          <c:tx>
            <c:strRef>
              <c:f>Dashboard!$AG$2</c:f>
              <c:strCache>
                <c:ptCount val="1"/>
                <c:pt idx="0">
                  <c:v>Score</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G$3:$AG$5</c:f>
              <c:numCache>
                <c:formatCode>0.0</c:formatCode>
                <c:ptCount val="3"/>
                <c:pt idx="0">
                  <c:v>2.4</c:v>
                </c:pt>
                <c:pt idx="1">
                  <c:v>2.6666666666666665</c:v>
                </c:pt>
                <c:pt idx="2" formatCode="General">
                  <c:v>1.25</c:v>
                </c:pt>
              </c:numCache>
            </c:numRef>
          </c:val>
          <c:extLst xmlns:c16r2="http://schemas.microsoft.com/office/drawing/2015/06/chart">
            <c:ext xmlns:c16="http://schemas.microsoft.com/office/drawing/2014/chart" uri="{C3380CC4-5D6E-409C-BE32-E72D297353CC}">
              <c16:uniqueId val="{00000000-D63E-4726-9B6A-5A1C95167D6C}"/>
            </c:ext>
          </c:extLst>
        </c:ser>
        <c:ser>
          <c:idx val="1"/>
          <c:order val="1"/>
          <c:tx>
            <c:strRef>
              <c:f>Dashboard!$AH$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H$3:$AH$5</c:f>
              <c:numCache>
                <c:formatCode>General</c:formatCode>
                <c:ptCount val="3"/>
                <c:pt idx="0">
                  <c:v>5</c:v>
                </c:pt>
                <c:pt idx="1">
                  <c:v>5</c:v>
                </c:pt>
                <c:pt idx="2">
                  <c:v>5</c:v>
                </c:pt>
              </c:numCache>
            </c:numRef>
          </c:val>
          <c:extLst xmlns:c16r2="http://schemas.microsoft.com/office/drawing/2015/06/chart">
            <c:ext xmlns:c16="http://schemas.microsoft.com/office/drawing/2014/chart" uri="{C3380CC4-5D6E-409C-BE32-E72D297353CC}">
              <c16:uniqueId val="{00000001-D63E-4726-9B6A-5A1C95167D6C}"/>
            </c:ext>
          </c:extLst>
        </c:ser>
        <c:dLbls>
          <c:showLegendKey val="0"/>
          <c:showVal val="0"/>
          <c:showCatName val="0"/>
          <c:showSerName val="0"/>
          <c:showPercent val="0"/>
          <c:showBubbleSize val="0"/>
        </c:dLbls>
        <c:axId val="447866400"/>
        <c:axId val="447870320"/>
      </c:radarChart>
      <c:catAx>
        <c:axId val="44786640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7870320"/>
        <c:crosses val="autoZero"/>
        <c:auto val="1"/>
        <c:lblAlgn val="ctr"/>
        <c:lblOffset val="100"/>
        <c:noMultiLvlLbl val="0"/>
      </c:catAx>
      <c:valAx>
        <c:axId val="447870320"/>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7866400"/>
        <c:crosses val="autoZero"/>
        <c:crossBetween val="between"/>
      </c:valAx>
      <c:spPr>
        <a:noFill/>
        <a:ln>
          <a:noFill/>
        </a:ln>
        <a:effectLst/>
      </c:spPr>
    </c:plotArea>
    <c:legend>
      <c:legendPos val="t"/>
      <c:layout>
        <c:manualLayout>
          <c:xMode val="edge"/>
          <c:yMode val="edge"/>
          <c:x val="0.3718524132240717"/>
          <c:y val="0.87192235708249988"/>
          <c:w val="0.25629517355185655"/>
          <c:h val="6.128448814495708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invertIfNegative val="0"/>
          <c:dLbls>
            <c:dLbl>
              <c:idx val="0"/>
              <c:layout>
                <c:manualLayout>
                  <c:x val="0"/>
                  <c:y val="-0.252993754546256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3F0-412A-AB2F-78754729BBB5}"/>
                </c:ext>
                <c:ext xmlns:c15="http://schemas.microsoft.com/office/drawing/2012/chart" uri="{CE6537A1-D6FC-4f65-9D91-7224C49458BB}">
                  <c15:layout/>
                </c:ext>
              </c:extLst>
            </c:dLbl>
            <c:dLbl>
              <c:idx val="1"/>
              <c:layout>
                <c:manualLayout>
                  <c:x val="3.2949162461843101E-17"/>
                  <c:y val="-0.1748633303481477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3F0-412A-AB2F-78754729BBB5}"/>
                </c:ext>
                <c:ext xmlns:c15="http://schemas.microsoft.com/office/drawing/2012/chart" uri="{CE6537A1-D6FC-4f65-9D91-7224C49458BB}">
                  <c15:layout/>
                </c:ext>
              </c:extLst>
            </c:dLbl>
            <c:dLbl>
              <c:idx val="2"/>
              <c:layout>
                <c:manualLayout>
                  <c:x val="1.7972478050934286E-3"/>
                  <c:y val="-0.25299375454625611"/>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3F0-412A-AB2F-78754729BBB5}"/>
                </c:ext>
                <c:ext xmlns:c15="http://schemas.microsoft.com/office/drawing/2012/chart" uri="{CE6537A1-D6FC-4f65-9D91-7224C49458BB}">
                  <c15:layout/>
                </c:ext>
              </c:extLst>
            </c:dLbl>
            <c:dLbl>
              <c:idx val="3"/>
              <c:layout>
                <c:manualLayout>
                  <c:x val="-1.4151557520420697E-7"/>
                  <c:y val="-0.1674223375673754"/>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3F0-412A-AB2F-78754729BBB5}"/>
                </c:ext>
                <c:ext xmlns:c15="http://schemas.microsoft.com/office/drawing/2012/chart" uri="{CE6537A1-D6FC-4f65-9D91-7224C49458BB}">
                  <c15:layout/>
                </c:ext>
              </c:extLst>
            </c:dLbl>
            <c:dLbl>
              <c:idx val="4"/>
              <c:layout>
                <c:manualLayout>
                  <c:x val="1.7972478050934286E-3"/>
                  <c:y val="-0.14137886283467258"/>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3F0-412A-AB2F-78754729BBB5}"/>
                </c:ext>
                <c:ext xmlns:c15="http://schemas.microsoft.com/office/drawing/2012/chart" uri="{CE6537A1-D6FC-4f65-9D91-7224C49458BB}">
                  <c15:layout/>
                </c:ext>
              </c:extLst>
            </c:dLbl>
            <c:dLbl>
              <c:idx val="5"/>
              <c:layout>
                <c:manualLayout>
                  <c:x val="0"/>
                  <c:y val="-0.15254035200583094"/>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73F0-412A-AB2F-78754729BBB5}"/>
                </c:ex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3.3404452690166977</c:v>
                </c:pt>
                <c:pt idx="1">
                  <c:v>3.4285714285714288</c:v>
                </c:pt>
                <c:pt idx="2" formatCode="General">
                  <c:v>2.5</c:v>
                </c:pt>
                <c:pt idx="3">
                  <c:v>2.0818713450292399</c:v>
                </c:pt>
                <c:pt idx="4">
                  <c:v>2.3809523809523809</c:v>
                </c:pt>
                <c:pt idx="5">
                  <c:v>1.7523809523809524</c:v>
                </c:pt>
              </c:numCache>
            </c:numRef>
          </c:val>
          <c:extLst xmlns:c16r2="http://schemas.microsoft.com/office/drawing/2015/06/chart">
            <c:ext xmlns:c16="http://schemas.microsoft.com/office/drawing/2014/chart" uri="{C3380CC4-5D6E-409C-BE32-E72D297353CC}">
              <c16:uniqueId val="{00000006-73F0-412A-AB2F-78754729BBB5}"/>
            </c:ext>
          </c:extLst>
        </c:ser>
        <c:dLbls>
          <c:showLegendKey val="0"/>
          <c:showVal val="0"/>
          <c:showCatName val="0"/>
          <c:showSerName val="0"/>
          <c:showPercent val="0"/>
          <c:showBubbleSize val="0"/>
        </c:dLbls>
        <c:gapWidth val="150"/>
        <c:overlap val="100"/>
        <c:axId val="447856880"/>
        <c:axId val="447860800"/>
      </c:barChart>
      <c:catAx>
        <c:axId val="447856880"/>
        <c:scaling>
          <c:orientation val="minMax"/>
        </c:scaling>
        <c:delete val="0"/>
        <c:axPos val="b"/>
        <c:numFmt formatCode="General" sourceLinked="0"/>
        <c:majorTickMark val="out"/>
        <c:minorTickMark val="none"/>
        <c:tickLblPos val="nextTo"/>
        <c:crossAx val="447860800"/>
        <c:crosses val="autoZero"/>
        <c:auto val="1"/>
        <c:lblAlgn val="ctr"/>
        <c:lblOffset val="100"/>
        <c:noMultiLvlLbl val="0"/>
      </c:catAx>
      <c:valAx>
        <c:axId val="447860800"/>
        <c:scaling>
          <c:orientation val="minMax"/>
          <c:max val="5"/>
        </c:scaling>
        <c:delete val="0"/>
        <c:axPos val="l"/>
        <c:numFmt formatCode="0.0" sourceLinked="1"/>
        <c:majorTickMark val="out"/>
        <c:minorTickMark val="none"/>
        <c:tickLblPos val="nextTo"/>
        <c:crossAx val="447856880"/>
        <c:crosses val="autoZero"/>
        <c:crossBetween val="between"/>
      </c:valAx>
    </c:plotArea>
    <c:plotVisOnly val="1"/>
    <c:dispBlanksAs val="gap"/>
    <c:showDLblsOverMax val="0"/>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vOps</a:t>
            </a:r>
            <a:r>
              <a:rPr lang="en-US" baseline="0"/>
              <a:t> Maturity</a:t>
            </a:r>
            <a:endParaRPr lang="en-US"/>
          </a:p>
        </c:rich>
      </c:tx>
      <c:layout/>
      <c:overlay val="0"/>
      <c:spPr>
        <a:noFill/>
        <a:ln>
          <a:noFill/>
        </a:ln>
        <a:effectLst/>
      </c:spPr>
    </c:title>
    <c:autoTitleDeleted val="0"/>
    <c:plotArea>
      <c:layout>
        <c:manualLayout>
          <c:layoutTarget val="inner"/>
          <c:xMode val="edge"/>
          <c:yMode val="edge"/>
          <c:x val="0.1854322693982256"/>
          <c:y val="0.21448751135670582"/>
          <c:w val="0.60133216283200996"/>
          <c:h val="0.72381691892241662"/>
        </c:manualLayout>
      </c:layout>
      <c:radarChart>
        <c:radarStyle val="marker"/>
        <c:varyColors val="0"/>
        <c:ser>
          <c:idx val="0"/>
          <c:order val="0"/>
          <c:tx>
            <c:strRef>
              <c:f>Dashboard!$C$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3.3404452690166977</c:v>
                </c:pt>
                <c:pt idx="1">
                  <c:v>3.4285714285714288</c:v>
                </c:pt>
                <c:pt idx="2" formatCode="General">
                  <c:v>2.5</c:v>
                </c:pt>
                <c:pt idx="3">
                  <c:v>2.0818713450292399</c:v>
                </c:pt>
                <c:pt idx="4">
                  <c:v>2.3809523809523809</c:v>
                </c:pt>
                <c:pt idx="5">
                  <c:v>1.7523809523809524</c:v>
                </c:pt>
              </c:numCache>
            </c:numRef>
          </c:val>
          <c:extLst xmlns:c16r2="http://schemas.microsoft.com/office/drawing/2015/06/chart">
            <c:ext xmlns:c16="http://schemas.microsoft.com/office/drawing/2014/chart" uri="{C3380CC4-5D6E-409C-BE32-E72D297353CC}">
              <c16:uniqueId val="{00000000-D955-4CAA-852D-8096FFEBE47D}"/>
            </c:ext>
          </c:extLst>
        </c:ser>
        <c:dLbls>
          <c:showLegendKey val="0"/>
          <c:showVal val="0"/>
          <c:showCatName val="0"/>
          <c:showSerName val="0"/>
          <c:showPercent val="0"/>
          <c:showBubbleSize val="0"/>
        </c:dLbls>
        <c:axId val="442281376"/>
        <c:axId val="442281936"/>
      </c:radarChart>
      <c:catAx>
        <c:axId val="4422813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2281936"/>
        <c:crosses val="autoZero"/>
        <c:auto val="1"/>
        <c:lblAlgn val="ctr"/>
        <c:lblOffset val="100"/>
        <c:noMultiLvlLbl val="0"/>
      </c:catAx>
      <c:valAx>
        <c:axId val="442281936"/>
        <c:scaling>
          <c:orientation val="minMax"/>
          <c:max val="5"/>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2281376"/>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5</c:v>
                </c:pt>
                <c:pt idx="1">
                  <c:v>2.4285714285714284</c:v>
                </c:pt>
                <c:pt idx="2" formatCode="General">
                  <c:v>3</c:v>
                </c:pt>
                <c:pt idx="3">
                  <c:v>3.2727272727272729</c:v>
                </c:pt>
                <c:pt idx="4">
                  <c:v>3.1818181818181817</c:v>
                </c:pt>
                <c:pt idx="5" formatCode="General">
                  <c:v>4</c:v>
                </c:pt>
                <c:pt idx="6">
                  <c:v>4</c:v>
                </c:pt>
              </c:numCache>
            </c:numRef>
          </c:val>
          <c:extLst xmlns:c16r2="http://schemas.microsoft.com/office/drawing/2015/06/chart">
            <c:ext xmlns:c16="http://schemas.microsoft.com/office/drawing/2014/chart" uri="{C3380CC4-5D6E-409C-BE32-E72D297353CC}">
              <c16:uniqueId val="{00000000-AF0A-4CC8-B437-3232C501BB82}"/>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AF0A-4CC8-B437-3232C501BB82}"/>
            </c:ext>
          </c:extLst>
        </c:ser>
        <c:dLbls>
          <c:showLegendKey val="0"/>
          <c:showVal val="0"/>
          <c:showCatName val="0"/>
          <c:showSerName val="0"/>
          <c:showPercent val="0"/>
          <c:showBubbleSize val="0"/>
        </c:dLbls>
        <c:axId val="442277456"/>
        <c:axId val="442275776"/>
      </c:radarChart>
      <c:catAx>
        <c:axId val="4422774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2275776"/>
        <c:crosses val="autoZero"/>
        <c:auto val="1"/>
        <c:lblAlgn val="ctr"/>
        <c:lblOffset val="100"/>
        <c:noMultiLvlLbl val="0"/>
      </c:catAx>
      <c:valAx>
        <c:axId val="44227577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227745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5</c:v>
                </c:pt>
                <c:pt idx="1">
                  <c:v>2.4285714285714284</c:v>
                </c:pt>
                <c:pt idx="2" formatCode="General">
                  <c:v>3</c:v>
                </c:pt>
                <c:pt idx="3">
                  <c:v>3.2727272727272729</c:v>
                </c:pt>
                <c:pt idx="4">
                  <c:v>3.1818181818181817</c:v>
                </c:pt>
                <c:pt idx="5" formatCode="General">
                  <c:v>4</c:v>
                </c:pt>
                <c:pt idx="6">
                  <c:v>4</c:v>
                </c:pt>
              </c:numCache>
            </c:numRef>
          </c:val>
          <c:extLst xmlns:c16r2="http://schemas.microsoft.com/office/drawing/2015/06/chart">
            <c:ext xmlns:c16="http://schemas.microsoft.com/office/drawing/2014/chart" uri="{C3380CC4-5D6E-409C-BE32-E72D297353CC}">
              <c16:uniqueId val="{00000000-AF0A-4CC8-B437-3232C501BB82}"/>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AF0A-4CC8-B437-3232C501BB82}"/>
            </c:ext>
          </c:extLst>
        </c:ser>
        <c:dLbls>
          <c:showLegendKey val="0"/>
          <c:showVal val="0"/>
          <c:showCatName val="0"/>
          <c:showSerName val="0"/>
          <c:showPercent val="0"/>
          <c:showBubbleSize val="0"/>
        </c:dLbls>
        <c:axId val="442282496"/>
        <c:axId val="442272976"/>
      </c:radarChart>
      <c:catAx>
        <c:axId val="44228249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2272976"/>
        <c:crosses val="autoZero"/>
        <c:auto val="1"/>
        <c:lblAlgn val="ctr"/>
        <c:lblOffset val="100"/>
        <c:noMultiLvlLbl val="0"/>
      </c:catAx>
      <c:valAx>
        <c:axId val="44227297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228249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ploy</a:t>
            </a:r>
          </a:p>
        </c:rich>
      </c:tx>
      <c:layout/>
      <c:overlay val="0"/>
      <c:spPr>
        <a:noFill/>
        <a:ln>
          <a:noFill/>
        </a:ln>
        <a:effectLst/>
      </c:spPr>
    </c:title>
    <c:autoTitleDeleted val="0"/>
    <c:plotArea>
      <c:layout/>
      <c:barChart>
        <c:barDir val="col"/>
        <c:grouping val="clustered"/>
        <c:varyColors val="0"/>
        <c:ser>
          <c:idx val="0"/>
          <c:order val="0"/>
          <c:tx>
            <c:strRef>
              <c:f>Dashboard!$M$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L$3:$L$4</c:f>
              <c:strCache>
                <c:ptCount val="2"/>
                <c:pt idx="0">
                  <c:v>Artifact management</c:v>
                </c:pt>
                <c:pt idx="1">
                  <c:v>Continuous Deployment </c:v>
                </c:pt>
              </c:strCache>
            </c:strRef>
          </c:cat>
          <c:val>
            <c:numRef>
              <c:f>Dashboard!$M$3:$M$4</c:f>
              <c:numCache>
                <c:formatCode>0.0</c:formatCode>
                <c:ptCount val="2"/>
                <c:pt idx="0">
                  <c:v>4</c:v>
                </c:pt>
                <c:pt idx="1">
                  <c:v>2.8571428571428572</c:v>
                </c:pt>
              </c:numCache>
            </c:numRef>
          </c:val>
          <c:extLst xmlns:c16r2="http://schemas.microsoft.com/office/drawing/2015/06/chart">
            <c:ext xmlns:c16="http://schemas.microsoft.com/office/drawing/2014/chart" uri="{C3380CC4-5D6E-409C-BE32-E72D297353CC}">
              <c16:uniqueId val="{00000000-F80B-4645-8909-8E66BF5888C9}"/>
            </c:ext>
          </c:extLst>
        </c:ser>
        <c:ser>
          <c:idx val="1"/>
          <c:order val="1"/>
          <c:tx>
            <c:strRef>
              <c:f>Dashboard!$N$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L$3:$L$4</c:f>
              <c:strCache>
                <c:ptCount val="2"/>
                <c:pt idx="0">
                  <c:v>Artifact management</c:v>
                </c:pt>
                <c:pt idx="1">
                  <c:v>Continuous Deployment </c:v>
                </c:pt>
              </c:strCache>
            </c:strRef>
          </c:cat>
          <c:val>
            <c:numRef>
              <c:f>Dashboard!$N$3:$N$4</c:f>
              <c:numCache>
                <c:formatCode>General</c:formatCode>
                <c:ptCount val="2"/>
                <c:pt idx="0">
                  <c:v>5</c:v>
                </c:pt>
                <c:pt idx="1">
                  <c:v>5</c:v>
                </c:pt>
              </c:numCache>
            </c:numRef>
          </c:val>
          <c:extLst xmlns:c16r2="http://schemas.microsoft.com/office/drawing/2015/06/chart">
            <c:ext xmlns:c16="http://schemas.microsoft.com/office/drawing/2014/chart" uri="{C3380CC4-5D6E-409C-BE32-E72D297353CC}">
              <c16:uniqueId val="{00000001-F80B-4645-8909-8E66BF5888C9}"/>
            </c:ext>
          </c:extLst>
        </c:ser>
        <c:dLbls>
          <c:showLegendKey val="0"/>
          <c:showVal val="0"/>
          <c:showCatName val="0"/>
          <c:showSerName val="0"/>
          <c:showPercent val="0"/>
          <c:showBubbleSize val="0"/>
        </c:dLbls>
        <c:gapWidth val="150"/>
        <c:axId val="442276336"/>
        <c:axId val="442280816"/>
      </c:barChart>
      <c:catAx>
        <c:axId val="44227633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42280816"/>
        <c:crosses val="autoZero"/>
        <c:auto val="1"/>
        <c:lblAlgn val="ctr"/>
        <c:lblOffset val="100"/>
        <c:noMultiLvlLbl val="0"/>
      </c:catAx>
      <c:valAx>
        <c:axId val="442280816"/>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227633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Verify</a:t>
            </a:r>
          </a:p>
        </c:rich>
      </c:tx>
      <c:layout/>
      <c:overlay val="0"/>
      <c:spPr>
        <a:noFill/>
        <a:ln>
          <a:noFill/>
        </a:ln>
        <a:effectLst/>
      </c:spPr>
    </c:title>
    <c:autoTitleDeleted val="0"/>
    <c:plotArea>
      <c:layout/>
      <c:barChart>
        <c:barDir val="col"/>
        <c:grouping val="clustered"/>
        <c:varyColors val="0"/>
        <c:ser>
          <c:idx val="0"/>
          <c:order val="0"/>
          <c:tx>
            <c:strRef>
              <c:f>Dashboard!$R$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Q$3</c:f>
              <c:strCache>
                <c:ptCount val="1"/>
                <c:pt idx="0">
                  <c:v>Test Automation</c:v>
                </c:pt>
              </c:strCache>
            </c:strRef>
          </c:cat>
          <c:val>
            <c:numRef>
              <c:f>Dashboard!$R$3</c:f>
              <c:numCache>
                <c:formatCode>0.0</c:formatCode>
                <c:ptCount val="1"/>
                <c:pt idx="0">
                  <c:v>2.5</c:v>
                </c:pt>
              </c:numCache>
            </c:numRef>
          </c:val>
          <c:extLst xmlns:c16r2="http://schemas.microsoft.com/office/drawing/2015/06/chart">
            <c:ext xmlns:c16="http://schemas.microsoft.com/office/drawing/2014/chart" uri="{C3380CC4-5D6E-409C-BE32-E72D297353CC}">
              <c16:uniqueId val="{00000000-E758-4314-8002-A91FC8E94760}"/>
            </c:ext>
          </c:extLst>
        </c:ser>
        <c:ser>
          <c:idx val="1"/>
          <c:order val="1"/>
          <c:tx>
            <c:strRef>
              <c:f>Dashboard!$S$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Q$3</c:f>
              <c:strCache>
                <c:ptCount val="1"/>
                <c:pt idx="0">
                  <c:v>Test Automation</c:v>
                </c:pt>
              </c:strCache>
            </c:strRef>
          </c:cat>
          <c:val>
            <c:numRef>
              <c:f>Dashboard!$S$3</c:f>
              <c:numCache>
                <c:formatCode>General</c:formatCode>
                <c:ptCount val="1"/>
                <c:pt idx="0">
                  <c:v>5</c:v>
                </c:pt>
              </c:numCache>
            </c:numRef>
          </c:val>
          <c:extLst xmlns:c16r2="http://schemas.microsoft.com/office/drawing/2015/06/chart">
            <c:ext xmlns:c16="http://schemas.microsoft.com/office/drawing/2014/chart" uri="{C3380CC4-5D6E-409C-BE32-E72D297353CC}">
              <c16:uniqueId val="{00000001-E758-4314-8002-A91FC8E94760}"/>
            </c:ext>
          </c:extLst>
        </c:ser>
        <c:dLbls>
          <c:showLegendKey val="0"/>
          <c:showVal val="0"/>
          <c:showCatName val="0"/>
          <c:showSerName val="0"/>
          <c:showPercent val="0"/>
          <c:showBubbleSize val="0"/>
        </c:dLbls>
        <c:gapWidth val="150"/>
        <c:axId val="435754928"/>
        <c:axId val="435758848"/>
      </c:barChart>
      <c:catAx>
        <c:axId val="4357549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35758848"/>
        <c:crosses val="autoZero"/>
        <c:auto val="1"/>
        <c:lblAlgn val="ctr"/>
        <c:lblOffset val="100"/>
        <c:noMultiLvlLbl val="0"/>
      </c:catAx>
      <c:valAx>
        <c:axId val="435758848"/>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5754928"/>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vOps</a:t>
            </a:r>
            <a:r>
              <a:rPr lang="en-US" baseline="0"/>
              <a:t> Maturity</a:t>
            </a:r>
            <a:endParaRPr lang="en-US"/>
          </a:p>
        </c:rich>
      </c:tx>
      <c:layout/>
      <c:overlay val="0"/>
      <c:spPr>
        <a:noFill/>
        <a:ln>
          <a:noFill/>
        </a:ln>
        <a:effectLst/>
      </c:spPr>
    </c:title>
    <c:autoTitleDeleted val="0"/>
    <c:plotArea>
      <c:layout>
        <c:manualLayout>
          <c:layoutTarget val="inner"/>
          <c:xMode val="edge"/>
          <c:yMode val="edge"/>
          <c:x val="0.1854322693982256"/>
          <c:y val="0.21448751135670582"/>
          <c:w val="0.60133216283200996"/>
          <c:h val="0.72381691892241662"/>
        </c:manualLayout>
      </c:layout>
      <c:radarChart>
        <c:radarStyle val="marker"/>
        <c:varyColors val="0"/>
        <c:ser>
          <c:idx val="0"/>
          <c:order val="0"/>
          <c:tx>
            <c:strRef>
              <c:f>Dashboard!$C$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2.6641329258976318</c:v>
                </c:pt>
                <c:pt idx="1">
                  <c:v>2.7019230769230766</c:v>
                </c:pt>
                <c:pt idx="2" formatCode="General">
                  <c:v>3</c:v>
                </c:pt>
                <c:pt idx="3">
                  <c:v>2.5409356725146197</c:v>
                </c:pt>
                <c:pt idx="4">
                  <c:v>2.5714285714285716</c:v>
                </c:pt>
                <c:pt idx="5">
                  <c:v>1.6777777777777778</c:v>
                </c:pt>
              </c:numCache>
            </c:numRef>
          </c:val>
        </c:ser>
        <c:dLbls>
          <c:showLegendKey val="0"/>
          <c:showVal val="0"/>
          <c:showCatName val="0"/>
          <c:showSerName val="0"/>
          <c:showPercent val="0"/>
          <c:showBubbleSize val="0"/>
        </c:dLbls>
        <c:axId val="461089616"/>
        <c:axId val="461085136"/>
      </c:radarChart>
      <c:catAx>
        <c:axId val="46108961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61085136"/>
        <c:crosses val="autoZero"/>
        <c:auto val="1"/>
        <c:lblAlgn val="ctr"/>
        <c:lblOffset val="100"/>
        <c:noMultiLvlLbl val="0"/>
      </c:catAx>
      <c:valAx>
        <c:axId val="461085136"/>
        <c:scaling>
          <c:orientation val="minMax"/>
          <c:max val="5"/>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089616"/>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Release</a:t>
            </a:r>
          </a:p>
        </c:rich>
      </c:tx>
      <c:layout/>
      <c:overlay val="0"/>
      <c:spPr>
        <a:noFill/>
        <a:ln>
          <a:noFill/>
        </a:ln>
        <a:effectLst/>
      </c:spPr>
    </c:title>
    <c:autoTitleDeleted val="0"/>
    <c:plotArea>
      <c:layout/>
      <c:barChart>
        <c:barDir val="col"/>
        <c:grouping val="clustered"/>
        <c:varyColors val="0"/>
        <c:ser>
          <c:idx val="0"/>
          <c:order val="0"/>
          <c:tx>
            <c:strRef>
              <c:f>Dashboard!$W$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V$3:$V$4</c:f>
              <c:strCache>
                <c:ptCount val="2"/>
                <c:pt idx="0">
                  <c:v>Release Management</c:v>
                </c:pt>
                <c:pt idx="1">
                  <c:v>End to End Traceability</c:v>
                </c:pt>
              </c:strCache>
            </c:strRef>
          </c:cat>
          <c:val>
            <c:numRef>
              <c:f>Dashboard!$W$3:$W$4</c:f>
              <c:numCache>
                <c:formatCode>0.0</c:formatCode>
                <c:ptCount val="2"/>
                <c:pt idx="0">
                  <c:v>3.0526315789473686</c:v>
                </c:pt>
                <c:pt idx="1">
                  <c:v>1.1111111111111112</c:v>
                </c:pt>
              </c:numCache>
            </c:numRef>
          </c:val>
          <c:extLst xmlns:c16r2="http://schemas.microsoft.com/office/drawing/2015/06/chart">
            <c:ext xmlns:c16="http://schemas.microsoft.com/office/drawing/2014/chart" uri="{C3380CC4-5D6E-409C-BE32-E72D297353CC}">
              <c16:uniqueId val="{00000000-6421-4E19-87C5-11A29706F0A2}"/>
            </c:ext>
          </c:extLst>
        </c:ser>
        <c:ser>
          <c:idx val="1"/>
          <c:order val="1"/>
          <c:tx>
            <c:strRef>
              <c:f>Dashboard!$X$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V$3:$V$4</c:f>
              <c:strCache>
                <c:ptCount val="2"/>
                <c:pt idx="0">
                  <c:v>Release Management</c:v>
                </c:pt>
                <c:pt idx="1">
                  <c:v>End to End Traceability</c:v>
                </c:pt>
              </c:strCache>
            </c:strRef>
          </c:cat>
          <c:val>
            <c:numRef>
              <c:f>Dashboard!$X$3:$X$4</c:f>
              <c:numCache>
                <c:formatCode>General</c:formatCode>
                <c:ptCount val="2"/>
                <c:pt idx="0">
                  <c:v>5</c:v>
                </c:pt>
                <c:pt idx="1">
                  <c:v>5</c:v>
                </c:pt>
              </c:numCache>
            </c:numRef>
          </c:val>
          <c:extLst xmlns:c16r2="http://schemas.microsoft.com/office/drawing/2015/06/chart">
            <c:ext xmlns:c16="http://schemas.microsoft.com/office/drawing/2014/chart" uri="{C3380CC4-5D6E-409C-BE32-E72D297353CC}">
              <c16:uniqueId val="{00000001-6421-4E19-87C5-11A29706F0A2}"/>
            </c:ext>
          </c:extLst>
        </c:ser>
        <c:dLbls>
          <c:showLegendKey val="0"/>
          <c:showVal val="0"/>
          <c:showCatName val="0"/>
          <c:showSerName val="0"/>
          <c:showPercent val="0"/>
          <c:showBubbleSize val="0"/>
        </c:dLbls>
        <c:gapWidth val="150"/>
        <c:axId val="435754368"/>
        <c:axId val="472854688"/>
      </c:barChart>
      <c:catAx>
        <c:axId val="4357543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72854688"/>
        <c:crosses val="autoZero"/>
        <c:auto val="1"/>
        <c:lblAlgn val="ctr"/>
        <c:lblOffset val="100"/>
        <c:noMultiLvlLbl val="0"/>
      </c:catAx>
      <c:valAx>
        <c:axId val="472854688"/>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5754368"/>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Measure</a:t>
            </a:r>
            <a:r>
              <a:rPr lang="en-US" baseline="0"/>
              <a:t> and Monitor</a:t>
            </a:r>
            <a:endParaRPr lang="en-US"/>
          </a:p>
        </c:rich>
      </c:tx>
      <c:layout/>
      <c:overlay val="0"/>
      <c:spPr>
        <a:noFill/>
        <a:ln>
          <a:noFill/>
        </a:ln>
        <a:effectLst/>
      </c:spPr>
    </c:title>
    <c:autoTitleDeleted val="0"/>
    <c:plotArea>
      <c:layout/>
      <c:barChart>
        <c:barDir val="col"/>
        <c:grouping val="clustered"/>
        <c:varyColors val="0"/>
        <c:ser>
          <c:idx val="0"/>
          <c:order val="0"/>
          <c:tx>
            <c:strRef>
              <c:f>Dashboard!$AB$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AA$3</c:f>
              <c:strCache>
                <c:ptCount val="1"/>
                <c:pt idx="0">
                  <c:v>FA and M</c:v>
                </c:pt>
              </c:strCache>
            </c:strRef>
          </c:cat>
          <c:val>
            <c:numRef>
              <c:f>Dashboard!$AB$3</c:f>
              <c:numCache>
                <c:formatCode>0.0</c:formatCode>
                <c:ptCount val="1"/>
                <c:pt idx="0">
                  <c:v>2.3809523809523809</c:v>
                </c:pt>
              </c:numCache>
            </c:numRef>
          </c:val>
          <c:extLst xmlns:c16r2="http://schemas.microsoft.com/office/drawing/2015/06/chart">
            <c:ext xmlns:c16="http://schemas.microsoft.com/office/drawing/2014/chart" uri="{C3380CC4-5D6E-409C-BE32-E72D297353CC}">
              <c16:uniqueId val="{00000000-B09B-450E-AC35-F4926FA788EA}"/>
            </c:ext>
          </c:extLst>
        </c:ser>
        <c:ser>
          <c:idx val="1"/>
          <c:order val="1"/>
          <c:tx>
            <c:strRef>
              <c:f>Dashboard!$AC$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Dashboard!$AA$3</c:f>
              <c:strCache>
                <c:ptCount val="1"/>
                <c:pt idx="0">
                  <c:v>FA and M</c:v>
                </c:pt>
              </c:strCache>
            </c:strRef>
          </c:cat>
          <c:val>
            <c:numRef>
              <c:f>Dashboard!$AC$3</c:f>
              <c:numCache>
                <c:formatCode>General</c:formatCode>
                <c:ptCount val="1"/>
                <c:pt idx="0">
                  <c:v>5</c:v>
                </c:pt>
              </c:numCache>
            </c:numRef>
          </c:val>
          <c:extLst xmlns:c16r2="http://schemas.microsoft.com/office/drawing/2015/06/chart">
            <c:ext xmlns:c16="http://schemas.microsoft.com/office/drawing/2014/chart" uri="{C3380CC4-5D6E-409C-BE32-E72D297353CC}">
              <c16:uniqueId val="{00000001-B09B-450E-AC35-F4926FA788EA}"/>
            </c:ext>
          </c:extLst>
        </c:ser>
        <c:dLbls>
          <c:showLegendKey val="0"/>
          <c:showVal val="0"/>
          <c:showCatName val="0"/>
          <c:showSerName val="0"/>
          <c:showPercent val="0"/>
          <c:showBubbleSize val="0"/>
        </c:dLbls>
        <c:gapWidth val="150"/>
        <c:axId val="472857488"/>
        <c:axId val="472860288"/>
      </c:barChart>
      <c:catAx>
        <c:axId val="47285748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72860288"/>
        <c:crosses val="autoZero"/>
        <c:auto val="1"/>
        <c:lblAlgn val="ctr"/>
        <c:lblOffset val="100"/>
        <c:noMultiLvlLbl val="0"/>
      </c:catAx>
      <c:valAx>
        <c:axId val="472860288"/>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72857488"/>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Environment</a:t>
            </a:r>
          </a:p>
        </c:rich>
      </c:tx>
      <c:layout/>
      <c:overlay val="0"/>
      <c:spPr>
        <a:noFill/>
        <a:ln>
          <a:noFill/>
        </a:ln>
        <a:effectLst/>
      </c:spPr>
    </c:title>
    <c:autoTitleDeleted val="0"/>
    <c:plotArea>
      <c:layout>
        <c:manualLayout>
          <c:layoutTarget val="inner"/>
          <c:xMode val="edge"/>
          <c:yMode val="edge"/>
          <c:x val="0.2830873493154793"/>
          <c:y val="0.24761204849250865"/>
          <c:w val="0.41997677372923403"/>
          <c:h val="0.66081008625878779"/>
        </c:manualLayout>
      </c:layout>
      <c:radarChart>
        <c:radarStyle val="marker"/>
        <c:varyColors val="0"/>
        <c:ser>
          <c:idx val="0"/>
          <c:order val="0"/>
          <c:tx>
            <c:strRef>
              <c:f>Dashboard!$AG$2</c:f>
              <c:strCache>
                <c:ptCount val="1"/>
                <c:pt idx="0">
                  <c:v>Score</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G$3:$AG$5</c:f>
              <c:numCache>
                <c:formatCode>0.0</c:formatCode>
                <c:ptCount val="3"/>
                <c:pt idx="0">
                  <c:v>2.4</c:v>
                </c:pt>
                <c:pt idx="1">
                  <c:v>1.8571428571428572</c:v>
                </c:pt>
                <c:pt idx="2" formatCode="General">
                  <c:v>1</c:v>
                </c:pt>
              </c:numCache>
            </c:numRef>
          </c:val>
          <c:extLst xmlns:c16r2="http://schemas.microsoft.com/office/drawing/2015/06/chart">
            <c:ext xmlns:c16="http://schemas.microsoft.com/office/drawing/2014/chart" uri="{C3380CC4-5D6E-409C-BE32-E72D297353CC}">
              <c16:uniqueId val="{00000000-8E93-473C-BAC3-FF6359C21F8C}"/>
            </c:ext>
          </c:extLst>
        </c:ser>
        <c:ser>
          <c:idx val="1"/>
          <c:order val="1"/>
          <c:tx>
            <c:strRef>
              <c:f>Dashboard!$AH$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H$3:$AH$5</c:f>
              <c:numCache>
                <c:formatCode>General</c:formatCode>
                <c:ptCount val="3"/>
                <c:pt idx="0">
                  <c:v>5</c:v>
                </c:pt>
                <c:pt idx="1">
                  <c:v>5</c:v>
                </c:pt>
                <c:pt idx="2">
                  <c:v>5</c:v>
                </c:pt>
              </c:numCache>
            </c:numRef>
          </c:val>
          <c:extLst xmlns:c16r2="http://schemas.microsoft.com/office/drawing/2015/06/chart">
            <c:ext xmlns:c16="http://schemas.microsoft.com/office/drawing/2014/chart" uri="{C3380CC4-5D6E-409C-BE32-E72D297353CC}">
              <c16:uniqueId val="{00000001-8E93-473C-BAC3-FF6359C21F8C}"/>
            </c:ext>
          </c:extLst>
        </c:ser>
        <c:dLbls>
          <c:showLegendKey val="0"/>
          <c:showVal val="0"/>
          <c:showCatName val="0"/>
          <c:showSerName val="0"/>
          <c:showPercent val="0"/>
          <c:showBubbleSize val="0"/>
        </c:dLbls>
        <c:axId val="436715344"/>
        <c:axId val="436717024"/>
      </c:radarChart>
      <c:catAx>
        <c:axId val="4367153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36717024"/>
        <c:crosses val="autoZero"/>
        <c:auto val="1"/>
        <c:lblAlgn val="ctr"/>
        <c:lblOffset val="100"/>
        <c:noMultiLvlLbl val="0"/>
      </c:catAx>
      <c:valAx>
        <c:axId val="436717024"/>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6715344"/>
        <c:crosses val="autoZero"/>
        <c:crossBetween val="between"/>
      </c:valAx>
      <c:spPr>
        <a:noFill/>
        <a:ln>
          <a:noFill/>
        </a:ln>
        <a:effectLst/>
      </c:spPr>
    </c:plotArea>
    <c:legend>
      <c:legendPos val="t"/>
      <c:layout>
        <c:manualLayout>
          <c:xMode val="edge"/>
          <c:yMode val="edge"/>
          <c:x val="0.3718524132240717"/>
          <c:y val="0.87192235708249988"/>
          <c:w val="0.25629517355185655"/>
          <c:h val="6.128448814495708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invertIfNegative val="0"/>
          <c:dLbls>
            <c:dLbl>
              <c:idx val="0"/>
              <c:layout>
                <c:manualLayout>
                  <c:x val="0"/>
                  <c:y val="-0.25299375454625617"/>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3.2949162461843101E-17"/>
                  <c:y val="-0.1748633303481477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1.7972478050934286E-3"/>
                  <c:y val="-0.25299375454625611"/>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1.4151557520420697E-7"/>
                  <c:y val="-0.1674223375673754"/>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1.7972478050934286E-3"/>
                  <c:y val="-0.14137886283467258"/>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0"/>
                  <c:y val="-0.15254035200583094"/>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1.9777911164465785</c:v>
                </c:pt>
                <c:pt idx="1">
                  <c:v>2.25</c:v>
                </c:pt>
                <c:pt idx="2" formatCode="General">
                  <c:v>0</c:v>
                </c:pt>
                <c:pt idx="3">
                  <c:v>2.192982456140351</c:v>
                </c:pt>
                <c:pt idx="4">
                  <c:v>2.6190476190476191</c:v>
                </c:pt>
                <c:pt idx="5">
                  <c:v>1.5777777777777777</c:v>
                </c:pt>
              </c:numCache>
            </c:numRef>
          </c:val>
        </c:ser>
        <c:dLbls>
          <c:showLegendKey val="0"/>
          <c:showVal val="0"/>
          <c:showCatName val="0"/>
          <c:showSerName val="0"/>
          <c:showPercent val="0"/>
          <c:showBubbleSize val="0"/>
        </c:dLbls>
        <c:gapWidth val="150"/>
        <c:overlap val="100"/>
        <c:axId val="436714784"/>
        <c:axId val="431100112"/>
      </c:barChart>
      <c:catAx>
        <c:axId val="436714784"/>
        <c:scaling>
          <c:orientation val="minMax"/>
        </c:scaling>
        <c:delete val="0"/>
        <c:axPos val="b"/>
        <c:numFmt formatCode="General" sourceLinked="0"/>
        <c:majorTickMark val="out"/>
        <c:minorTickMark val="none"/>
        <c:tickLblPos val="nextTo"/>
        <c:crossAx val="431100112"/>
        <c:crosses val="autoZero"/>
        <c:auto val="1"/>
        <c:lblAlgn val="ctr"/>
        <c:lblOffset val="100"/>
        <c:noMultiLvlLbl val="0"/>
      </c:catAx>
      <c:valAx>
        <c:axId val="431100112"/>
        <c:scaling>
          <c:orientation val="minMax"/>
          <c:max val="5"/>
        </c:scaling>
        <c:delete val="0"/>
        <c:axPos val="l"/>
        <c:numFmt formatCode="0.0" sourceLinked="1"/>
        <c:majorTickMark val="out"/>
        <c:minorTickMark val="none"/>
        <c:tickLblPos val="nextTo"/>
        <c:crossAx val="436714784"/>
        <c:crosses val="autoZero"/>
        <c:crossBetween val="between"/>
      </c:valAx>
    </c:plotArea>
    <c:plotVisOnly val="1"/>
    <c:dispBlanksAs val="gap"/>
    <c:showDLblsOverMax val="0"/>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vOps</a:t>
            </a:r>
            <a:r>
              <a:rPr lang="en-US" baseline="0"/>
              <a:t> Maturity</a:t>
            </a:r>
            <a:endParaRPr lang="en-US"/>
          </a:p>
        </c:rich>
      </c:tx>
      <c:overlay val="0"/>
      <c:spPr>
        <a:noFill/>
        <a:ln>
          <a:noFill/>
        </a:ln>
        <a:effectLst/>
      </c:spPr>
    </c:title>
    <c:autoTitleDeleted val="0"/>
    <c:plotArea>
      <c:layout>
        <c:manualLayout>
          <c:layoutTarget val="inner"/>
          <c:xMode val="edge"/>
          <c:yMode val="edge"/>
          <c:x val="0.1854322693982256"/>
          <c:y val="0.21448751135670582"/>
          <c:w val="0.60133216283200996"/>
          <c:h val="0.72381691892241662"/>
        </c:manualLayout>
      </c:layout>
      <c:radarChart>
        <c:radarStyle val="marker"/>
        <c:varyColors val="0"/>
        <c:ser>
          <c:idx val="0"/>
          <c:order val="0"/>
          <c:tx>
            <c:strRef>
              <c:f>Dashboard!$C$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1.9777911164465785</c:v>
                </c:pt>
                <c:pt idx="1">
                  <c:v>2.25</c:v>
                </c:pt>
                <c:pt idx="2" formatCode="General">
                  <c:v>0</c:v>
                </c:pt>
                <c:pt idx="3">
                  <c:v>2.192982456140351</c:v>
                </c:pt>
                <c:pt idx="4">
                  <c:v>2.6190476190476191</c:v>
                </c:pt>
                <c:pt idx="5">
                  <c:v>1.5777777777777777</c:v>
                </c:pt>
              </c:numCache>
            </c:numRef>
          </c:val>
        </c:ser>
        <c:dLbls>
          <c:showLegendKey val="0"/>
          <c:showVal val="0"/>
          <c:showCatName val="0"/>
          <c:showSerName val="0"/>
          <c:showPercent val="0"/>
          <c:showBubbleSize val="0"/>
        </c:dLbls>
        <c:axId val="431099552"/>
        <c:axId val="431101792"/>
      </c:radarChart>
      <c:catAx>
        <c:axId val="4310995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31101792"/>
        <c:crosses val="autoZero"/>
        <c:auto val="1"/>
        <c:lblAlgn val="ctr"/>
        <c:lblOffset val="100"/>
        <c:noMultiLvlLbl val="0"/>
      </c:catAx>
      <c:valAx>
        <c:axId val="431101792"/>
        <c:scaling>
          <c:orientation val="minMax"/>
          <c:max val="5"/>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1099552"/>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0588235294117645</c:v>
                </c:pt>
                <c:pt idx="1">
                  <c:v>1.2857142857142858</c:v>
                </c:pt>
                <c:pt idx="2" formatCode="General">
                  <c:v>1</c:v>
                </c:pt>
                <c:pt idx="3">
                  <c:v>1</c:v>
                </c:pt>
                <c:pt idx="4">
                  <c:v>4</c:v>
                </c:pt>
                <c:pt idx="5" formatCode="General">
                  <c:v>2.5</c:v>
                </c:pt>
                <c:pt idx="6">
                  <c:v>1</c:v>
                </c:pt>
              </c:numCache>
            </c:numRef>
          </c:val>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ser>
        <c:dLbls>
          <c:showLegendKey val="0"/>
          <c:showVal val="0"/>
          <c:showCatName val="0"/>
          <c:showSerName val="0"/>
          <c:showPercent val="0"/>
          <c:showBubbleSize val="0"/>
        </c:dLbls>
        <c:axId val="500141568"/>
        <c:axId val="474785152"/>
      </c:radarChart>
      <c:catAx>
        <c:axId val="5001415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74785152"/>
        <c:crosses val="autoZero"/>
        <c:auto val="1"/>
        <c:lblAlgn val="ctr"/>
        <c:lblOffset val="100"/>
        <c:noMultiLvlLbl val="0"/>
      </c:catAx>
      <c:valAx>
        <c:axId val="474785152"/>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5001415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0588235294117645</c:v>
                </c:pt>
                <c:pt idx="1">
                  <c:v>1.2857142857142858</c:v>
                </c:pt>
                <c:pt idx="2" formatCode="General">
                  <c:v>1</c:v>
                </c:pt>
                <c:pt idx="3">
                  <c:v>1</c:v>
                </c:pt>
                <c:pt idx="4">
                  <c:v>4</c:v>
                </c:pt>
                <c:pt idx="5" formatCode="General">
                  <c:v>2.5</c:v>
                </c:pt>
                <c:pt idx="6">
                  <c:v>1</c:v>
                </c:pt>
              </c:numCache>
            </c:numRef>
          </c:val>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ser>
        <c:dLbls>
          <c:showLegendKey val="0"/>
          <c:showVal val="0"/>
          <c:showCatName val="0"/>
          <c:showSerName val="0"/>
          <c:showPercent val="0"/>
          <c:showBubbleSize val="0"/>
        </c:dLbls>
        <c:axId val="450179440"/>
        <c:axId val="450182240"/>
      </c:radarChart>
      <c:catAx>
        <c:axId val="450179440"/>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50182240"/>
        <c:crosses val="autoZero"/>
        <c:auto val="1"/>
        <c:lblAlgn val="ctr"/>
        <c:lblOffset val="100"/>
        <c:noMultiLvlLbl val="0"/>
      </c:catAx>
      <c:valAx>
        <c:axId val="450182240"/>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5017944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0588235294117645</c:v>
                </c:pt>
                <c:pt idx="1">
                  <c:v>1.2857142857142858</c:v>
                </c:pt>
                <c:pt idx="2" formatCode="General">
                  <c:v>1</c:v>
                </c:pt>
                <c:pt idx="3">
                  <c:v>1</c:v>
                </c:pt>
                <c:pt idx="4">
                  <c:v>4</c:v>
                </c:pt>
                <c:pt idx="5" formatCode="General">
                  <c:v>2.5</c:v>
                </c:pt>
                <c:pt idx="6">
                  <c:v>1</c:v>
                </c:pt>
              </c:numCache>
            </c:numRef>
          </c:val>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ser>
        <c:dLbls>
          <c:showLegendKey val="0"/>
          <c:showVal val="0"/>
          <c:showCatName val="0"/>
          <c:showSerName val="0"/>
          <c:showPercent val="0"/>
          <c:showBubbleSize val="0"/>
        </c:dLbls>
        <c:axId val="436456272"/>
        <c:axId val="436459632"/>
      </c:radarChart>
      <c:catAx>
        <c:axId val="4364562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36459632"/>
        <c:crosses val="autoZero"/>
        <c:auto val="1"/>
        <c:lblAlgn val="ctr"/>
        <c:lblOffset val="100"/>
        <c:noMultiLvlLbl val="0"/>
      </c:catAx>
      <c:valAx>
        <c:axId val="436459632"/>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645627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ploy</a:t>
            </a:r>
          </a:p>
        </c:rich>
      </c:tx>
      <c:overlay val="0"/>
      <c:spPr>
        <a:noFill/>
        <a:ln>
          <a:noFill/>
        </a:ln>
        <a:effectLst/>
      </c:spPr>
    </c:title>
    <c:autoTitleDeleted val="0"/>
    <c:plotArea>
      <c:layout/>
      <c:barChart>
        <c:barDir val="col"/>
        <c:grouping val="clustered"/>
        <c:varyColors val="0"/>
        <c:ser>
          <c:idx val="0"/>
          <c:order val="0"/>
          <c:tx>
            <c:strRef>
              <c:f>Dashboard!$M$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L$3:$L$4</c:f>
              <c:strCache>
                <c:ptCount val="2"/>
                <c:pt idx="0">
                  <c:v>Artifact management</c:v>
                </c:pt>
                <c:pt idx="1">
                  <c:v>Continuous Deployment </c:v>
                </c:pt>
              </c:strCache>
            </c:strRef>
          </c:cat>
          <c:val>
            <c:numRef>
              <c:f>Dashboard!$M$3:$M$4</c:f>
              <c:numCache>
                <c:formatCode>0.0</c:formatCode>
                <c:ptCount val="2"/>
                <c:pt idx="0">
                  <c:v>3.5</c:v>
                </c:pt>
                <c:pt idx="1">
                  <c:v>1</c:v>
                </c:pt>
              </c:numCache>
            </c:numRef>
          </c:val>
        </c:ser>
        <c:ser>
          <c:idx val="1"/>
          <c:order val="1"/>
          <c:tx>
            <c:strRef>
              <c:f>Dashboard!$N$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L$3:$L$4</c:f>
              <c:strCache>
                <c:ptCount val="2"/>
                <c:pt idx="0">
                  <c:v>Artifact management</c:v>
                </c:pt>
                <c:pt idx="1">
                  <c:v>Continuous Deployment </c:v>
                </c:pt>
              </c:strCache>
            </c:strRef>
          </c:cat>
          <c:val>
            <c:numRef>
              <c:f>Dashboard!$N$3:$N$4</c:f>
              <c:numCache>
                <c:formatCode>General</c:formatCode>
                <c:ptCount val="2"/>
                <c:pt idx="0">
                  <c:v>5</c:v>
                </c:pt>
                <c:pt idx="1">
                  <c:v>5</c:v>
                </c:pt>
              </c:numCache>
            </c:numRef>
          </c:val>
        </c:ser>
        <c:dLbls>
          <c:showLegendKey val="0"/>
          <c:showVal val="0"/>
          <c:showCatName val="0"/>
          <c:showSerName val="0"/>
          <c:showPercent val="0"/>
          <c:showBubbleSize val="0"/>
        </c:dLbls>
        <c:gapWidth val="150"/>
        <c:axId val="423898336"/>
        <c:axId val="423901136"/>
      </c:barChart>
      <c:catAx>
        <c:axId val="42389833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23901136"/>
        <c:crosses val="autoZero"/>
        <c:auto val="1"/>
        <c:lblAlgn val="ctr"/>
        <c:lblOffset val="100"/>
        <c:noMultiLvlLbl val="0"/>
      </c:catAx>
      <c:valAx>
        <c:axId val="423901136"/>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238983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Verify</a:t>
            </a:r>
          </a:p>
        </c:rich>
      </c:tx>
      <c:overlay val="0"/>
      <c:spPr>
        <a:noFill/>
        <a:ln>
          <a:noFill/>
        </a:ln>
        <a:effectLst/>
      </c:spPr>
    </c:title>
    <c:autoTitleDeleted val="0"/>
    <c:plotArea>
      <c:layout/>
      <c:barChart>
        <c:barDir val="col"/>
        <c:grouping val="clustered"/>
        <c:varyColors val="0"/>
        <c:ser>
          <c:idx val="0"/>
          <c:order val="0"/>
          <c:tx>
            <c:strRef>
              <c:f>Dashboard!$R$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Q$3</c:f>
              <c:strCache>
                <c:ptCount val="1"/>
                <c:pt idx="0">
                  <c:v>Test Automation</c:v>
                </c:pt>
              </c:strCache>
            </c:strRef>
          </c:cat>
          <c:val>
            <c:numRef>
              <c:f>Dashboard!$R$3</c:f>
              <c:numCache>
                <c:formatCode>0.0</c:formatCode>
                <c:ptCount val="1"/>
                <c:pt idx="0">
                  <c:v>0</c:v>
                </c:pt>
              </c:numCache>
            </c:numRef>
          </c:val>
        </c:ser>
        <c:ser>
          <c:idx val="1"/>
          <c:order val="1"/>
          <c:tx>
            <c:strRef>
              <c:f>Dashboard!$S$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Q$3</c:f>
              <c:strCache>
                <c:ptCount val="1"/>
                <c:pt idx="0">
                  <c:v>Test Automation</c:v>
                </c:pt>
              </c:strCache>
            </c:strRef>
          </c:cat>
          <c:val>
            <c:numRef>
              <c:f>Dashboard!$S$3</c:f>
              <c:numCache>
                <c:formatCode>General</c:formatCode>
                <c:ptCount val="1"/>
                <c:pt idx="0">
                  <c:v>5</c:v>
                </c:pt>
              </c:numCache>
            </c:numRef>
          </c:val>
        </c:ser>
        <c:dLbls>
          <c:showLegendKey val="0"/>
          <c:showVal val="0"/>
          <c:showCatName val="0"/>
          <c:showSerName val="0"/>
          <c:showPercent val="0"/>
          <c:showBubbleSize val="0"/>
        </c:dLbls>
        <c:gapWidth val="150"/>
        <c:axId val="474619424"/>
        <c:axId val="474616064"/>
      </c:barChart>
      <c:catAx>
        <c:axId val="47461942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74616064"/>
        <c:crosses val="autoZero"/>
        <c:auto val="1"/>
        <c:lblAlgn val="ctr"/>
        <c:lblOffset val="100"/>
        <c:noMultiLvlLbl val="0"/>
      </c:catAx>
      <c:valAx>
        <c:axId val="474616064"/>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7461942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352941176470589</c:v>
                </c:pt>
                <c:pt idx="1">
                  <c:v>4.25</c:v>
                </c:pt>
                <c:pt idx="2" formatCode="General">
                  <c:v>3.3</c:v>
                </c:pt>
                <c:pt idx="3">
                  <c:v>1</c:v>
                </c:pt>
                <c:pt idx="4">
                  <c:v>3.3636363636363638</c:v>
                </c:pt>
                <c:pt idx="5" formatCode="General">
                  <c:v>2.5</c:v>
                </c:pt>
                <c:pt idx="6">
                  <c:v>1</c:v>
                </c:pt>
              </c:numCache>
            </c:numRef>
          </c:val>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ser>
        <c:dLbls>
          <c:showLegendKey val="0"/>
          <c:showVal val="0"/>
          <c:showCatName val="0"/>
          <c:showSerName val="0"/>
          <c:showPercent val="0"/>
          <c:showBubbleSize val="0"/>
        </c:dLbls>
        <c:axId val="461095216"/>
        <c:axId val="461075616"/>
      </c:radarChart>
      <c:catAx>
        <c:axId val="46109521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61075616"/>
        <c:crosses val="autoZero"/>
        <c:auto val="1"/>
        <c:lblAlgn val="ctr"/>
        <c:lblOffset val="100"/>
        <c:noMultiLvlLbl val="0"/>
      </c:catAx>
      <c:valAx>
        <c:axId val="46107561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09521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Release</a:t>
            </a:r>
          </a:p>
        </c:rich>
      </c:tx>
      <c:overlay val="0"/>
      <c:spPr>
        <a:noFill/>
        <a:ln>
          <a:noFill/>
        </a:ln>
        <a:effectLst/>
      </c:spPr>
    </c:title>
    <c:autoTitleDeleted val="0"/>
    <c:plotArea>
      <c:layout/>
      <c:barChart>
        <c:barDir val="col"/>
        <c:grouping val="clustered"/>
        <c:varyColors val="0"/>
        <c:ser>
          <c:idx val="0"/>
          <c:order val="0"/>
          <c:tx>
            <c:strRef>
              <c:f>Dashboard!$W$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V$3:$V$4</c:f>
              <c:strCache>
                <c:ptCount val="2"/>
                <c:pt idx="0">
                  <c:v>Release Management</c:v>
                </c:pt>
                <c:pt idx="1">
                  <c:v>End to End Traceability</c:v>
                </c:pt>
              </c:strCache>
            </c:strRef>
          </c:cat>
          <c:val>
            <c:numRef>
              <c:f>Dashboard!$W$3:$W$4</c:f>
              <c:numCache>
                <c:formatCode>0.0</c:formatCode>
                <c:ptCount val="2"/>
                <c:pt idx="0">
                  <c:v>3.0526315789473686</c:v>
                </c:pt>
                <c:pt idx="1">
                  <c:v>1.3333333333333333</c:v>
                </c:pt>
              </c:numCache>
            </c:numRef>
          </c:val>
        </c:ser>
        <c:ser>
          <c:idx val="1"/>
          <c:order val="1"/>
          <c:tx>
            <c:strRef>
              <c:f>Dashboard!$X$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V$3:$V$4</c:f>
              <c:strCache>
                <c:ptCount val="2"/>
                <c:pt idx="0">
                  <c:v>Release Management</c:v>
                </c:pt>
                <c:pt idx="1">
                  <c:v>End to End Traceability</c:v>
                </c:pt>
              </c:strCache>
            </c:strRef>
          </c:cat>
          <c:val>
            <c:numRef>
              <c:f>Dashboard!$X$3:$X$4</c:f>
              <c:numCache>
                <c:formatCode>General</c:formatCode>
                <c:ptCount val="2"/>
                <c:pt idx="0">
                  <c:v>5</c:v>
                </c:pt>
                <c:pt idx="1">
                  <c:v>5</c:v>
                </c:pt>
              </c:numCache>
            </c:numRef>
          </c:val>
        </c:ser>
        <c:dLbls>
          <c:showLegendKey val="0"/>
          <c:showVal val="0"/>
          <c:showCatName val="0"/>
          <c:showSerName val="0"/>
          <c:showPercent val="0"/>
          <c:showBubbleSize val="0"/>
        </c:dLbls>
        <c:gapWidth val="150"/>
        <c:axId val="449378128"/>
        <c:axId val="449378688"/>
      </c:barChart>
      <c:catAx>
        <c:axId val="44937812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49378688"/>
        <c:crosses val="autoZero"/>
        <c:auto val="1"/>
        <c:lblAlgn val="ctr"/>
        <c:lblOffset val="100"/>
        <c:noMultiLvlLbl val="0"/>
      </c:catAx>
      <c:valAx>
        <c:axId val="449378688"/>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93781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Measure</a:t>
            </a:r>
            <a:r>
              <a:rPr lang="en-US" baseline="0"/>
              <a:t> and Monitor</a:t>
            </a:r>
            <a:endParaRPr lang="en-US"/>
          </a:p>
        </c:rich>
      </c:tx>
      <c:overlay val="0"/>
      <c:spPr>
        <a:noFill/>
        <a:ln>
          <a:noFill/>
        </a:ln>
        <a:effectLst/>
      </c:spPr>
    </c:title>
    <c:autoTitleDeleted val="0"/>
    <c:plotArea>
      <c:layout/>
      <c:barChart>
        <c:barDir val="col"/>
        <c:grouping val="clustered"/>
        <c:varyColors val="0"/>
        <c:ser>
          <c:idx val="0"/>
          <c:order val="0"/>
          <c:tx>
            <c:strRef>
              <c:f>Dashboard!$AB$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AA$3</c:f>
              <c:strCache>
                <c:ptCount val="1"/>
                <c:pt idx="0">
                  <c:v>FA and M</c:v>
                </c:pt>
              </c:strCache>
            </c:strRef>
          </c:cat>
          <c:val>
            <c:numRef>
              <c:f>Dashboard!$AB$3</c:f>
              <c:numCache>
                <c:formatCode>0.0</c:formatCode>
                <c:ptCount val="1"/>
                <c:pt idx="0">
                  <c:v>2.6190476190476191</c:v>
                </c:pt>
              </c:numCache>
            </c:numRef>
          </c:val>
        </c:ser>
        <c:ser>
          <c:idx val="1"/>
          <c:order val="1"/>
          <c:tx>
            <c:strRef>
              <c:f>Dashboard!$AC$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shboard!$AA$3</c:f>
              <c:strCache>
                <c:ptCount val="1"/>
                <c:pt idx="0">
                  <c:v>FA and M</c:v>
                </c:pt>
              </c:strCache>
            </c:strRef>
          </c:cat>
          <c:val>
            <c:numRef>
              <c:f>Dashboard!$AC$3</c:f>
              <c:numCache>
                <c:formatCode>General</c:formatCode>
                <c:ptCount val="1"/>
                <c:pt idx="0">
                  <c:v>5</c:v>
                </c:pt>
              </c:numCache>
            </c:numRef>
          </c:val>
        </c:ser>
        <c:dLbls>
          <c:showLegendKey val="0"/>
          <c:showVal val="0"/>
          <c:showCatName val="0"/>
          <c:showSerName val="0"/>
          <c:showPercent val="0"/>
          <c:showBubbleSize val="0"/>
        </c:dLbls>
        <c:gapWidth val="150"/>
        <c:axId val="449381488"/>
        <c:axId val="449382048"/>
      </c:barChart>
      <c:catAx>
        <c:axId val="44938148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9382048"/>
        <c:crosses val="autoZero"/>
        <c:auto val="1"/>
        <c:lblAlgn val="ctr"/>
        <c:lblOffset val="100"/>
        <c:noMultiLvlLbl val="0"/>
      </c:catAx>
      <c:valAx>
        <c:axId val="449382048"/>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93814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Environment</a:t>
            </a:r>
          </a:p>
        </c:rich>
      </c:tx>
      <c:overlay val="0"/>
      <c:spPr>
        <a:noFill/>
        <a:ln>
          <a:noFill/>
        </a:ln>
        <a:effectLst/>
      </c:spPr>
    </c:title>
    <c:autoTitleDeleted val="0"/>
    <c:plotArea>
      <c:layout>
        <c:manualLayout>
          <c:layoutTarget val="inner"/>
          <c:xMode val="edge"/>
          <c:yMode val="edge"/>
          <c:x val="0.2830873493154793"/>
          <c:y val="0.24761204849250865"/>
          <c:w val="0.41997677372923403"/>
          <c:h val="0.66081008625878779"/>
        </c:manualLayout>
      </c:layout>
      <c:radarChart>
        <c:radarStyle val="marker"/>
        <c:varyColors val="0"/>
        <c:ser>
          <c:idx val="0"/>
          <c:order val="0"/>
          <c:tx>
            <c:strRef>
              <c:f>Dashboard!$AG$2</c:f>
              <c:strCache>
                <c:ptCount val="1"/>
                <c:pt idx="0">
                  <c:v>Score</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G$3:$AG$5</c:f>
              <c:numCache>
                <c:formatCode>0.0</c:formatCode>
                <c:ptCount val="3"/>
                <c:pt idx="0">
                  <c:v>2.4</c:v>
                </c:pt>
                <c:pt idx="1">
                  <c:v>1.3333333333333333</c:v>
                </c:pt>
                <c:pt idx="2" formatCode="General">
                  <c:v>1</c:v>
                </c:pt>
              </c:numCache>
            </c:numRef>
          </c:val>
        </c:ser>
        <c:ser>
          <c:idx val="1"/>
          <c:order val="1"/>
          <c:tx>
            <c:strRef>
              <c:f>Dashboard!$AH$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H$3:$AH$5</c:f>
              <c:numCache>
                <c:formatCode>General</c:formatCode>
                <c:ptCount val="3"/>
                <c:pt idx="0">
                  <c:v>5</c:v>
                </c:pt>
                <c:pt idx="1">
                  <c:v>5</c:v>
                </c:pt>
                <c:pt idx="2">
                  <c:v>5</c:v>
                </c:pt>
              </c:numCache>
            </c:numRef>
          </c:val>
        </c:ser>
        <c:dLbls>
          <c:showLegendKey val="0"/>
          <c:showVal val="0"/>
          <c:showCatName val="0"/>
          <c:showSerName val="0"/>
          <c:showPercent val="0"/>
          <c:showBubbleSize val="0"/>
        </c:dLbls>
        <c:axId val="449384848"/>
        <c:axId val="449385408"/>
      </c:radarChart>
      <c:catAx>
        <c:axId val="44938484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9385408"/>
        <c:crosses val="autoZero"/>
        <c:auto val="1"/>
        <c:lblAlgn val="ctr"/>
        <c:lblOffset val="100"/>
        <c:noMultiLvlLbl val="0"/>
      </c:catAx>
      <c:valAx>
        <c:axId val="449385408"/>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9384848"/>
        <c:crosses val="autoZero"/>
        <c:crossBetween val="between"/>
      </c:valAx>
      <c:spPr>
        <a:noFill/>
        <a:ln>
          <a:noFill/>
        </a:ln>
        <a:effectLst/>
      </c:spPr>
    </c:plotArea>
    <c:legend>
      <c:legendPos val="t"/>
      <c:layout>
        <c:manualLayout>
          <c:xMode val="edge"/>
          <c:yMode val="edge"/>
          <c:x val="0.3718524132240717"/>
          <c:y val="0.87192235708249988"/>
          <c:w val="0.25629517355185655"/>
          <c:h val="6.128448814495708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invertIfNegative val="0"/>
          <c:dLbls>
            <c:dLbl>
              <c:idx val="0"/>
              <c:layout>
                <c:manualLayout>
                  <c:x val="0"/>
                  <c:y val="-0.252993754546256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0CD-4FDC-80B0-D2B9979724B9}"/>
                </c:ext>
                <c:ext xmlns:c15="http://schemas.microsoft.com/office/drawing/2012/chart" uri="{CE6537A1-D6FC-4f65-9D91-7224C49458BB}"/>
              </c:extLst>
            </c:dLbl>
            <c:dLbl>
              <c:idx val="1"/>
              <c:layout>
                <c:manualLayout>
                  <c:x val="3.2949162461843101E-17"/>
                  <c:y val="-0.1748633303481477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0CD-4FDC-80B0-D2B9979724B9}"/>
                </c:ext>
                <c:ext xmlns:c15="http://schemas.microsoft.com/office/drawing/2012/chart" uri="{CE6537A1-D6FC-4f65-9D91-7224C49458BB}"/>
              </c:extLst>
            </c:dLbl>
            <c:dLbl>
              <c:idx val="2"/>
              <c:layout>
                <c:manualLayout>
                  <c:x val="1.7972478050934286E-3"/>
                  <c:y val="-0.25299375454625611"/>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0CD-4FDC-80B0-D2B9979724B9}"/>
                </c:ext>
                <c:ext xmlns:c15="http://schemas.microsoft.com/office/drawing/2012/chart" uri="{CE6537A1-D6FC-4f65-9D91-7224C49458BB}"/>
              </c:extLst>
            </c:dLbl>
            <c:dLbl>
              <c:idx val="3"/>
              <c:layout>
                <c:manualLayout>
                  <c:x val="-1.4151557520420697E-7"/>
                  <c:y val="-0.1674223375673754"/>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0CD-4FDC-80B0-D2B9979724B9}"/>
                </c:ext>
                <c:ext xmlns:c15="http://schemas.microsoft.com/office/drawing/2012/chart" uri="{CE6537A1-D6FC-4f65-9D91-7224C49458BB}"/>
              </c:extLst>
            </c:dLbl>
            <c:dLbl>
              <c:idx val="4"/>
              <c:layout>
                <c:manualLayout>
                  <c:x val="1.7972478050934286E-3"/>
                  <c:y val="-0.14137886283467258"/>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D0CD-4FDC-80B0-D2B9979724B9}"/>
                </c:ext>
                <c:ext xmlns:c15="http://schemas.microsoft.com/office/drawing/2012/chart" uri="{CE6537A1-D6FC-4f65-9D91-7224C49458BB}"/>
              </c:extLst>
            </c:dLbl>
            <c:dLbl>
              <c:idx val="5"/>
              <c:layout>
                <c:manualLayout>
                  <c:x val="0"/>
                  <c:y val="-0.15254035200583094"/>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D0CD-4FDC-80B0-D2B9979724B9}"/>
                </c:ex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2.4660894660894663</c:v>
                </c:pt>
                <c:pt idx="1">
                  <c:v>2.21875</c:v>
                </c:pt>
                <c:pt idx="2">
                  <c:v>2.4285714285714284</c:v>
                </c:pt>
                <c:pt idx="3">
                  <c:v>2.4707602339181287</c:v>
                </c:pt>
                <c:pt idx="4">
                  <c:v>3.45</c:v>
                </c:pt>
                <c:pt idx="5">
                  <c:v>1.948148148148148</c:v>
                </c:pt>
              </c:numCache>
            </c:numRef>
          </c:val>
          <c:extLst xmlns:c16r2="http://schemas.microsoft.com/office/drawing/2015/06/chart">
            <c:ext xmlns:c16="http://schemas.microsoft.com/office/drawing/2014/chart" uri="{C3380CC4-5D6E-409C-BE32-E72D297353CC}">
              <c16:uniqueId val="{00000006-D0CD-4FDC-80B0-D2B9979724B9}"/>
            </c:ext>
          </c:extLst>
        </c:ser>
        <c:dLbls>
          <c:showLegendKey val="0"/>
          <c:showVal val="0"/>
          <c:showCatName val="0"/>
          <c:showSerName val="0"/>
          <c:showPercent val="0"/>
          <c:showBubbleSize val="0"/>
        </c:dLbls>
        <c:gapWidth val="150"/>
        <c:overlap val="100"/>
        <c:axId val="449387648"/>
        <c:axId val="449388208"/>
      </c:barChart>
      <c:catAx>
        <c:axId val="449387648"/>
        <c:scaling>
          <c:orientation val="minMax"/>
        </c:scaling>
        <c:delete val="0"/>
        <c:axPos val="b"/>
        <c:numFmt formatCode="General" sourceLinked="0"/>
        <c:majorTickMark val="out"/>
        <c:minorTickMark val="none"/>
        <c:tickLblPos val="nextTo"/>
        <c:crossAx val="449388208"/>
        <c:crosses val="autoZero"/>
        <c:auto val="1"/>
        <c:lblAlgn val="ctr"/>
        <c:lblOffset val="100"/>
        <c:noMultiLvlLbl val="0"/>
      </c:catAx>
      <c:valAx>
        <c:axId val="449388208"/>
        <c:scaling>
          <c:orientation val="minMax"/>
          <c:max val="5"/>
        </c:scaling>
        <c:delete val="0"/>
        <c:axPos val="l"/>
        <c:numFmt formatCode="0.0" sourceLinked="1"/>
        <c:majorTickMark val="out"/>
        <c:minorTickMark val="none"/>
        <c:tickLblPos val="nextTo"/>
        <c:crossAx val="449387648"/>
        <c:crosses val="autoZero"/>
        <c:crossBetween val="between"/>
      </c:valAx>
    </c:plotArea>
    <c:plotVisOnly val="1"/>
    <c:dispBlanksAs val="gap"/>
    <c:showDLblsOverMax val="0"/>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vOps</a:t>
            </a:r>
            <a:r>
              <a:rPr lang="en-US" baseline="0"/>
              <a:t> Maturity</a:t>
            </a:r>
            <a:endParaRPr lang="en-US"/>
          </a:p>
        </c:rich>
      </c:tx>
      <c:overlay val="0"/>
      <c:spPr>
        <a:noFill/>
        <a:ln>
          <a:noFill/>
        </a:ln>
        <a:effectLst/>
      </c:spPr>
    </c:title>
    <c:autoTitleDeleted val="0"/>
    <c:plotArea>
      <c:layout>
        <c:manualLayout>
          <c:layoutTarget val="inner"/>
          <c:xMode val="edge"/>
          <c:yMode val="edge"/>
          <c:x val="0.1854322693982256"/>
          <c:y val="0.21448751135670582"/>
          <c:w val="0.60133216283200996"/>
          <c:h val="0.72381691892241662"/>
        </c:manualLayout>
      </c:layout>
      <c:radarChart>
        <c:radarStyle val="marker"/>
        <c:varyColors val="0"/>
        <c:ser>
          <c:idx val="0"/>
          <c:order val="0"/>
          <c:tx>
            <c:strRef>
              <c:f>Dashboard!$C$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cat>
            <c:strRef>
              <c:f>Dashboard!$B$3:$B$8</c:f>
              <c:strCache>
                <c:ptCount val="6"/>
                <c:pt idx="0">
                  <c:v>Build</c:v>
                </c:pt>
                <c:pt idx="1">
                  <c:v>Deploy</c:v>
                </c:pt>
                <c:pt idx="2">
                  <c:v>Verify</c:v>
                </c:pt>
                <c:pt idx="3">
                  <c:v>Release</c:v>
                </c:pt>
                <c:pt idx="4">
                  <c:v>Measure and Monitor</c:v>
                </c:pt>
                <c:pt idx="5">
                  <c:v>Environment</c:v>
                </c:pt>
              </c:strCache>
            </c:strRef>
          </c:cat>
          <c:val>
            <c:numRef>
              <c:f>Dashboard!$C$3:$C$8</c:f>
              <c:numCache>
                <c:formatCode>0.0</c:formatCode>
                <c:ptCount val="6"/>
                <c:pt idx="0">
                  <c:v>2.4660894660894663</c:v>
                </c:pt>
                <c:pt idx="1">
                  <c:v>2.21875</c:v>
                </c:pt>
                <c:pt idx="2">
                  <c:v>2.4285714285714284</c:v>
                </c:pt>
                <c:pt idx="3">
                  <c:v>2.4707602339181287</c:v>
                </c:pt>
                <c:pt idx="4">
                  <c:v>3.45</c:v>
                </c:pt>
                <c:pt idx="5">
                  <c:v>1.948148148148148</c:v>
                </c:pt>
              </c:numCache>
            </c:numRef>
          </c:val>
          <c:extLst xmlns:c16r2="http://schemas.microsoft.com/office/drawing/2015/06/chart">
            <c:ext xmlns:c16="http://schemas.microsoft.com/office/drawing/2014/chart" uri="{C3380CC4-5D6E-409C-BE32-E72D297353CC}">
              <c16:uniqueId val="{00000000-70E7-4593-9754-98587CA80BEB}"/>
            </c:ext>
          </c:extLst>
        </c:ser>
        <c:dLbls>
          <c:showLegendKey val="0"/>
          <c:showVal val="0"/>
          <c:showCatName val="0"/>
          <c:showSerName val="0"/>
          <c:showPercent val="0"/>
          <c:showBubbleSize val="0"/>
        </c:dLbls>
        <c:axId val="449390448"/>
        <c:axId val="449391008"/>
      </c:radarChart>
      <c:catAx>
        <c:axId val="44939044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9391008"/>
        <c:crosses val="autoZero"/>
        <c:auto val="1"/>
        <c:lblAlgn val="ctr"/>
        <c:lblOffset val="100"/>
        <c:noMultiLvlLbl val="0"/>
      </c:catAx>
      <c:valAx>
        <c:axId val="449391008"/>
        <c:scaling>
          <c:orientation val="minMax"/>
          <c:max val="5"/>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9390448"/>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c:v>
                </c:pt>
                <c:pt idx="1">
                  <c:v>3.3333333333333335</c:v>
                </c:pt>
                <c:pt idx="2" formatCode="General">
                  <c:v>2</c:v>
                </c:pt>
                <c:pt idx="3">
                  <c:v>1.8181818181818181</c:v>
                </c:pt>
                <c:pt idx="4">
                  <c:v>3.1111111111111112</c:v>
                </c:pt>
                <c:pt idx="5" formatCode="General">
                  <c:v>3</c:v>
                </c:pt>
                <c:pt idx="6">
                  <c:v>1</c:v>
                </c:pt>
              </c:numCache>
            </c:numRef>
          </c:val>
          <c:extLst xmlns:c16r2="http://schemas.microsoft.com/office/drawing/2015/06/chart">
            <c:ext xmlns:c16="http://schemas.microsoft.com/office/drawing/2014/chart" uri="{C3380CC4-5D6E-409C-BE32-E72D297353CC}">
              <c16:uniqueId val="{00000000-7F35-4455-9D21-361A5D82F901}"/>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7F35-4455-9D21-361A5D82F901}"/>
            </c:ext>
          </c:extLst>
        </c:ser>
        <c:dLbls>
          <c:showLegendKey val="0"/>
          <c:showVal val="0"/>
          <c:showCatName val="0"/>
          <c:showSerName val="0"/>
          <c:showPercent val="0"/>
          <c:showBubbleSize val="0"/>
        </c:dLbls>
        <c:axId val="449393808"/>
        <c:axId val="432008256"/>
      </c:radarChart>
      <c:catAx>
        <c:axId val="44939380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32008256"/>
        <c:crosses val="autoZero"/>
        <c:auto val="1"/>
        <c:lblAlgn val="ctr"/>
        <c:lblOffset val="100"/>
        <c:noMultiLvlLbl val="0"/>
      </c:catAx>
      <c:valAx>
        <c:axId val="43200825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4939380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2.0588235294117645</c:v>
                </c:pt>
                <c:pt idx="1">
                  <c:v>2.5555555555555554</c:v>
                </c:pt>
                <c:pt idx="2" formatCode="General">
                  <c:v>2</c:v>
                </c:pt>
                <c:pt idx="3">
                  <c:v>1.5454545454545454</c:v>
                </c:pt>
                <c:pt idx="4">
                  <c:v>2.3333333333333335</c:v>
                </c:pt>
                <c:pt idx="5" formatCode="General">
                  <c:v>2</c:v>
                </c:pt>
                <c:pt idx="6">
                  <c:v>1</c:v>
                </c:pt>
              </c:numCache>
            </c:numRef>
          </c:val>
          <c:extLst xmlns:c16r2="http://schemas.microsoft.com/office/drawing/2015/06/chart">
            <c:ext xmlns:c16="http://schemas.microsoft.com/office/drawing/2014/chart" uri="{C3380CC4-5D6E-409C-BE32-E72D297353CC}">
              <c16:uniqueId val="{00000000-7F35-4455-9D21-361A5D82F901}"/>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7F35-4455-9D21-361A5D82F901}"/>
            </c:ext>
          </c:extLst>
        </c:ser>
        <c:dLbls>
          <c:showLegendKey val="0"/>
          <c:showVal val="0"/>
          <c:showCatName val="0"/>
          <c:showSerName val="0"/>
          <c:showPercent val="0"/>
          <c:showBubbleSize val="0"/>
        </c:dLbls>
        <c:axId val="432011056"/>
        <c:axId val="432011616"/>
      </c:radarChart>
      <c:catAx>
        <c:axId val="43201105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32011616"/>
        <c:crosses val="autoZero"/>
        <c:auto val="1"/>
        <c:lblAlgn val="ctr"/>
        <c:lblOffset val="100"/>
        <c:noMultiLvlLbl val="0"/>
      </c:catAx>
      <c:valAx>
        <c:axId val="43201161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20110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2.0588235294117645</c:v>
                </c:pt>
                <c:pt idx="1">
                  <c:v>2.5555555555555554</c:v>
                </c:pt>
                <c:pt idx="2" formatCode="General">
                  <c:v>2</c:v>
                </c:pt>
                <c:pt idx="3">
                  <c:v>1.5454545454545454</c:v>
                </c:pt>
                <c:pt idx="4">
                  <c:v>2.3333333333333335</c:v>
                </c:pt>
                <c:pt idx="5" formatCode="General">
                  <c:v>2</c:v>
                </c:pt>
                <c:pt idx="6">
                  <c:v>1</c:v>
                </c:pt>
              </c:numCache>
            </c:numRef>
          </c:val>
          <c:extLst xmlns:c16r2="http://schemas.microsoft.com/office/drawing/2015/06/chart">
            <c:ext xmlns:c16="http://schemas.microsoft.com/office/drawing/2014/chart" uri="{C3380CC4-5D6E-409C-BE32-E72D297353CC}">
              <c16:uniqueId val="{00000000-7F35-4455-9D21-361A5D82F901}"/>
            </c:ext>
          </c:extLst>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1-7F35-4455-9D21-361A5D82F901}"/>
            </c:ext>
          </c:extLst>
        </c:ser>
        <c:dLbls>
          <c:showLegendKey val="0"/>
          <c:showVal val="0"/>
          <c:showCatName val="0"/>
          <c:showSerName val="0"/>
          <c:showPercent val="0"/>
          <c:showBubbleSize val="0"/>
        </c:dLbls>
        <c:axId val="432014416"/>
        <c:axId val="432014976"/>
      </c:radarChart>
      <c:catAx>
        <c:axId val="43201441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32014976"/>
        <c:crosses val="autoZero"/>
        <c:auto val="1"/>
        <c:lblAlgn val="ctr"/>
        <c:lblOffset val="100"/>
        <c:noMultiLvlLbl val="0"/>
      </c:catAx>
      <c:valAx>
        <c:axId val="43201497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201441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ploy</a:t>
            </a:r>
          </a:p>
        </c:rich>
      </c:tx>
      <c:overlay val="0"/>
      <c:spPr>
        <a:noFill/>
        <a:ln>
          <a:noFill/>
        </a:ln>
        <a:effectLst/>
      </c:spPr>
    </c:title>
    <c:autoTitleDeleted val="0"/>
    <c:plotArea>
      <c:layout/>
      <c:barChart>
        <c:barDir val="col"/>
        <c:grouping val="clustered"/>
        <c:varyColors val="0"/>
        <c:ser>
          <c:idx val="0"/>
          <c:order val="0"/>
          <c:tx>
            <c:strRef>
              <c:f>Dashboard!$M$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L$3:$L$4</c:f>
              <c:strCache>
                <c:ptCount val="2"/>
                <c:pt idx="0">
                  <c:v>Artifact management</c:v>
                </c:pt>
                <c:pt idx="1">
                  <c:v>Continuous Deployment </c:v>
                </c:pt>
              </c:strCache>
            </c:strRef>
          </c:cat>
          <c:val>
            <c:numRef>
              <c:f>Dashboard!$M$3:$M$4</c:f>
              <c:numCache>
                <c:formatCode>0.0</c:formatCode>
                <c:ptCount val="2"/>
                <c:pt idx="0">
                  <c:v>3.25</c:v>
                </c:pt>
                <c:pt idx="1">
                  <c:v>1.1875</c:v>
                </c:pt>
              </c:numCache>
            </c:numRef>
          </c:val>
          <c:extLst xmlns:c16r2="http://schemas.microsoft.com/office/drawing/2015/06/chart">
            <c:ext xmlns:c16="http://schemas.microsoft.com/office/drawing/2014/chart" uri="{C3380CC4-5D6E-409C-BE32-E72D297353CC}">
              <c16:uniqueId val="{00000000-EC8A-4659-8DBC-0554E5E84FA4}"/>
            </c:ext>
          </c:extLst>
        </c:ser>
        <c:ser>
          <c:idx val="1"/>
          <c:order val="1"/>
          <c:tx>
            <c:strRef>
              <c:f>Dashboard!$N$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L$3:$L$4</c:f>
              <c:strCache>
                <c:ptCount val="2"/>
                <c:pt idx="0">
                  <c:v>Artifact management</c:v>
                </c:pt>
                <c:pt idx="1">
                  <c:v>Continuous Deployment </c:v>
                </c:pt>
              </c:strCache>
            </c:strRef>
          </c:cat>
          <c:val>
            <c:numRef>
              <c:f>Dashboard!$N$3:$N$4</c:f>
              <c:numCache>
                <c:formatCode>General</c:formatCode>
                <c:ptCount val="2"/>
                <c:pt idx="0">
                  <c:v>5</c:v>
                </c:pt>
                <c:pt idx="1">
                  <c:v>5</c:v>
                </c:pt>
              </c:numCache>
            </c:numRef>
          </c:val>
          <c:extLst xmlns:c16r2="http://schemas.microsoft.com/office/drawing/2015/06/chart">
            <c:ext xmlns:c16="http://schemas.microsoft.com/office/drawing/2014/chart" uri="{C3380CC4-5D6E-409C-BE32-E72D297353CC}">
              <c16:uniqueId val="{00000001-EC8A-4659-8DBC-0554E5E84FA4}"/>
            </c:ext>
          </c:extLst>
        </c:ser>
        <c:dLbls>
          <c:showLegendKey val="0"/>
          <c:showVal val="0"/>
          <c:showCatName val="0"/>
          <c:showSerName val="0"/>
          <c:showPercent val="0"/>
          <c:showBubbleSize val="0"/>
        </c:dLbls>
        <c:gapWidth val="150"/>
        <c:axId val="432017776"/>
        <c:axId val="432018336"/>
      </c:barChart>
      <c:catAx>
        <c:axId val="4320177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32018336"/>
        <c:crosses val="autoZero"/>
        <c:auto val="1"/>
        <c:lblAlgn val="ctr"/>
        <c:lblOffset val="100"/>
        <c:noMultiLvlLbl val="0"/>
      </c:catAx>
      <c:valAx>
        <c:axId val="432018336"/>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20177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Verify</a:t>
            </a:r>
          </a:p>
        </c:rich>
      </c:tx>
      <c:overlay val="0"/>
      <c:spPr>
        <a:noFill/>
        <a:ln>
          <a:noFill/>
        </a:ln>
        <a:effectLst/>
      </c:spPr>
    </c:title>
    <c:autoTitleDeleted val="0"/>
    <c:plotArea>
      <c:layout/>
      <c:barChart>
        <c:barDir val="col"/>
        <c:grouping val="clustered"/>
        <c:varyColors val="0"/>
        <c:ser>
          <c:idx val="0"/>
          <c:order val="0"/>
          <c:tx>
            <c:strRef>
              <c:f>Dashboard!$R$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Q$3</c:f>
              <c:strCache>
                <c:ptCount val="1"/>
                <c:pt idx="0">
                  <c:v>Test Automation</c:v>
                </c:pt>
              </c:strCache>
            </c:strRef>
          </c:cat>
          <c:val>
            <c:numRef>
              <c:f>Dashboard!$R$3</c:f>
              <c:numCache>
                <c:formatCode>0.0</c:formatCode>
                <c:ptCount val="1"/>
                <c:pt idx="0">
                  <c:v>2.4285714285714284</c:v>
                </c:pt>
              </c:numCache>
            </c:numRef>
          </c:val>
          <c:extLst xmlns:c16r2="http://schemas.microsoft.com/office/drawing/2015/06/chart">
            <c:ext xmlns:c16="http://schemas.microsoft.com/office/drawing/2014/chart" uri="{C3380CC4-5D6E-409C-BE32-E72D297353CC}">
              <c16:uniqueId val="{00000000-4F89-4B4B-B483-459560D1BC08}"/>
            </c:ext>
          </c:extLst>
        </c:ser>
        <c:ser>
          <c:idx val="1"/>
          <c:order val="1"/>
          <c:tx>
            <c:strRef>
              <c:f>Dashboard!$S$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Q$3</c:f>
              <c:strCache>
                <c:ptCount val="1"/>
                <c:pt idx="0">
                  <c:v>Test Automation</c:v>
                </c:pt>
              </c:strCache>
            </c:strRef>
          </c:cat>
          <c:val>
            <c:numRef>
              <c:f>Dashboard!$S$3</c:f>
              <c:numCache>
                <c:formatCode>General</c:formatCode>
                <c:ptCount val="1"/>
                <c:pt idx="0">
                  <c:v>5</c:v>
                </c:pt>
              </c:numCache>
            </c:numRef>
          </c:val>
          <c:extLst xmlns:c16r2="http://schemas.microsoft.com/office/drawing/2015/06/chart">
            <c:ext xmlns:c16="http://schemas.microsoft.com/office/drawing/2014/chart" uri="{C3380CC4-5D6E-409C-BE32-E72D297353CC}">
              <c16:uniqueId val="{00000001-4F89-4B4B-B483-459560D1BC08}"/>
            </c:ext>
          </c:extLst>
        </c:ser>
        <c:dLbls>
          <c:showLegendKey val="0"/>
          <c:showVal val="0"/>
          <c:showCatName val="0"/>
          <c:showSerName val="0"/>
          <c:showPercent val="0"/>
          <c:showBubbleSize val="0"/>
        </c:dLbls>
        <c:gapWidth val="150"/>
        <c:axId val="432021136"/>
        <c:axId val="432021696"/>
      </c:barChart>
      <c:catAx>
        <c:axId val="43202113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32021696"/>
        <c:crosses val="autoZero"/>
        <c:auto val="1"/>
        <c:lblAlgn val="ctr"/>
        <c:lblOffset val="100"/>
        <c:noMultiLvlLbl val="0"/>
      </c:catAx>
      <c:valAx>
        <c:axId val="432021696"/>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320211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352941176470589</c:v>
                </c:pt>
                <c:pt idx="1">
                  <c:v>4.25</c:v>
                </c:pt>
                <c:pt idx="2" formatCode="General">
                  <c:v>3.3</c:v>
                </c:pt>
                <c:pt idx="3">
                  <c:v>1</c:v>
                </c:pt>
                <c:pt idx="4">
                  <c:v>3.3636363636363638</c:v>
                </c:pt>
                <c:pt idx="5" formatCode="General">
                  <c:v>2.5</c:v>
                </c:pt>
                <c:pt idx="6">
                  <c:v>1</c:v>
                </c:pt>
              </c:numCache>
            </c:numRef>
          </c:val>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ser>
        <c:dLbls>
          <c:showLegendKey val="0"/>
          <c:showVal val="0"/>
          <c:showCatName val="0"/>
          <c:showSerName val="0"/>
          <c:showPercent val="0"/>
          <c:showBubbleSize val="0"/>
        </c:dLbls>
        <c:axId val="461101376"/>
        <c:axId val="461077296"/>
      </c:radarChart>
      <c:catAx>
        <c:axId val="4611013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61077296"/>
        <c:crosses val="autoZero"/>
        <c:auto val="1"/>
        <c:lblAlgn val="ctr"/>
        <c:lblOffset val="100"/>
        <c:noMultiLvlLbl val="0"/>
      </c:catAx>
      <c:valAx>
        <c:axId val="46107729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10137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Release</a:t>
            </a:r>
          </a:p>
        </c:rich>
      </c:tx>
      <c:overlay val="0"/>
      <c:spPr>
        <a:noFill/>
        <a:ln>
          <a:noFill/>
        </a:ln>
        <a:effectLst/>
      </c:spPr>
    </c:title>
    <c:autoTitleDeleted val="0"/>
    <c:plotArea>
      <c:layout/>
      <c:barChart>
        <c:barDir val="col"/>
        <c:grouping val="clustered"/>
        <c:varyColors val="0"/>
        <c:ser>
          <c:idx val="0"/>
          <c:order val="0"/>
          <c:tx>
            <c:strRef>
              <c:f>Dashboard!$W$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V$3:$V$4</c:f>
              <c:strCache>
                <c:ptCount val="2"/>
                <c:pt idx="0">
                  <c:v>Release Management</c:v>
                </c:pt>
                <c:pt idx="1">
                  <c:v>End to End Traceability</c:v>
                </c:pt>
              </c:strCache>
            </c:strRef>
          </c:cat>
          <c:val>
            <c:numRef>
              <c:f>Dashboard!$W$3:$W$4</c:f>
              <c:numCache>
                <c:formatCode>0.0</c:formatCode>
                <c:ptCount val="2"/>
                <c:pt idx="0">
                  <c:v>3.0526315789473686</c:v>
                </c:pt>
                <c:pt idx="1">
                  <c:v>1.8888888888888888</c:v>
                </c:pt>
              </c:numCache>
            </c:numRef>
          </c:val>
          <c:extLst xmlns:c16r2="http://schemas.microsoft.com/office/drawing/2015/06/chart">
            <c:ext xmlns:c16="http://schemas.microsoft.com/office/drawing/2014/chart" uri="{C3380CC4-5D6E-409C-BE32-E72D297353CC}">
              <c16:uniqueId val="{00000000-77A2-4AFF-808D-21C19824C87C}"/>
            </c:ext>
          </c:extLst>
        </c:ser>
        <c:ser>
          <c:idx val="1"/>
          <c:order val="1"/>
          <c:tx>
            <c:strRef>
              <c:f>Dashboard!$X$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V$3:$V$4</c:f>
              <c:strCache>
                <c:ptCount val="2"/>
                <c:pt idx="0">
                  <c:v>Release Management</c:v>
                </c:pt>
                <c:pt idx="1">
                  <c:v>End to End Traceability</c:v>
                </c:pt>
              </c:strCache>
            </c:strRef>
          </c:cat>
          <c:val>
            <c:numRef>
              <c:f>Dashboard!$X$3:$X$4</c:f>
              <c:numCache>
                <c:formatCode>General</c:formatCode>
                <c:ptCount val="2"/>
                <c:pt idx="0">
                  <c:v>5</c:v>
                </c:pt>
                <c:pt idx="1">
                  <c:v>5</c:v>
                </c:pt>
              </c:numCache>
            </c:numRef>
          </c:val>
          <c:extLst xmlns:c16r2="http://schemas.microsoft.com/office/drawing/2015/06/chart">
            <c:ext xmlns:c16="http://schemas.microsoft.com/office/drawing/2014/chart" uri="{C3380CC4-5D6E-409C-BE32-E72D297353CC}">
              <c16:uniqueId val="{00000001-77A2-4AFF-808D-21C19824C87C}"/>
            </c:ext>
          </c:extLst>
        </c:ser>
        <c:dLbls>
          <c:showLegendKey val="0"/>
          <c:showVal val="0"/>
          <c:showCatName val="0"/>
          <c:showSerName val="0"/>
          <c:showPercent val="0"/>
          <c:showBubbleSize val="0"/>
        </c:dLbls>
        <c:gapWidth val="150"/>
        <c:axId val="427413072"/>
        <c:axId val="427413632"/>
      </c:barChart>
      <c:catAx>
        <c:axId val="42741307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27413632"/>
        <c:crosses val="autoZero"/>
        <c:auto val="1"/>
        <c:lblAlgn val="ctr"/>
        <c:lblOffset val="100"/>
        <c:noMultiLvlLbl val="0"/>
      </c:catAx>
      <c:valAx>
        <c:axId val="427413632"/>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2741307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Measure</a:t>
            </a:r>
            <a:r>
              <a:rPr lang="en-US" baseline="0"/>
              <a:t> and Monitor</a:t>
            </a:r>
            <a:endParaRPr lang="en-US"/>
          </a:p>
        </c:rich>
      </c:tx>
      <c:overlay val="0"/>
      <c:spPr>
        <a:noFill/>
        <a:ln>
          <a:noFill/>
        </a:ln>
        <a:effectLst/>
      </c:spPr>
    </c:title>
    <c:autoTitleDeleted val="0"/>
    <c:plotArea>
      <c:layout/>
      <c:barChart>
        <c:barDir val="col"/>
        <c:grouping val="clustered"/>
        <c:varyColors val="0"/>
        <c:ser>
          <c:idx val="0"/>
          <c:order val="0"/>
          <c:tx>
            <c:strRef>
              <c:f>Dashboard!$AB$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AA$3</c:f>
              <c:strCache>
                <c:ptCount val="1"/>
                <c:pt idx="0">
                  <c:v>FA and M</c:v>
                </c:pt>
              </c:strCache>
            </c:strRef>
          </c:cat>
          <c:val>
            <c:numRef>
              <c:f>Dashboard!$AB$3</c:f>
              <c:numCache>
                <c:formatCode>0.0</c:formatCode>
                <c:ptCount val="1"/>
                <c:pt idx="0">
                  <c:v>3.45</c:v>
                </c:pt>
              </c:numCache>
            </c:numRef>
          </c:val>
          <c:extLst xmlns:c16r2="http://schemas.microsoft.com/office/drawing/2015/06/chart">
            <c:ext xmlns:c16="http://schemas.microsoft.com/office/drawing/2014/chart" uri="{C3380CC4-5D6E-409C-BE32-E72D297353CC}">
              <c16:uniqueId val="{00000000-1D76-4FDE-BA6C-ACC08AD47E53}"/>
            </c:ext>
          </c:extLst>
        </c:ser>
        <c:ser>
          <c:idx val="1"/>
          <c:order val="1"/>
          <c:tx>
            <c:strRef>
              <c:f>Dashboard!$AC$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Dashboard!$AA$3</c:f>
              <c:strCache>
                <c:ptCount val="1"/>
                <c:pt idx="0">
                  <c:v>FA and M</c:v>
                </c:pt>
              </c:strCache>
            </c:strRef>
          </c:cat>
          <c:val>
            <c:numRef>
              <c:f>Dashboard!$AC$3</c:f>
              <c:numCache>
                <c:formatCode>General</c:formatCode>
                <c:ptCount val="1"/>
                <c:pt idx="0">
                  <c:v>5</c:v>
                </c:pt>
              </c:numCache>
            </c:numRef>
          </c:val>
          <c:extLst xmlns:c16r2="http://schemas.microsoft.com/office/drawing/2015/06/chart">
            <c:ext xmlns:c16="http://schemas.microsoft.com/office/drawing/2014/chart" uri="{C3380CC4-5D6E-409C-BE32-E72D297353CC}">
              <c16:uniqueId val="{00000001-1D76-4FDE-BA6C-ACC08AD47E53}"/>
            </c:ext>
          </c:extLst>
        </c:ser>
        <c:dLbls>
          <c:showLegendKey val="0"/>
          <c:showVal val="0"/>
          <c:showCatName val="0"/>
          <c:showSerName val="0"/>
          <c:showPercent val="0"/>
          <c:showBubbleSize val="0"/>
        </c:dLbls>
        <c:gapWidth val="150"/>
        <c:axId val="427416432"/>
        <c:axId val="427416992"/>
      </c:barChart>
      <c:catAx>
        <c:axId val="42741643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27416992"/>
        <c:crosses val="autoZero"/>
        <c:auto val="1"/>
        <c:lblAlgn val="ctr"/>
        <c:lblOffset val="100"/>
        <c:noMultiLvlLbl val="0"/>
      </c:catAx>
      <c:valAx>
        <c:axId val="427416992"/>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2741643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Environment</a:t>
            </a:r>
          </a:p>
        </c:rich>
      </c:tx>
      <c:overlay val="0"/>
      <c:spPr>
        <a:noFill/>
        <a:ln>
          <a:noFill/>
        </a:ln>
        <a:effectLst/>
      </c:spPr>
    </c:title>
    <c:autoTitleDeleted val="0"/>
    <c:plotArea>
      <c:layout>
        <c:manualLayout>
          <c:layoutTarget val="inner"/>
          <c:xMode val="edge"/>
          <c:yMode val="edge"/>
          <c:x val="0.2830873493154793"/>
          <c:y val="0.24761204849250865"/>
          <c:w val="0.41997677372923403"/>
          <c:h val="0.66081008625878779"/>
        </c:manualLayout>
      </c:layout>
      <c:radarChart>
        <c:radarStyle val="marker"/>
        <c:varyColors val="0"/>
        <c:ser>
          <c:idx val="0"/>
          <c:order val="0"/>
          <c:tx>
            <c:strRef>
              <c:f>Dashboard!$AG$2</c:f>
              <c:strCache>
                <c:ptCount val="1"/>
                <c:pt idx="0">
                  <c:v>Score</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G$3:$AG$5</c:f>
              <c:numCache>
                <c:formatCode>0.0</c:formatCode>
                <c:ptCount val="3"/>
                <c:pt idx="0">
                  <c:v>2.4</c:v>
                </c:pt>
                <c:pt idx="1">
                  <c:v>1.4444444444444444</c:v>
                </c:pt>
                <c:pt idx="2" formatCode="General">
                  <c:v>2</c:v>
                </c:pt>
              </c:numCache>
            </c:numRef>
          </c:val>
          <c:extLst xmlns:c16r2="http://schemas.microsoft.com/office/drawing/2015/06/chart">
            <c:ext xmlns:c16="http://schemas.microsoft.com/office/drawing/2014/chart" uri="{C3380CC4-5D6E-409C-BE32-E72D297353CC}">
              <c16:uniqueId val="{00000000-D63E-4726-9B6A-5A1C95167D6C}"/>
            </c:ext>
          </c:extLst>
        </c:ser>
        <c:ser>
          <c:idx val="1"/>
          <c:order val="1"/>
          <c:tx>
            <c:strRef>
              <c:f>Dashboard!$AH$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AE$3:$AF$5</c:f>
              <c:multiLvlStrCache>
                <c:ptCount val="3"/>
                <c:lvl>
                  <c:pt idx="0">
                    <c:v>Environment Management</c:v>
                  </c:pt>
                  <c:pt idx="1">
                    <c:v>Test Data Management</c:v>
                  </c:pt>
                  <c:pt idx="2">
                    <c:v>CMDB</c:v>
                  </c:pt>
                </c:lvl>
                <c:lvl>
                  <c:pt idx="0">
                    <c:v>Environment</c:v>
                  </c:pt>
                </c:lvl>
              </c:multiLvlStrCache>
            </c:multiLvlStrRef>
          </c:cat>
          <c:val>
            <c:numRef>
              <c:f>Dashboard!$AH$3:$AH$5</c:f>
              <c:numCache>
                <c:formatCode>General</c:formatCode>
                <c:ptCount val="3"/>
                <c:pt idx="0">
                  <c:v>5</c:v>
                </c:pt>
                <c:pt idx="1">
                  <c:v>5</c:v>
                </c:pt>
                <c:pt idx="2">
                  <c:v>5</c:v>
                </c:pt>
              </c:numCache>
            </c:numRef>
          </c:val>
          <c:extLst xmlns:c16r2="http://schemas.microsoft.com/office/drawing/2015/06/chart">
            <c:ext xmlns:c16="http://schemas.microsoft.com/office/drawing/2014/chart" uri="{C3380CC4-5D6E-409C-BE32-E72D297353CC}">
              <c16:uniqueId val="{00000001-D63E-4726-9B6A-5A1C95167D6C}"/>
            </c:ext>
          </c:extLst>
        </c:ser>
        <c:dLbls>
          <c:showLegendKey val="0"/>
          <c:showVal val="0"/>
          <c:showCatName val="0"/>
          <c:showSerName val="0"/>
          <c:showPercent val="0"/>
          <c:showBubbleSize val="0"/>
        </c:dLbls>
        <c:axId val="427419792"/>
        <c:axId val="427420352"/>
      </c:radarChart>
      <c:catAx>
        <c:axId val="42741979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27420352"/>
        <c:crosses val="autoZero"/>
        <c:auto val="1"/>
        <c:lblAlgn val="ctr"/>
        <c:lblOffset val="100"/>
        <c:noMultiLvlLbl val="0"/>
      </c:catAx>
      <c:valAx>
        <c:axId val="427420352"/>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27419792"/>
        <c:crosses val="autoZero"/>
        <c:crossBetween val="between"/>
      </c:valAx>
      <c:spPr>
        <a:noFill/>
        <a:ln>
          <a:noFill/>
        </a:ln>
        <a:effectLst/>
      </c:spPr>
    </c:plotArea>
    <c:legend>
      <c:legendPos val="t"/>
      <c:layout>
        <c:manualLayout>
          <c:xMode val="edge"/>
          <c:yMode val="edge"/>
          <c:x val="0.3718524132240717"/>
          <c:y val="0.87192235708249988"/>
          <c:w val="0.25629517355185655"/>
          <c:h val="6.128448814495708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352941176470589</c:v>
                </c:pt>
                <c:pt idx="1">
                  <c:v>4.25</c:v>
                </c:pt>
                <c:pt idx="2" formatCode="General">
                  <c:v>3.3</c:v>
                </c:pt>
                <c:pt idx="3">
                  <c:v>1</c:v>
                </c:pt>
                <c:pt idx="4">
                  <c:v>3.3636363636363638</c:v>
                </c:pt>
                <c:pt idx="5" formatCode="General">
                  <c:v>2.5</c:v>
                </c:pt>
                <c:pt idx="6">
                  <c:v>1</c:v>
                </c:pt>
              </c:numCache>
            </c:numRef>
          </c:val>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ser>
        <c:dLbls>
          <c:showLegendKey val="0"/>
          <c:showVal val="0"/>
          <c:showCatName val="0"/>
          <c:showSerName val="0"/>
          <c:showPercent val="0"/>
          <c:showBubbleSize val="0"/>
        </c:dLbls>
        <c:axId val="461082896"/>
        <c:axId val="461105296"/>
      </c:radarChart>
      <c:catAx>
        <c:axId val="46108289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61105296"/>
        <c:crosses val="autoZero"/>
        <c:auto val="1"/>
        <c:lblAlgn val="ctr"/>
        <c:lblOffset val="100"/>
        <c:noMultiLvlLbl val="0"/>
      </c:catAx>
      <c:valAx>
        <c:axId val="46110529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08289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uild</a:t>
            </a:r>
          </a:p>
        </c:rich>
      </c:tx>
      <c:layout/>
      <c:overlay val="0"/>
      <c:spPr>
        <a:noFill/>
        <a:ln>
          <a:noFill/>
        </a:ln>
        <a:effectLst/>
      </c:spPr>
    </c:title>
    <c:autoTitleDeleted val="0"/>
    <c:plotArea>
      <c:layout/>
      <c:radarChart>
        <c:radarStyle val="marker"/>
        <c:varyColors val="0"/>
        <c:ser>
          <c:idx val="0"/>
          <c:order val="0"/>
          <c:tx>
            <c:strRef>
              <c:f>Dashboard!$H$2</c:f>
              <c:strCache>
                <c:ptCount val="1"/>
                <c:pt idx="0">
                  <c:v>Current</c:v>
                </c:pt>
              </c:strCache>
            </c:strRef>
          </c:tx>
          <c:spPr>
            <a:ln w="34925" cap="rnd">
              <a:solidFill>
                <a:schemeClr val="accent1"/>
              </a:solidFill>
              <a:round/>
            </a:ln>
            <a:effectLst>
              <a:outerShdw blurRad="57150" dist="19050" dir="5400000" algn="ctr" rotWithShape="0">
                <a:srgbClr val="000000">
                  <a:alpha val="63000"/>
                </a:srgbClr>
              </a:outerShdw>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a:outerShdw blurRad="57150" dist="19050" dir="5400000" algn="ctr" rotWithShape="0">
                  <a:srgbClr val="000000">
                    <a:alpha val="63000"/>
                  </a:srgbClr>
                </a:outerShdw>
              </a:effectLst>
            </c:spPr>
          </c:marker>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H$3:$H$9</c:f>
              <c:numCache>
                <c:formatCode>0.0</c:formatCode>
                <c:ptCount val="7"/>
                <c:pt idx="0">
                  <c:v>3.2352941176470589</c:v>
                </c:pt>
                <c:pt idx="1">
                  <c:v>4.25</c:v>
                </c:pt>
                <c:pt idx="2" formatCode="General">
                  <c:v>3.3</c:v>
                </c:pt>
                <c:pt idx="3">
                  <c:v>1</c:v>
                </c:pt>
                <c:pt idx="4">
                  <c:v>3.3636363636363638</c:v>
                </c:pt>
                <c:pt idx="5" formatCode="General">
                  <c:v>2.5</c:v>
                </c:pt>
                <c:pt idx="6">
                  <c:v>1</c:v>
                </c:pt>
              </c:numCache>
            </c:numRef>
          </c:val>
        </c:ser>
        <c:ser>
          <c:idx val="1"/>
          <c:order val="1"/>
          <c:tx>
            <c:strRef>
              <c:f>Dashboard!$I$2</c:f>
              <c:strCache>
                <c:ptCount val="1"/>
                <c:pt idx="0">
                  <c:v>Future</c:v>
                </c:pt>
              </c:strCache>
            </c:strRef>
          </c:tx>
          <c:spPr>
            <a:ln w="34925" cap="rnd">
              <a:solidFill>
                <a:schemeClr val="accent2"/>
              </a:solidFill>
              <a:round/>
            </a:ln>
            <a:effectLst>
              <a:outerShdw blurRad="57150" dist="19050" dir="5400000" algn="ctr" rotWithShape="0">
                <a:srgbClr val="000000">
                  <a:alpha val="63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9525">
                <a:solidFill>
                  <a:schemeClr val="accent2"/>
                </a:solidFill>
                <a:round/>
              </a:ln>
              <a:effectLst>
                <a:outerShdw blurRad="57150" dist="19050" dir="5400000" algn="ctr" rotWithShape="0">
                  <a:srgbClr val="000000">
                    <a:alpha val="63000"/>
                  </a:srgbClr>
                </a:outerShdw>
              </a:effectLst>
            </c:spPr>
          </c:marker>
          <c:cat>
            <c:multiLvlStrRef>
              <c:f>Dashboard!$F$3:$G$9</c:f>
              <c:multiLvlStrCache>
                <c:ptCount val="7"/>
                <c:lvl>
                  <c:pt idx="0">
                    <c:v>Source Control Management (SCM) Strategy </c:v>
                  </c:pt>
                  <c:pt idx="1">
                    <c:v>Code Quality &amp; Maintainability </c:v>
                  </c:pt>
                  <c:pt idx="2">
                    <c:v>Code Reviews</c:v>
                  </c:pt>
                  <c:pt idx="3">
                    <c:v>Unit Tests &amp; Code Coverage</c:v>
                  </c:pt>
                  <c:pt idx="4">
                    <c:v>Build Automation</c:v>
                  </c:pt>
                  <c:pt idx="5">
                    <c:v>Third Party Integration</c:v>
                  </c:pt>
                  <c:pt idx="6">
                    <c:v>Continuous Integration (CI)</c:v>
                  </c:pt>
                </c:lvl>
                <c:lvl>
                  <c:pt idx="0">
                    <c:v>Build</c:v>
                  </c:pt>
                </c:lvl>
              </c:multiLvlStrCache>
            </c:multiLvlStrRef>
          </c:cat>
          <c:val>
            <c:numRef>
              <c:f>Dashboard!$I$3:$I$9</c:f>
              <c:numCache>
                <c:formatCode>General</c:formatCode>
                <c:ptCount val="7"/>
                <c:pt idx="0">
                  <c:v>5</c:v>
                </c:pt>
                <c:pt idx="1">
                  <c:v>5</c:v>
                </c:pt>
                <c:pt idx="2">
                  <c:v>5</c:v>
                </c:pt>
                <c:pt idx="3">
                  <c:v>5</c:v>
                </c:pt>
                <c:pt idx="4">
                  <c:v>5</c:v>
                </c:pt>
                <c:pt idx="5">
                  <c:v>5</c:v>
                </c:pt>
                <c:pt idx="6">
                  <c:v>5</c:v>
                </c:pt>
              </c:numCache>
            </c:numRef>
          </c:val>
        </c:ser>
        <c:dLbls>
          <c:showLegendKey val="0"/>
          <c:showVal val="0"/>
          <c:showCatName val="0"/>
          <c:showSerName val="0"/>
          <c:showPercent val="0"/>
          <c:showBubbleSize val="0"/>
        </c:dLbls>
        <c:axId val="461092976"/>
        <c:axId val="461095776"/>
      </c:radarChart>
      <c:catAx>
        <c:axId val="461092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61095776"/>
        <c:crosses val="autoZero"/>
        <c:auto val="1"/>
        <c:lblAlgn val="ctr"/>
        <c:lblOffset val="100"/>
        <c:noMultiLvlLbl val="0"/>
      </c:catAx>
      <c:valAx>
        <c:axId val="461095776"/>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09297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Deploy</a:t>
            </a:r>
          </a:p>
        </c:rich>
      </c:tx>
      <c:layout/>
      <c:overlay val="0"/>
      <c:spPr>
        <a:noFill/>
        <a:ln>
          <a:noFill/>
        </a:ln>
        <a:effectLst/>
      </c:spPr>
    </c:title>
    <c:autoTitleDeleted val="0"/>
    <c:plotArea>
      <c:layout/>
      <c:barChart>
        <c:barDir val="col"/>
        <c:grouping val="clustered"/>
        <c:varyColors val="0"/>
        <c:ser>
          <c:idx val="0"/>
          <c:order val="0"/>
          <c:tx>
            <c:strRef>
              <c:f>Dashboard!$M$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L$3:$L$4</c:f>
              <c:strCache>
                <c:ptCount val="2"/>
                <c:pt idx="0">
                  <c:v>Artifact management</c:v>
                </c:pt>
                <c:pt idx="1">
                  <c:v>Continuous Deployment </c:v>
                </c:pt>
              </c:strCache>
            </c:strRef>
          </c:cat>
          <c:val>
            <c:numRef>
              <c:f>Dashboard!$M$3:$M$4</c:f>
              <c:numCache>
                <c:formatCode>0.0</c:formatCode>
                <c:ptCount val="2"/>
                <c:pt idx="0">
                  <c:v>3.25</c:v>
                </c:pt>
                <c:pt idx="1">
                  <c:v>2.1538461538461537</c:v>
                </c:pt>
              </c:numCache>
            </c:numRef>
          </c:val>
        </c:ser>
        <c:ser>
          <c:idx val="1"/>
          <c:order val="1"/>
          <c:tx>
            <c:strRef>
              <c:f>Dashboard!$N$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L$3:$L$4</c:f>
              <c:strCache>
                <c:ptCount val="2"/>
                <c:pt idx="0">
                  <c:v>Artifact management</c:v>
                </c:pt>
                <c:pt idx="1">
                  <c:v>Continuous Deployment </c:v>
                </c:pt>
              </c:strCache>
            </c:strRef>
          </c:cat>
          <c:val>
            <c:numRef>
              <c:f>Dashboard!$N$3:$N$4</c:f>
              <c:numCache>
                <c:formatCode>General</c:formatCode>
                <c:ptCount val="2"/>
                <c:pt idx="0">
                  <c:v>5</c:v>
                </c:pt>
                <c:pt idx="1">
                  <c:v>5</c:v>
                </c:pt>
              </c:numCache>
            </c:numRef>
          </c:val>
        </c:ser>
        <c:dLbls>
          <c:showLegendKey val="0"/>
          <c:showVal val="0"/>
          <c:showCatName val="0"/>
          <c:showSerName val="0"/>
          <c:showPercent val="0"/>
          <c:showBubbleSize val="0"/>
        </c:dLbls>
        <c:gapWidth val="150"/>
        <c:axId val="461098576"/>
        <c:axId val="461094656"/>
      </c:barChart>
      <c:catAx>
        <c:axId val="4610985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61094656"/>
        <c:crosses val="autoZero"/>
        <c:auto val="1"/>
        <c:lblAlgn val="ctr"/>
        <c:lblOffset val="100"/>
        <c:noMultiLvlLbl val="0"/>
      </c:catAx>
      <c:valAx>
        <c:axId val="461094656"/>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09857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Verify</a:t>
            </a:r>
          </a:p>
        </c:rich>
      </c:tx>
      <c:layout/>
      <c:overlay val="0"/>
      <c:spPr>
        <a:noFill/>
        <a:ln>
          <a:noFill/>
        </a:ln>
        <a:effectLst/>
      </c:spPr>
    </c:title>
    <c:autoTitleDeleted val="0"/>
    <c:plotArea>
      <c:layout/>
      <c:barChart>
        <c:barDir val="col"/>
        <c:grouping val="clustered"/>
        <c:varyColors val="0"/>
        <c:ser>
          <c:idx val="0"/>
          <c:order val="0"/>
          <c:tx>
            <c:strRef>
              <c:f>Dashboard!$R$2</c:f>
              <c:strCache>
                <c:ptCount val="1"/>
                <c:pt idx="0">
                  <c:v>Curren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Q$3</c:f>
              <c:strCache>
                <c:ptCount val="1"/>
                <c:pt idx="0">
                  <c:v>Test Automation</c:v>
                </c:pt>
              </c:strCache>
            </c:strRef>
          </c:cat>
          <c:val>
            <c:numRef>
              <c:f>Dashboard!$R$3</c:f>
              <c:numCache>
                <c:formatCode>0.0</c:formatCode>
                <c:ptCount val="1"/>
                <c:pt idx="0">
                  <c:v>3</c:v>
                </c:pt>
              </c:numCache>
            </c:numRef>
          </c:val>
        </c:ser>
        <c:ser>
          <c:idx val="1"/>
          <c:order val="1"/>
          <c:tx>
            <c:strRef>
              <c:f>Dashboard!$S$2</c:f>
              <c:strCache>
                <c:ptCount val="1"/>
                <c:pt idx="0">
                  <c:v>Futu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Dashboard!$Q$3</c:f>
              <c:strCache>
                <c:ptCount val="1"/>
                <c:pt idx="0">
                  <c:v>Test Automation</c:v>
                </c:pt>
              </c:strCache>
            </c:strRef>
          </c:cat>
          <c:val>
            <c:numRef>
              <c:f>Dashboard!$S$3</c:f>
              <c:numCache>
                <c:formatCode>General</c:formatCode>
                <c:ptCount val="1"/>
                <c:pt idx="0">
                  <c:v>5</c:v>
                </c:pt>
              </c:numCache>
            </c:numRef>
          </c:val>
        </c:ser>
        <c:dLbls>
          <c:showLegendKey val="0"/>
          <c:showVal val="0"/>
          <c:showCatName val="0"/>
          <c:showSerName val="0"/>
          <c:showPercent val="0"/>
          <c:showBubbleSize val="0"/>
        </c:dLbls>
        <c:gapWidth val="150"/>
        <c:axId val="461100816"/>
        <c:axId val="461084016"/>
      </c:barChart>
      <c:catAx>
        <c:axId val="46110081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61084016"/>
        <c:crosses val="autoZero"/>
        <c:auto val="1"/>
        <c:lblAlgn val="ctr"/>
        <c:lblOffset val="100"/>
        <c:noMultiLvlLbl val="0"/>
      </c:catAx>
      <c:valAx>
        <c:axId val="461084016"/>
        <c:scaling>
          <c:orientation val="minMax"/>
          <c:min val="1"/>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461100816"/>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AF90E8-A1EA-4586-928D-0A2057E1CF18}"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E9F17FF9-84CB-4AA1-BBFD-68979FCDA9FF}">
      <dgm:prSet phldrT="[Text]" custT="1"/>
      <dgm:spPr>
        <a:solidFill>
          <a:schemeClr val="accent4"/>
        </a:solidFill>
        <a:ln>
          <a:noFill/>
        </a:ln>
      </dgm:spPr>
      <dgm:t>
        <a:bodyPr/>
        <a:lstStyle/>
        <a:p>
          <a:r>
            <a:rPr lang="en-US" sz="900" dirty="0" smtClean="0"/>
            <a:t>Release Management</a:t>
          </a:r>
          <a:endParaRPr lang="en-US" sz="900" dirty="0"/>
        </a:p>
      </dgm:t>
    </dgm:pt>
    <dgm:pt modelId="{C6B99BCA-809E-4DD8-9720-C996C7A9F8B2}" type="parTrans" cxnId="{101CE67B-E2B2-4A3D-A0DF-799E64986E46}">
      <dgm:prSet/>
      <dgm:spPr/>
      <dgm:t>
        <a:bodyPr/>
        <a:lstStyle/>
        <a:p>
          <a:endParaRPr lang="en-US"/>
        </a:p>
      </dgm:t>
    </dgm:pt>
    <dgm:pt modelId="{8CF5CB1E-B594-4492-81DF-BD90AD0D6918}" type="sibTrans" cxnId="{101CE67B-E2B2-4A3D-A0DF-799E64986E46}">
      <dgm:prSet/>
      <dgm:spPr>
        <a:solidFill>
          <a:schemeClr val="tx1">
            <a:lumMod val="50000"/>
            <a:lumOff val="50000"/>
          </a:schemeClr>
        </a:solidFill>
      </dgm:spPr>
      <dgm:t>
        <a:bodyPr/>
        <a:lstStyle/>
        <a:p>
          <a:endParaRPr lang="en-US"/>
        </a:p>
      </dgm:t>
    </dgm:pt>
    <dgm:pt modelId="{85779212-6661-4725-AB42-F7048CC39118}">
      <dgm:prSet phldrT="[Text]" custT="1"/>
      <dgm:spPr>
        <a:solidFill>
          <a:schemeClr val="bg2"/>
        </a:solidFill>
        <a:ln>
          <a:noFill/>
        </a:ln>
      </dgm:spPr>
      <dgm:t>
        <a:bodyPr/>
        <a:lstStyle/>
        <a:p>
          <a:r>
            <a:rPr lang="en-US" sz="900" dirty="0" smtClean="0"/>
            <a:t>Collaboration/ KM Management</a:t>
          </a:r>
          <a:endParaRPr lang="en-US" sz="900" dirty="0"/>
        </a:p>
      </dgm:t>
    </dgm:pt>
    <dgm:pt modelId="{6F580CD6-77FB-49E7-AB68-F4756DCC3BC8}" type="parTrans" cxnId="{5F6E4A05-A398-46E1-93E6-2AB004134746}">
      <dgm:prSet/>
      <dgm:spPr/>
      <dgm:t>
        <a:bodyPr/>
        <a:lstStyle/>
        <a:p>
          <a:endParaRPr lang="en-US"/>
        </a:p>
      </dgm:t>
    </dgm:pt>
    <dgm:pt modelId="{2215B2C2-F53F-48D4-AAEB-E3661D91D79C}" type="sibTrans" cxnId="{5F6E4A05-A398-46E1-93E6-2AB004134746}">
      <dgm:prSet/>
      <dgm:spPr>
        <a:solidFill>
          <a:schemeClr val="tx1">
            <a:lumMod val="50000"/>
            <a:lumOff val="50000"/>
          </a:schemeClr>
        </a:solidFill>
      </dgm:spPr>
      <dgm:t>
        <a:bodyPr/>
        <a:lstStyle/>
        <a:p>
          <a:endParaRPr lang="en-US"/>
        </a:p>
      </dgm:t>
    </dgm:pt>
    <dgm:pt modelId="{849F1AF7-80F2-4D94-9C87-042462653019}">
      <dgm:prSet phldrT="[Text]" custT="1"/>
      <dgm:spPr>
        <a:solidFill>
          <a:schemeClr val="bg2"/>
        </a:solidFill>
        <a:ln>
          <a:noFill/>
        </a:ln>
      </dgm:spPr>
      <dgm:t>
        <a:bodyPr/>
        <a:lstStyle/>
        <a:p>
          <a:r>
            <a:rPr lang="en-US" sz="900" dirty="0" smtClean="0"/>
            <a:t>Code Checkout</a:t>
          </a:r>
          <a:endParaRPr lang="en-US" sz="900" dirty="0"/>
        </a:p>
      </dgm:t>
    </dgm:pt>
    <dgm:pt modelId="{FD7D8452-F8C4-444D-AF53-6B0291A0CCC0}" type="parTrans" cxnId="{3322B252-840F-41F1-8A0C-0D572C8B8350}">
      <dgm:prSet/>
      <dgm:spPr/>
      <dgm:t>
        <a:bodyPr/>
        <a:lstStyle/>
        <a:p>
          <a:endParaRPr lang="en-US"/>
        </a:p>
      </dgm:t>
    </dgm:pt>
    <dgm:pt modelId="{7C2CE862-3CB4-48E1-8966-FEEE24307D57}" type="sibTrans" cxnId="{3322B252-840F-41F1-8A0C-0D572C8B8350}">
      <dgm:prSet/>
      <dgm:spPr>
        <a:solidFill>
          <a:schemeClr val="tx1">
            <a:lumMod val="50000"/>
            <a:lumOff val="50000"/>
          </a:schemeClr>
        </a:solidFill>
      </dgm:spPr>
      <dgm:t>
        <a:bodyPr/>
        <a:lstStyle/>
        <a:p>
          <a:endParaRPr lang="en-US"/>
        </a:p>
      </dgm:t>
    </dgm:pt>
    <dgm:pt modelId="{1BA9C312-3FC6-492C-A4A5-D1F5D3C47968}">
      <dgm:prSet phldrT="[Text]" custT="1"/>
      <dgm:spPr>
        <a:solidFill>
          <a:schemeClr val="bg2"/>
        </a:solidFill>
        <a:ln>
          <a:noFill/>
        </a:ln>
      </dgm:spPr>
      <dgm:t>
        <a:bodyPr/>
        <a:lstStyle/>
        <a:p>
          <a:r>
            <a:rPr lang="en-US" sz="900" dirty="0" smtClean="0"/>
            <a:t>Code Construction</a:t>
          </a:r>
          <a:endParaRPr lang="en-US" sz="900" dirty="0"/>
        </a:p>
      </dgm:t>
    </dgm:pt>
    <dgm:pt modelId="{A713E7FF-1CAD-4740-B3E0-EB45F4AAC7BE}" type="parTrans" cxnId="{35D90AA5-A97B-4370-B278-E9458FFB9BA6}">
      <dgm:prSet/>
      <dgm:spPr/>
      <dgm:t>
        <a:bodyPr/>
        <a:lstStyle/>
        <a:p>
          <a:endParaRPr lang="en-US"/>
        </a:p>
      </dgm:t>
    </dgm:pt>
    <dgm:pt modelId="{DFF57308-0DD1-475E-B2FA-E31BBB6A0860}" type="sibTrans" cxnId="{35D90AA5-A97B-4370-B278-E9458FFB9BA6}">
      <dgm:prSet/>
      <dgm:spPr>
        <a:solidFill>
          <a:schemeClr val="tx1">
            <a:lumMod val="50000"/>
            <a:lumOff val="50000"/>
          </a:schemeClr>
        </a:solidFill>
      </dgm:spPr>
      <dgm:t>
        <a:bodyPr/>
        <a:lstStyle/>
        <a:p>
          <a:endParaRPr lang="en-US"/>
        </a:p>
      </dgm:t>
    </dgm:pt>
    <dgm:pt modelId="{3930EB36-6FDA-44CB-ABCF-988A9BA436E3}">
      <dgm:prSet phldrT="[Text]" custT="1"/>
      <dgm:spPr>
        <a:solidFill>
          <a:schemeClr val="accent4"/>
        </a:solidFill>
        <a:ln>
          <a:noFill/>
        </a:ln>
      </dgm:spPr>
      <dgm:t>
        <a:bodyPr/>
        <a:lstStyle/>
        <a:p>
          <a:r>
            <a:rPr lang="en-US" sz="900" dirty="0" smtClean="0"/>
            <a:t>Unit Testing</a:t>
          </a:r>
          <a:endParaRPr lang="en-US" sz="900" dirty="0"/>
        </a:p>
      </dgm:t>
    </dgm:pt>
    <dgm:pt modelId="{A76573DD-7B52-434F-87C3-DD21C0CB5B23}" type="parTrans" cxnId="{7556444B-E586-4C76-B57A-7A3A3DE9645D}">
      <dgm:prSet/>
      <dgm:spPr/>
      <dgm:t>
        <a:bodyPr/>
        <a:lstStyle/>
        <a:p>
          <a:endParaRPr lang="en-US"/>
        </a:p>
      </dgm:t>
    </dgm:pt>
    <dgm:pt modelId="{F3DCA773-1244-4B9A-9ED9-C0FDC19BC45E}" type="sibTrans" cxnId="{7556444B-E586-4C76-B57A-7A3A3DE9645D}">
      <dgm:prSet/>
      <dgm:spPr>
        <a:solidFill>
          <a:schemeClr val="tx1">
            <a:lumMod val="50000"/>
            <a:lumOff val="50000"/>
          </a:schemeClr>
        </a:solidFill>
      </dgm:spPr>
      <dgm:t>
        <a:bodyPr/>
        <a:lstStyle/>
        <a:p>
          <a:endParaRPr lang="en-US"/>
        </a:p>
      </dgm:t>
    </dgm:pt>
    <dgm:pt modelId="{ADF668AF-3E12-4B37-BBC6-0A6519A77140}">
      <dgm:prSet phldrT="[Text]" custT="1"/>
      <dgm:spPr>
        <a:solidFill>
          <a:schemeClr val="bg2"/>
        </a:solidFill>
        <a:ln>
          <a:noFill/>
        </a:ln>
      </dgm:spPr>
      <dgm:t>
        <a:bodyPr/>
        <a:lstStyle/>
        <a:p>
          <a:r>
            <a:rPr lang="en-US" sz="900" dirty="0" smtClean="0"/>
            <a:t>Code Review</a:t>
          </a:r>
          <a:endParaRPr lang="en-US" sz="900" dirty="0"/>
        </a:p>
      </dgm:t>
    </dgm:pt>
    <dgm:pt modelId="{CC484BE2-A604-4608-8FEA-5A49472B3C2C}" type="parTrans" cxnId="{B16DEB27-96D6-4358-A383-83FF61A1507A}">
      <dgm:prSet/>
      <dgm:spPr/>
      <dgm:t>
        <a:bodyPr/>
        <a:lstStyle/>
        <a:p>
          <a:endParaRPr lang="en-US"/>
        </a:p>
      </dgm:t>
    </dgm:pt>
    <dgm:pt modelId="{588DFA08-AA0A-4B91-9359-5C2C4488A330}" type="sibTrans" cxnId="{B16DEB27-96D6-4358-A383-83FF61A1507A}">
      <dgm:prSet/>
      <dgm:spPr>
        <a:solidFill>
          <a:schemeClr val="tx1">
            <a:lumMod val="50000"/>
            <a:lumOff val="50000"/>
          </a:schemeClr>
        </a:solidFill>
      </dgm:spPr>
      <dgm:t>
        <a:bodyPr/>
        <a:lstStyle/>
        <a:p>
          <a:endParaRPr lang="en-US"/>
        </a:p>
      </dgm:t>
    </dgm:pt>
    <dgm:pt modelId="{37FE08DE-1395-40CA-9A0B-525CD6B5E831}">
      <dgm:prSet phldrT="[Text]" custT="1"/>
      <dgm:spPr>
        <a:solidFill>
          <a:schemeClr val="bg2"/>
        </a:solidFill>
        <a:ln>
          <a:noFill/>
        </a:ln>
      </dgm:spPr>
      <dgm:t>
        <a:bodyPr/>
        <a:lstStyle/>
        <a:p>
          <a:r>
            <a:rPr lang="en-US" sz="900" dirty="0" smtClean="0"/>
            <a:t>Code Conflict Management</a:t>
          </a:r>
          <a:endParaRPr lang="en-US" sz="900" dirty="0"/>
        </a:p>
      </dgm:t>
    </dgm:pt>
    <dgm:pt modelId="{5BEB020A-F5F5-4850-9980-5A4661CB3AD2}" type="parTrans" cxnId="{E4DB4185-9DF4-435B-8968-A0AAB99B9C73}">
      <dgm:prSet/>
      <dgm:spPr/>
      <dgm:t>
        <a:bodyPr/>
        <a:lstStyle/>
        <a:p>
          <a:endParaRPr lang="en-US"/>
        </a:p>
      </dgm:t>
    </dgm:pt>
    <dgm:pt modelId="{57271963-C7A4-4669-BFA6-3618812B92AB}" type="sibTrans" cxnId="{E4DB4185-9DF4-435B-8968-A0AAB99B9C73}">
      <dgm:prSet/>
      <dgm:spPr>
        <a:solidFill>
          <a:schemeClr val="tx1">
            <a:lumMod val="50000"/>
            <a:lumOff val="50000"/>
          </a:schemeClr>
        </a:solidFill>
      </dgm:spPr>
      <dgm:t>
        <a:bodyPr/>
        <a:lstStyle/>
        <a:p>
          <a:endParaRPr lang="en-US"/>
        </a:p>
      </dgm:t>
    </dgm:pt>
    <dgm:pt modelId="{3738A1B5-90CF-463A-8275-7F3A4F3727AB}">
      <dgm:prSet phldrT="[Text]" custT="1"/>
      <dgm:spPr>
        <a:solidFill>
          <a:schemeClr val="bg2"/>
        </a:solidFill>
        <a:ln>
          <a:noFill/>
        </a:ln>
      </dgm:spPr>
      <dgm:t>
        <a:bodyPr/>
        <a:lstStyle/>
        <a:p>
          <a:r>
            <a:rPr lang="en-US" sz="900" dirty="0" smtClean="0"/>
            <a:t>Version Management</a:t>
          </a:r>
          <a:endParaRPr lang="en-US" sz="900" dirty="0"/>
        </a:p>
      </dgm:t>
    </dgm:pt>
    <dgm:pt modelId="{62E7C633-B086-48CB-B985-A62A961F08C3}" type="parTrans" cxnId="{32A49BFC-A3EA-4549-844A-F84528076B00}">
      <dgm:prSet/>
      <dgm:spPr/>
      <dgm:t>
        <a:bodyPr/>
        <a:lstStyle/>
        <a:p>
          <a:endParaRPr lang="en-US"/>
        </a:p>
      </dgm:t>
    </dgm:pt>
    <dgm:pt modelId="{83DCAC2A-0010-44F2-ABC6-53BAD1DF01BB}" type="sibTrans" cxnId="{32A49BFC-A3EA-4549-844A-F84528076B00}">
      <dgm:prSet/>
      <dgm:spPr>
        <a:solidFill>
          <a:schemeClr val="tx1">
            <a:lumMod val="50000"/>
            <a:lumOff val="50000"/>
          </a:schemeClr>
        </a:solidFill>
      </dgm:spPr>
      <dgm:t>
        <a:bodyPr/>
        <a:lstStyle/>
        <a:p>
          <a:endParaRPr lang="en-US"/>
        </a:p>
      </dgm:t>
    </dgm:pt>
    <dgm:pt modelId="{5F563FDF-68E0-4532-A238-F2B4F40D514C}">
      <dgm:prSet phldrT="[Text]" custT="1"/>
      <dgm:spPr>
        <a:solidFill>
          <a:schemeClr val="bg2"/>
        </a:solidFill>
        <a:ln>
          <a:noFill/>
        </a:ln>
      </dgm:spPr>
      <dgm:t>
        <a:bodyPr/>
        <a:lstStyle/>
        <a:p>
          <a:r>
            <a:rPr lang="en-US" sz="900" dirty="0" smtClean="0"/>
            <a:t>Build</a:t>
          </a:r>
          <a:endParaRPr lang="en-US" sz="900" dirty="0"/>
        </a:p>
      </dgm:t>
    </dgm:pt>
    <dgm:pt modelId="{07F5E03E-FE05-4817-9E56-E2A4F8CB0CAA}" type="parTrans" cxnId="{E036A73C-ACC6-48D5-B446-DD3B0833955B}">
      <dgm:prSet/>
      <dgm:spPr/>
      <dgm:t>
        <a:bodyPr/>
        <a:lstStyle/>
        <a:p>
          <a:endParaRPr lang="en-US"/>
        </a:p>
      </dgm:t>
    </dgm:pt>
    <dgm:pt modelId="{2E6F1F50-D4EB-4BC1-8C05-7F4BB60E1095}" type="sibTrans" cxnId="{E036A73C-ACC6-48D5-B446-DD3B0833955B}">
      <dgm:prSet/>
      <dgm:spPr>
        <a:solidFill>
          <a:schemeClr val="tx1">
            <a:lumMod val="50000"/>
            <a:lumOff val="50000"/>
          </a:schemeClr>
        </a:solidFill>
      </dgm:spPr>
      <dgm:t>
        <a:bodyPr/>
        <a:lstStyle/>
        <a:p>
          <a:endParaRPr lang="en-US"/>
        </a:p>
      </dgm:t>
    </dgm:pt>
    <dgm:pt modelId="{9E968A82-C2C9-4708-8C57-1EDF4EDF7FAA}">
      <dgm:prSet phldrT="[Text]" custT="1"/>
      <dgm:spPr>
        <a:solidFill>
          <a:schemeClr val="bg2"/>
        </a:solidFill>
        <a:ln>
          <a:noFill/>
        </a:ln>
      </dgm:spPr>
      <dgm:t>
        <a:bodyPr/>
        <a:lstStyle/>
        <a:p>
          <a:r>
            <a:rPr lang="en-US" sz="900" dirty="0" smtClean="0">
              <a:solidFill>
                <a:schemeClr val="bg1"/>
              </a:solidFill>
            </a:rPr>
            <a:t>Functional Testing</a:t>
          </a:r>
          <a:endParaRPr lang="en-US" sz="900" dirty="0">
            <a:solidFill>
              <a:schemeClr val="bg1"/>
            </a:solidFill>
          </a:endParaRPr>
        </a:p>
      </dgm:t>
    </dgm:pt>
    <dgm:pt modelId="{DDD34AAC-5BA3-4936-9F7A-826950BBBFBE}" type="parTrans" cxnId="{8E2F635B-4747-43A5-9185-4AD3BA51060C}">
      <dgm:prSet/>
      <dgm:spPr/>
      <dgm:t>
        <a:bodyPr/>
        <a:lstStyle/>
        <a:p>
          <a:endParaRPr lang="en-US"/>
        </a:p>
      </dgm:t>
    </dgm:pt>
    <dgm:pt modelId="{1033E4E2-0E1D-4720-83E1-31115BA38D7F}" type="sibTrans" cxnId="{8E2F635B-4747-43A5-9185-4AD3BA51060C}">
      <dgm:prSet/>
      <dgm:spPr>
        <a:solidFill>
          <a:schemeClr val="tx1">
            <a:lumMod val="50000"/>
            <a:lumOff val="50000"/>
          </a:schemeClr>
        </a:solidFill>
      </dgm:spPr>
      <dgm:t>
        <a:bodyPr/>
        <a:lstStyle/>
        <a:p>
          <a:endParaRPr lang="en-US"/>
        </a:p>
      </dgm:t>
    </dgm:pt>
    <dgm:pt modelId="{126F406E-6F8A-49A3-979C-4B0D96D833E5}">
      <dgm:prSet phldrT="[Text]" custT="1"/>
      <dgm:spPr>
        <a:solidFill>
          <a:schemeClr val="accent4"/>
        </a:solidFill>
        <a:ln>
          <a:noFill/>
        </a:ln>
      </dgm:spPr>
      <dgm:t>
        <a:bodyPr/>
        <a:lstStyle/>
        <a:p>
          <a:r>
            <a:rPr lang="en-US" sz="900" dirty="0" smtClean="0"/>
            <a:t>Deployment – QA/SIT/UAT</a:t>
          </a:r>
          <a:endParaRPr lang="en-US" sz="900" dirty="0"/>
        </a:p>
      </dgm:t>
    </dgm:pt>
    <dgm:pt modelId="{C4478F16-E7D2-4394-AF82-5A2B6E0FA2DF}" type="parTrans" cxnId="{7D213385-4BB4-41F8-A2CD-6FBCDD16C446}">
      <dgm:prSet/>
      <dgm:spPr/>
      <dgm:t>
        <a:bodyPr/>
        <a:lstStyle/>
        <a:p>
          <a:endParaRPr lang="en-US"/>
        </a:p>
      </dgm:t>
    </dgm:pt>
    <dgm:pt modelId="{958EC8D5-2E09-4E39-8BCC-89A628BFA8D6}" type="sibTrans" cxnId="{7D213385-4BB4-41F8-A2CD-6FBCDD16C446}">
      <dgm:prSet/>
      <dgm:spPr>
        <a:solidFill>
          <a:schemeClr val="tx1">
            <a:lumMod val="50000"/>
            <a:lumOff val="50000"/>
          </a:schemeClr>
        </a:solidFill>
      </dgm:spPr>
      <dgm:t>
        <a:bodyPr/>
        <a:lstStyle/>
        <a:p>
          <a:endParaRPr lang="en-US"/>
        </a:p>
      </dgm:t>
    </dgm:pt>
    <dgm:pt modelId="{3341D280-779C-4D0C-A39C-F0051812E018}">
      <dgm:prSet phldrT="[Text]" custT="1"/>
      <dgm:spPr>
        <a:solidFill>
          <a:schemeClr val="accent4"/>
        </a:solidFill>
        <a:ln>
          <a:noFill/>
        </a:ln>
      </dgm:spPr>
      <dgm:t>
        <a:bodyPr/>
        <a:lstStyle/>
        <a:p>
          <a:r>
            <a:rPr lang="en-US" sz="900" dirty="0" smtClean="0"/>
            <a:t>Package and Artifact </a:t>
          </a:r>
          <a:r>
            <a:rPr lang="en-US" sz="900" dirty="0" err="1" smtClean="0"/>
            <a:t>Mngt</a:t>
          </a:r>
          <a:r>
            <a:rPr lang="en-US" sz="900" dirty="0" smtClean="0"/>
            <a:t>.</a:t>
          </a:r>
          <a:endParaRPr lang="en-US" sz="900" dirty="0"/>
        </a:p>
      </dgm:t>
    </dgm:pt>
    <dgm:pt modelId="{F4752A0A-B395-446A-A9AB-3D77A4ED6267}" type="parTrans" cxnId="{0D19982F-0F85-4A97-BCFA-6E65A7C00129}">
      <dgm:prSet/>
      <dgm:spPr/>
      <dgm:t>
        <a:bodyPr/>
        <a:lstStyle/>
        <a:p>
          <a:endParaRPr lang="en-US"/>
        </a:p>
      </dgm:t>
    </dgm:pt>
    <dgm:pt modelId="{E446F138-EBED-4CF1-9103-188FE94E650D}" type="sibTrans" cxnId="{0D19982F-0F85-4A97-BCFA-6E65A7C00129}">
      <dgm:prSet/>
      <dgm:spPr>
        <a:solidFill>
          <a:schemeClr val="tx1">
            <a:lumMod val="50000"/>
            <a:lumOff val="50000"/>
          </a:schemeClr>
        </a:solidFill>
      </dgm:spPr>
      <dgm:t>
        <a:bodyPr/>
        <a:lstStyle/>
        <a:p>
          <a:endParaRPr lang="en-US"/>
        </a:p>
      </dgm:t>
    </dgm:pt>
    <dgm:pt modelId="{239473F6-9DFA-4CBB-B80C-93A081707E6A}">
      <dgm:prSet phldrT="[Text]" custT="1"/>
      <dgm:spPr>
        <a:solidFill>
          <a:schemeClr val="bg2"/>
        </a:solidFill>
        <a:ln>
          <a:noFill/>
        </a:ln>
      </dgm:spPr>
      <dgm:t>
        <a:bodyPr/>
        <a:lstStyle/>
        <a:p>
          <a:r>
            <a:rPr lang="en-US" sz="900" dirty="0" smtClean="0"/>
            <a:t>Tag Release</a:t>
          </a:r>
          <a:endParaRPr lang="en-US" sz="900" dirty="0"/>
        </a:p>
      </dgm:t>
    </dgm:pt>
    <dgm:pt modelId="{43FB8A35-13BC-4F57-8130-ED887FC3598E}" type="parTrans" cxnId="{0353A571-4EAC-4846-A2D7-C7D32E188DFB}">
      <dgm:prSet/>
      <dgm:spPr/>
      <dgm:t>
        <a:bodyPr/>
        <a:lstStyle/>
        <a:p>
          <a:endParaRPr lang="en-US"/>
        </a:p>
      </dgm:t>
    </dgm:pt>
    <dgm:pt modelId="{CB3E1638-FD94-40EE-8343-708E939E8EA2}" type="sibTrans" cxnId="{0353A571-4EAC-4846-A2D7-C7D32E188DFB}">
      <dgm:prSet/>
      <dgm:spPr>
        <a:solidFill>
          <a:schemeClr val="tx1">
            <a:lumMod val="50000"/>
            <a:lumOff val="50000"/>
          </a:schemeClr>
        </a:solidFill>
      </dgm:spPr>
      <dgm:t>
        <a:bodyPr/>
        <a:lstStyle/>
        <a:p>
          <a:endParaRPr lang="en-US"/>
        </a:p>
      </dgm:t>
    </dgm:pt>
    <dgm:pt modelId="{5A340EBB-0CD1-4298-95DA-27F72796D99F}">
      <dgm:prSet phldrT="[Text]" custT="1"/>
      <dgm:spPr>
        <a:solidFill>
          <a:schemeClr val="accent4"/>
        </a:solidFill>
        <a:ln>
          <a:noFill/>
        </a:ln>
      </dgm:spPr>
      <dgm:t>
        <a:bodyPr/>
        <a:lstStyle/>
        <a:p>
          <a:r>
            <a:rPr lang="en-US" sz="900" dirty="0" smtClean="0"/>
            <a:t>Static/Dynamic Code Analysis</a:t>
          </a:r>
          <a:endParaRPr lang="en-US" sz="900" dirty="0"/>
        </a:p>
      </dgm:t>
    </dgm:pt>
    <dgm:pt modelId="{363361E4-A48B-4E35-A16F-3EA81F494ADD}" type="parTrans" cxnId="{F960A199-D1F8-4E7B-96E2-49F2A8F69B55}">
      <dgm:prSet/>
      <dgm:spPr/>
      <dgm:t>
        <a:bodyPr/>
        <a:lstStyle/>
        <a:p>
          <a:endParaRPr lang="en-US"/>
        </a:p>
      </dgm:t>
    </dgm:pt>
    <dgm:pt modelId="{9605F4AE-7274-4589-894C-1B1A3A565BF5}" type="sibTrans" cxnId="{F960A199-D1F8-4E7B-96E2-49F2A8F69B55}">
      <dgm:prSet/>
      <dgm:spPr>
        <a:solidFill>
          <a:schemeClr val="tx1">
            <a:lumMod val="50000"/>
            <a:lumOff val="50000"/>
          </a:schemeClr>
        </a:solidFill>
      </dgm:spPr>
      <dgm:t>
        <a:bodyPr/>
        <a:lstStyle/>
        <a:p>
          <a:endParaRPr lang="en-US"/>
        </a:p>
      </dgm:t>
    </dgm:pt>
    <dgm:pt modelId="{4D86363D-FCDF-405A-A7D2-DF82B39338D2}">
      <dgm:prSet phldrT="[Text]" custT="1"/>
      <dgm:spPr>
        <a:solidFill>
          <a:schemeClr val="accent4"/>
        </a:solidFill>
        <a:ln>
          <a:noFill/>
        </a:ln>
      </dgm:spPr>
      <dgm:t>
        <a:bodyPr/>
        <a:lstStyle/>
        <a:p>
          <a:r>
            <a:rPr lang="en-US" sz="900" dirty="0" smtClean="0"/>
            <a:t>Integration Testing</a:t>
          </a:r>
          <a:endParaRPr lang="en-US" sz="900" dirty="0"/>
        </a:p>
      </dgm:t>
    </dgm:pt>
    <dgm:pt modelId="{319D7107-C98F-4A2E-8239-05A3900CF85D}" type="parTrans" cxnId="{21D8CC83-DBDA-4724-A583-9B46B319AACE}">
      <dgm:prSet/>
      <dgm:spPr/>
      <dgm:t>
        <a:bodyPr/>
        <a:lstStyle/>
        <a:p>
          <a:endParaRPr lang="en-US"/>
        </a:p>
      </dgm:t>
    </dgm:pt>
    <dgm:pt modelId="{ECAFCB15-B4D1-453D-90E4-AA983B48832A}" type="sibTrans" cxnId="{21D8CC83-DBDA-4724-A583-9B46B319AACE}">
      <dgm:prSet/>
      <dgm:spPr>
        <a:solidFill>
          <a:schemeClr val="tx1">
            <a:lumMod val="50000"/>
            <a:lumOff val="50000"/>
          </a:schemeClr>
        </a:solidFill>
      </dgm:spPr>
      <dgm:t>
        <a:bodyPr/>
        <a:lstStyle/>
        <a:p>
          <a:endParaRPr lang="en-US"/>
        </a:p>
      </dgm:t>
    </dgm:pt>
    <dgm:pt modelId="{9DD5A6BA-862F-4A08-93A2-7D63C651E05C}">
      <dgm:prSet phldrT="[Text]" custT="1"/>
      <dgm:spPr>
        <a:solidFill>
          <a:schemeClr val="accent4"/>
        </a:solidFill>
        <a:ln>
          <a:noFill/>
        </a:ln>
      </dgm:spPr>
      <dgm:t>
        <a:bodyPr/>
        <a:lstStyle/>
        <a:p>
          <a:r>
            <a:rPr lang="en-US" sz="900" dirty="0" smtClean="0"/>
            <a:t>Security Testing</a:t>
          </a:r>
          <a:endParaRPr lang="en-US" sz="900" dirty="0"/>
        </a:p>
      </dgm:t>
    </dgm:pt>
    <dgm:pt modelId="{2F63AA87-74B1-49C8-9AE0-9B4065810AD2}" type="parTrans" cxnId="{10C10951-F977-4EFC-8ECD-13875A766D4B}">
      <dgm:prSet/>
      <dgm:spPr/>
      <dgm:t>
        <a:bodyPr/>
        <a:lstStyle/>
        <a:p>
          <a:endParaRPr lang="en-US"/>
        </a:p>
      </dgm:t>
    </dgm:pt>
    <dgm:pt modelId="{30E84380-30DC-4FA7-8248-189A4FD5B85B}" type="sibTrans" cxnId="{10C10951-F977-4EFC-8ECD-13875A766D4B}">
      <dgm:prSet/>
      <dgm:spPr>
        <a:solidFill>
          <a:schemeClr val="tx1">
            <a:lumMod val="50000"/>
            <a:lumOff val="50000"/>
          </a:schemeClr>
        </a:solidFill>
      </dgm:spPr>
      <dgm:t>
        <a:bodyPr/>
        <a:lstStyle/>
        <a:p>
          <a:endParaRPr lang="en-US"/>
        </a:p>
      </dgm:t>
    </dgm:pt>
    <dgm:pt modelId="{B23BB066-8472-44EB-B86D-AA6CC44B4FC0}">
      <dgm:prSet phldrT="[Text]" custT="1"/>
      <dgm:spPr>
        <a:solidFill>
          <a:schemeClr val="accent4"/>
        </a:solidFill>
        <a:ln>
          <a:solidFill>
            <a:srgbClr val="FFC000"/>
          </a:solidFill>
        </a:ln>
      </dgm:spPr>
      <dgm:t>
        <a:bodyPr/>
        <a:lstStyle/>
        <a:p>
          <a:r>
            <a:rPr lang="en-US" sz="900" dirty="0" smtClean="0"/>
            <a:t>Performance Testing</a:t>
          </a:r>
          <a:endParaRPr lang="en-US" sz="900" dirty="0"/>
        </a:p>
      </dgm:t>
    </dgm:pt>
    <dgm:pt modelId="{BE4DD27B-62D9-435E-A8B1-FD632B88B8F0}" type="parTrans" cxnId="{C9AFB386-382E-4180-B7E7-CF4884CB8E5F}">
      <dgm:prSet/>
      <dgm:spPr/>
      <dgm:t>
        <a:bodyPr/>
        <a:lstStyle/>
        <a:p>
          <a:endParaRPr lang="en-US"/>
        </a:p>
      </dgm:t>
    </dgm:pt>
    <dgm:pt modelId="{CB760776-D8BE-4281-B64D-797A4660DBCA}" type="sibTrans" cxnId="{C9AFB386-382E-4180-B7E7-CF4884CB8E5F}">
      <dgm:prSet/>
      <dgm:spPr>
        <a:solidFill>
          <a:schemeClr val="tx1">
            <a:lumMod val="50000"/>
            <a:lumOff val="50000"/>
          </a:schemeClr>
        </a:solidFill>
      </dgm:spPr>
      <dgm:t>
        <a:bodyPr/>
        <a:lstStyle/>
        <a:p>
          <a:endParaRPr lang="en-US"/>
        </a:p>
      </dgm:t>
    </dgm:pt>
    <dgm:pt modelId="{39DEF6C6-E8FB-4ECE-ACD4-2E49036603D1}">
      <dgm:prSet phldrT="[Text]" custT="1"/>
      <dgm:spPr>
        <a:solidFill>
          <a:schemeClr val="accent4"/>
        </a:solidFill>
        <a:ln>
          <a:noFill/>
        </a:ln>
      </dgm:spPr>
      <dgm:t>
        <a:bodyPr/>
        <a:lstStyle/>
        <a:p>
          <a:r>
            <a:rPr lang="en-US" sz="900" dirty="0" smtClean="0"/>
            <a:t>User Acceptance Testing</a:t>
          </a:r>
          <a:endParaRPr lang="en-US" sz="900" dirty="0"/>
        </a:p>
      </dgm:t>
    </dgm:pt>
    <dgm:pt modelId="{9B69F6C1-27C2-480B-B0BE-3D826ADE007D}" type="parTrans" cxnId="{795763E9-4225-4BC6-B9EC-AB6874E2B24C}">
      <dgm:prSet/>
      <dgm:spPr/>
      <dgm:t>
        <a:bodyPr/>
        <a:lstStyle/>
        <a:p>
          <a:endParaRPr lang="en-US"/>
        </a:p>
      </dgm:t>
    </dgm:pt>
    <dgm:pt modelId="{38CC07E6-E536-40AC-A8C1-C3B8006F5027}" type="sibTrans" cxnId="{795763E9-4225-4BC6-B9EC-AB6874E2B24C}">
      <dgm:prSet/>
      <dgm:spPr>
        <a:solidFill>
          <a:schemeClr val="tx1">
            <a:lumMod val="50000"/>
            <a:lumOff val="50000"/>
          </a:schemeClr>
        </a:solidFill>
      </dgm:spPr>
      <dgm:t>
        <a:bodyPr/>
        <a:lstStyle/>
        <a:p>
          <a:endParaRPr lang="en-US"/>
        </a:p>
      </dgm:t>
    </dgm:pt>
    <dgm:pt modelId="{B0791259-9104-4F93-B8AD-DAEF5DF1EA80}">
      <dgm:prSet phldrT="[Text]" custT="1"/>
      <dgm:spPr>
        <a:solidFill>
          <a:schemeClr val="bg2"/>
        </a:solidFill>
        <a:ln>
          <a:noFill/>
        </a:ln>
      </dgm:spPr>
      <dgm:t>
        <a:bodyPr/>
        <a:lstStyle/>
        <a:p>
          <a:r>
            <a:rPr lang="en-US" sz="900" dirty="0" smtClean="0"/>
            <a:t>Service Management</a:t>
          </a:r>
          <a:endParaRPr lang="en-US" sz="900" dirty="0"/>
        </a:p>
      </dgm:t>
    </dgm:pt>
    <dgm:pt modelId="{1117126B-BFDF-432E-BA44-B7FDC3D8F145}" type="parTrans" cxnId="{245674ED-6B22-4C31-97D7-0FB63B7EB25C}">
      <dgm:prSet/>
      <dgm:spPr/>
      <dgm:t>
        <a:bodyPr/>
        <a:lstStyle/>
        <a:p>
          <a:endParaRPr lang="en-US"/>
        </a:p>
      </dgm:t>
    </dgm:pt>
    <dgm:pt modelId="{32BFCE23-CACB-4BAC-9396-91B12F6DFBA7}" type="sibTrans" cxnId="{245674ED-6B22-4C31-97D7-0FB63B7EB25C}">
      <dgm:prSet/>
      <dgm:spPr>
        <a:solidFill>
          <a:schemeClr val="tx1">
            <a:lumMod val="50000"/>
            <a:lumOff val="50000"/>
          </a:schemeClr>
        </a:solidFill>
      </dgm:spPr>
      <dgm:t>
        <a:bodyPr/>
        <a:lstStyle/>
        <a:p>
          <a:endParaRPr lang="en-US"/>
        </a:p>
      </dgm:t>
    </dgm:pt>
    <dgm:pt modelId="{F83289A8-9306-490E-B0CC-4C4053ADF858}">
      <dgm:prSet phldrT="[Text]" custT="1"/>
      <dgm:spPr>
        <a:solidFill>
          <a:schemeClr val="accent4"/>
        </a:solidFill>
        <a:ln>
          <a:noFill/>
        </a:ln>
      </dgm:spPr>
      <dgm:t>
        <a:bodyPr/>
        <a:lstStyle/>
        <a:p>
          <a:r>
            <a:rPr lang="en-US" sz="900" dirty="0" smtClean="0"/>
            <a:t>Deployment – Production</a:t>
          </a:r>
          <a:endParaRPr lang="en-US" sz="900" dirty="0"/>
        </a:p>
      </dgm:t>
    </dgm:pt>
    <dgm:pt modelId="{0D525162-730F-47CA-A7E4-BD772A86EEE9}" type="parTrans" cxnId="{52A8CA28-B741-4D34-9589-6E498E64E742}">
      <dgm:prSet/>
      <dgm:spPr/>
      <dgm:t>
        <a:bodyPr/>
        <a:lstStyle/>
        <a:p>
          <a:endParaRPr lang="en-US"/>
        </a:p>
      </dgm:t>
    </dgm:pt>
    <dgm:pt modelId="{F6C80EDB-E3A4-45B5-B30F-984A993975C6}" type="sibTrans" cxnId="{52A8CA28-B741-4D34-9589-6E498E64E742}">
      <dgm:prSet/>
      <dgm:spPr>
        <a:solidFill>
          <a:schemeClr val="tx1">
            <a:lumMod val="50000"/>
            <a:lumOff val="50000"/>
          </a:schemeClr>
        </a:solidFill>
      </dgm:spPr>
      <dgm:t>
        <a:bodyPr/>
        <a:lstStyle/>
        <a:p>
          <a:endParaRPr lang="en-US"/>
        </a:p>
      </dgm:t>
    </dgm:pt>
    <dgm:pt modelId="{B55A334A-32D7-4815-BEAC-C5617F56BF7E}">
      <dgm:prSet phldrT="[Text]" custT="1"/>
      <dgm:spPr>
        <a:solidFill>
          <a:schemeClr val="bg2"/>
        </a:solidFill>
        <a:ln>
          <a:noFill/>
        </a:ln>
      </dgm:spPr>
      <dgm:t>
        <a:bodyPr/>
        <a:lstStyle/>
        <a:p>
          <a:r>
            <a:rPr lang="en-US" sz="900" dirty="0" smtClean="0"/>
            <a:t>Monitoring</a:t>
          </a:r>
          <a:endParaRPr lang="en-US" sz="900" dirty="0"/>
        </a:p>
      </dgm:t>
    </dgm:pt>
    <dgm:pt modelId="{195971A1-7E37-4C83-A020-1379109DAEB1}" type="parTrans" cxnId="{402E7BE7-09FD-4117-8A11-E14DAF96F16D}">
      <dgm:prSet/>
      <dgm:spPr/>
      <dgm:t>
        <a:bodyPr/>
        <a:lstStyle/>
        <a:p>
          <a:endParaRPr lang="en-US"/>
        </a:p>
      </dgm:t>
    </dgm:pt>
    <dgm:pt modelId="{7FF30CD9-FB12-4C43-A294-99F48E60C536}" type="sibTrans" cxnId="{402E7BE7-09FD-4117-8A11-E14DAF96F16D}">
      <dgm:prSet/>
      <dgm:spPr/>
      <dgm:t>
        <a:bodyPr/>
        <a:lstStyle/>
        <a:p>
          <a:endParaRPr lang="en-US"/>
        </a:p>
      </dgm:t>
    </dgm:pt>
    <dgm:pt modelId="{CC219B65-9C10-4B15-9620-A0F17B12EAEF}">
      <dgm:prSet phldrT="[Text]" custT="1"/>
      <dgm:spPr>
        <a:solidFill>
          <a:schemeClr val="bg2"/>
        </a:solidFill>
        <a:ln>
          <a:noFill/>
        </a:ln>
      </dgm:spPr>
      <dgm:t>
        <a:bodyPr/>
        <a:lstStyle/>
        <a:p>
          <a:r>
            <a:rPr lang="en-US" sz="900" dirty="0" smtClean="0"/>
            <a:t>Requirement Management</a:t>
          </a:r>
          <a:endParaRPr lang="en-US" sz="900" dirty="0"/>
        </a:p>
      </dgm:t>
    </dgm:pt>
    <dgm:pt modelId="{A6E99459-E0B4-41A3-9891-91D01B67ADC5}" type="parTrans" cxnId="{3EC5E5B6-5FD2-4834-90D3-D2C1FB6FA5C1}">
      <dgm:prSet/>
      <dgm:spPr/>
      <dgm:t>
        <a:bodyPr/>
        <a:lstStyle/>
        <a:p>
          <a:endParaRPr lang="en-US"/>
        </a:p>
      </dgm:t>
    </dgm:pt>
    <dgm:pt modelId="{FDA29CFD-5F1F-43BC-A078-6D753895F6EC}" type="sibTrans" cxnId="{3EC5E5B6-5FD2-4834-90D3-D2C1FB6FA5C1}">
      <dgm:prSet/>
      <dgm:spPr>
        <a:solidFill>
          <a:schemeClr val="tx1">
            <a:lumMod val="50000"/>
            <a:lumOff val="50000"/>
          </a:schemeClr>
        </a:solidFill>
      </dgm:spPr>
      <dgm:t>
        <a:bodyPr/>
        <a:lstStyle/>
        <a:p>
          <a:endParaRPr lang="en-US"/>
        </a:p>
      </dgm:t>
    </dgm:pt>
    <dgm:pt modelId="{43C8D023-4A08-46DB-AFBD-6200159D864A}" type="pres">
      <dgm:prSet presAssocID="{80AF90E8-A1EA-4586-928D-0A2057E1CF18}" presName="Name0" presStyleCnt="0">
        <dgm:presLayoutVars>
          <dgm:dir/>
          <dgm:resizeHandles/>
        </dgm:presLayoutVars>
      </dgm:prSet>
      <dgm:spPr/>
      <dgm:t>
        <a:bodyPr/>
        <a:lstStyle/>
        <a:p>
          <a:endParaRPr lang="en-US"/>
        </a:p>
      </dgm:t>
    </dgm:pt>
    <dgm:pt modelId="{7CF6DC72-9EB1-4CE1-8062-055148110538}" type="pres">
      <dgm:prSet presAssocID="{E9F17FF9-84CB-4AA1-BBFD-68979FCDA9FF}" presName="compNode" presStyleCnt="0"/>
      <dgm:spPr/>
    </dgm:pt>
    <dgm:pt modelId="{AD9E0B91-5ADB-4817-A7F5-254540FCE215}" type="pres">
      <dgm:prSet presAssocID="{E9F17FF9-84CB-4AA1-BBFD-68979FCDA9FF}" presName="dummyConnPt" presStyleCnt="0"/>
      <dgm:spPr/>
    </dgm:pt>
    <dgm:pt modelId="{D8032C8F-07F8-49E7-971C-FCC8CFA0A309}" type="pres">
      <dgm:prSet presAssocID="{E9F17FF9-84CB-4AA1-BBFD-68979FCDA9FF}" presName="node" presStyleLbl="node1" presStyleIdx="0" presStyleCnt="22">
        <dgm:presLayoutVars>
          <dgm:bulletEnabled val="1"/>
        </dgm:presLayoutVars>
      </dgm:prSet>
      <dgm:spPr/>
      <dgm:t>
        <a:bodyPr/>
        <a:lstStyle/>
        <a:p>
          <a:endParaRPr lang="en-US"/>
        </a:p>
      </dgm:t>
    </dgm:pt>
    <dgm:pt modelId="{E9E1769E-B168-4CD8-BE69-23AD7E310373}" type="pres">
      <dgm:prSet presAssocID="{8CF5CB1E-B594-4492-81DF-BD90AD0D6918}" presName="sibTrans" presStyleLbl="bgSibTrans2D1" presStyleIdx="0" presStyleCnt="21"/>
      <dgm:spPr/>
      <dgm:t>
        <a:bodyPr/>
        <a:lstStyle/>
        <a:p>
          <a:endParaRPr lang="en-US"/>
        </a:p>
      </dgm:t>
    </dgm:pt>
    <dgm:pt modelId="{E793C0DA-AA69-48FD-9E70-F056E6010C5E}" type="pres">
      <dgm:prSet presAssocID="{85779212-6661-4725-AB42-F7048CC39118}" presName="compNode" presStyleCnt="0"/>
      <dgm:spPr/>
    </dgm:pt>
    <dgm:pt modelId="{B6FE7EB7-DA67-4353-9A8C-616C8E809188}" type="pres">
      <dgm:prSet presAssocID="{85779212-6661-4725-AB42-F7048CC39118}" presName="dummyConnPt" presStyleCnt="0"/>
      <dgm:spPr/>
    </dgm:pt>
    <dgm:pt modelId="{D3A94AF2-A702-4098-BBF8-E78BBA5F1D6D}" type="pres">
      <dgm:prSet presAssocID="{85779212-6661-4725-AB42-F7048CC39118}" presName="node" presStyleLbl="node1" presStyleIdx="1" presStyleCnt="22">
        <dgm:presLayoutVars>
          <dgm:bulletEnabled val="1"/>
        </dgm:presLayoutVars>
      </dgm:prSet>
      <dgm:spPr/>
      <dgm:t>
        <a:bodyPr/>
        <a:lstStyle/>
        <a:p>
          <a:endParaRPr lang="en-US"/>
        </a:p>
      </dgm:t>
    </dgm:pt>
    <dgm:pt modelId="{1C87ED88-6481-4D07-9F24-87B0AE319D5F}" type="pres">
      <dgm:prSet presAssocID="{2215B2C2-F53F-48D4-AAEB-E3661D91D79C}" presName="sibTrans" presStyleLbl="bgSibTrans2D1" presStyleIdx="1" presStyleCnt="21"/>
      <dgm:spPr/>
      <dgm:t>
        <a:bodyPr/>
        <a:lstStyle/>
        <a:p>
          <a:endParaRPr lang="en-US"/>
        </a:p>
      </dgm:t>
    </dgm:pt>
    <dgm:pt modelId="{72ADED6A-C79C-460A-B9BC-0E47F81582D7}" type="pres">
      <dgm:prSet presAssocID="{CC219B65-9C10-4B15-9620-A0F17B12EAEF}" presName="compNode" presStyleCnt="0"/>
      <dgm:spPr/>
    </dgm:pt>
    <dgm:pt modelId="{4C5AD02E-C3B9-49AC-A50B-79696A885476}" type="pres">
      <dgm:prSet presAssocID="{CC219B65-9C10-4B15-9620-A0F17B12EAEF}" presName="dummyConnPt" presStyleCnt="0"/>
      <dgm:spPr/>
    </dgm:pt>
    <dgm:pt modelId="{A7934C21-ADF7-422F-B47B-B5A5A9ACA79D}" type="pres">
      <dgm:prSet presAssocID="{CC219B65-9C10-4B15-9620-A0F17B12EAEF}" presName="node" presStyleLbl="node1" presStyleIdx="2" presStyleCnt="22">
        <dgm:presLayoutVars>
          <dgm:bulletEnabled val="1"/>
        </dgm:presLayoutVars>
      </dgm:prSet>
      <dgm:spPr/>
      <dgm:t>
        <a:bodyPr/>
        <a:lstStyle/>
        <a:p>
          <a:endParaRPr lang="en-US"/>
        </a:p>
      </dgm:t>
    </dgm:pt>
    <dgm:pt modelId="{57E7BDAE-DCE6-47E5-8E9C-B8C08ABA3F38}" type="pres">
      <dgm:prSet presAssocID="{FDA29CFD-5F1F-43BC-A078-6D753895F6EC}" presName="sibTrans" presStyleLbl="bgSibTrans2D1" presStyleIdx="2" presStyleCnt="21"/>
      <dgm:spPr/>
      <dgm:t>
        <a:bodyPr/>
        <a:lstStyle/>
        <a:p>
          <a:endParaRPr lang="en-US"/>
        </a:p>
      </dgm:t>
    </dgm:pt>
    <dgm:pt modelId="{6C5397E5-F3BE-4F32-B8C6-7C663A7DA65C}" type="pres">
      <dgm:prSet presAssocID="{849F1AF7-80F2-4D94-9C87-042462653019}" presName="compNode" presStyleCnt="0"/>
      <dgm:spPr/>
    </dgm:pt>
    <dgm:pt modelId="{87C329B3-7004-4E96-9B2D-E12FBD2E3381}" type="pres">
      <dgm:prSet presAssocID="{849F1AF7-80F2-4D94-9C87-042462653019}" presName="dummyConnPt" presStyleCnt="0"/>
      <dgm:spPr/>
    </dgm:pt>
    <dgm:pt modelId="{25792AB4-3AFD-4F68-897D-F8B7E034032A}" type="pres">
      <dgm:prSet presAssocID="{849F1AF7-80F2-4D94-9C87-042462653019}" presName="node" presStyleLbl="node1" presStyleIdx="3" presStyleCnt="22">
        <dgm:presLayoutVars>
          <dgm:bulletEnabled val="1"/>
        </dgm:presLayoutVars>
      </dgm:prSet>
      <dgm:spPr/>
      <dgm:t>
        <a:bodyPr/>
        <a:lstStyle/>
        <a:p>
          <a:endParaRPr lang="en-US"/>
        </a:p>
      </dgm:t>
    </dgm:pt>
    <dgm:pt modelId="{D5FA8DAC-FD33-47B2-AF30-E334B817887F}" type="pres">
      <dgm:prSet presAssocID="{7C2CE862-3CB4-48E1-8966-FEEE24307D57}" presName="sibTrans" presStyleLbl="bgSibTrans2D1" presStyleIdx="3" presStyleCnt="21"/>
      <dgm:spPr/>
      <dgm:t>
        <a:bodyPr/>
        <a:lstStyle/>
        <a:p>
          <a:endParaRPr lang="en-US"/>
        </a:p>
      </dgm:t>
    </dgm:pt>
    <dgm:pt modelId="{6122CEF0-EDE3-4782-957B-1C2FA1576804}" type="pres">
      <dgm:prSet presAssocID="{1BA9C312-3FC6-492C-A4A5-D1F5D3C47968}" presName="compNode" presStyleCnt="0"/>
      <dgm:spPr/>
    </dgm:pt>
    <dgm:pt modelId="{C8C5E3A7-3FBD-4B24-BDDB-61B9A92D124D}" type="pres">
      <dgm:prSet presAssocID="{1BA9C312-3FC6-492C-A4A5-D1F5D3C47968}" presName="dummyConnPt" presStyleCnt="0"/>
      <dgm:spPr/>
    </dgm:pt>
    <dgm:pt modelId="{4E9A9EE7-92C5-4699-8669-56116A772C24}" type="pres">
      <dgm:prSet presAssocID="{1BA9C312-3FC6-492C-A4A5-D1F5D3C47968}" presName="node" presStyleLbl="node1" presStyleIdx="4" presStyleCnt="22">
        <dgm:presLayoutVars>
          <dgm:bulletEnabled val="1"/>
        </dgm:presLayoutVars>
      </dgm:prSet>
      <dgm:spPr/>
      <dgm:t>
        <a:bodyPr/>
        <a:lstStyle/>
        <a:p>
          <a:endParaRPr lang="en-US"/>
        </a:p>
      </dgm:t>
    </dgm:pt>
    <dgm:pt modelId="{F524A3C2-2F47-4EC7-9192-FF87140744A2}" type="pres">
      <dgm:prSet presAssocID="{DFF57308-0DD1-475E-B2FA-E31BBB6A0860}" presName="sibTrans" presStyleLbl="bgSibTrans2D1" presStyleIdx="4" presStyleCnt="21"/>
      <dgm:spPr/>
      <dgm:t>
        <a:bodyPr/>
        <a:lstStyle/>
        <a:p>
          <a:endParaRPr lang="en-US"/>
        </a:p>
      </dgm:t>
    </dgm:pt>
    <dgm:pt modelId="{391FC91B-3709-4F26-A4A5-BD05E57ACFA2}" type="pres">
      <dgm:prSet presAssocID="{3930EB36-6FDA-44CB-ABCF-988A9BA436E3}" presName="compNode" presStyleCnt="0"/>
      <dgm:spPr/>
    </dgm:pt>
    <dgm:pt modelId="{C3F51335-5D30-4D81-A83F-639D9F307E07}" type="pres">
      <dgm:prSet presAssocID="{3930EB36-6FDA-44CB-ABCF-988A9BA436E3}" presName="dummyConnPt" presStyleCnt="0"/>
      <dgm:spPr/>
    </dgm:pt>
    <dgm:pt modelId="{4857B1DA-2507-499A-A5D5-C0764C8CAA3E}" type="pres">
      <dgm:prSet presAssocID="{3930EB36-6FDA-44CB-ABCF-988A9BA436E3}" presName="node" presStyleLbl="node1" presStyleIdx="5" presStyleCnt="22">
        <dgm:presLayoutVars>
          <dgm:bulletEnabled val="1"/>
        </dgm:presLayoutVars>
      </dgm:prSet>
      <dgm:spPr/>
      <dgm:t>
        <a:bodyPr/>
        <a:lstStyle/>
        <a:p>
          <a:endParaRPr lang="en-US"/>
        </a:p>
      </dgm:t>
    </dgm:pt>
    <dgm:pt modelId="{49E3A27E-2060-4282-930E-AB4FCEE55EDC}" type="pres">
      <dgm:prSet presAssocID="{F3DCA773-1244-4B9A-9ED9-C0FDC19BC45E}" presName="sibTrans" presStyleLbl="bgSibTrans2D1" presStyleIdx="5" presStyleCnt="21"/>
      <dgm:spPr/>
      <dgm:t>
        <a:bodyPr/>
        <a:lstStyle/>
        <a:p>
          <a:endParaRPr lang="en-US"/>
        </a:p>
      </dgm:t>
    </dgm:pt>
    <dgm:pt modelId="{6A222A9C-1BE9-4CFF-BF72-D69C0110133F}" type="pres">
      <dgm:prSet presAssocID="{ADF668AF-3E12-4B37-BBC6-0A6519A77140}" presName="compNode" presStyleCnt="0"/>
      <dgm:spPr/>
    </dgm:pt>
    <dgm:pt modelId="{9DCA24C9-AC31-443A-B417-F995E4531B81}" type="pres">
      <dgm:prSet presAssocID="{ADF668AF-3E12-4B37-BBC6-0A6519A77140}" presName="dummyConnPt" presStyleCnt="0"/>
      <dgm:spPr/>
    </dgm:pt>
    <dgm:pt modelId="{E035CB83-BBB4-4446-A112-13AF53CB77D8}" type="pres">
      <dgm:prSet presAssocID="{ADF668AF-3E12-4B37-BBC6-0A6519A77140}" presName="node" presStyleLbl="node1" presStyleIdx="6" presStyleCnt="22">
        <dgm:presLayoutVars>
          <dgm:bulletEnabled val="1"/>
        </dgm:presLayoutVars>
      </dgm:prSet>
      <dgm:spPr/>
      <dgm:t>
        <a:bodyPr/>
        <a:lstStyle/>
        <a:p>
          <a:endParaRPr lang="en-US"/>
        </a:p>
      </dgm:t>
    </dgm:pt>
    <dgm:pt modelId="{B630B3E9-C976-4814-8F94-C0C4A230ADBF}" type="pres">
      <dgm:prSet presAssocID="{588DFA08-AA0A-4B91-9359-5C2C4488A330}" presName="sibTrans" presStyleLbl="bgSibTrans2D1" presStyleIdx="6" presStyleCnt="21"/>
      <dgm:spPr/>
      <dgm:t>
        <a:bodyPr/>
        <a:lstStyle/>
        <a:p>
          <a:endParaRPr lang="en-US"/>
        </a:p>
      </dgm:t>
    </dgm:pt>
    <dgm:pt modelId="{A97FF797-8A3F-4914-893E-02097BE29E8A}" type="pres">
      <dgm:prSet presAssocID="{37FE08DE-1395-40CA-9A0B-525CD6B5E831}" presName="compNode" presStyleCnt="0"/>
      <dgm:spPr/>
    </dgm:pt>
    <dgm:pt modelId="{5A65044A-DFA8-4F7D-A6E0-956032BCAD27}" type="pres">
      <dgm:prSet presAssocID="{37FE08DE-1395-40CA-9A0B-525CD6B5E831}" presName="dummyConnPt" presStyleCnt="0"/>
      <dgm:spPr/>
    </dgm:pt>
    <dgm:pt modelId="{D9FD8211-2BCA-47BB-831A-240575A82F59}" type="pres">
      <dgm:prSet presAssocID="{37FE08DE-1395-40CA-9A0B-525CD6B5E831}" presName="node" presStyleLbl="node1" presStyleIdx="7" presStyleCnt="22">
        <dgm:presLayoutVars>
          <dgm:bulletEnabled val="1"/>
        </dgm:presLayoutVars>
      </dgm:prSet>
      <dgm:spPr/>
      <dgm:t>
        <a:bodyPr/>
        <a:lstStyle/>
        <a:p>
          <a:endParaRPr lang="en-US"/>
        </a:p>
      </dgm:t>
    </dgm:pt>
    <dgm:pt modelId="{102024F8-46FB-49EA-846C-1146B6011A6D}" type="pres">
      <dgm:prSet presAssocID="{57271963-C7A4-4669-BFA6-3618812B92AB}" presName="sibTrans" presStyleLbl="bgSibTrans2D1" presStyleIdx="7" presStyleCnt="21"/>
      <dgm:spPr/>
      <dgm:t>
        <a:bodyPr/>
        <a:lstStyle/>
        <a:p>
          <a:endParaRPr lang="en-US"/>
        </a:p>
      </dgm:t>
    </dgm:pt>
    <dgm:pt modelId="{A2E1DB04-E89C-43B1-B7EE-58212005BA3D}" type="pres">
      <dgm:prSet presAssocID="{3738A1B5-90CF-463A-8275-7F3A4F3727AB}" presName="compNode" presStyleCnt="0"/>
      <dgm:spPr/>
    </dgm:pt>
    <dgm:pt modelId="{C51202BA-B9DC-45F2-AD89-03FEC7060355}" type="pres">
      <dgm:prSet presAssocID="{3738A1B5-90CF-463A-8275-7F3A4F3727AB}" presName="dummyConnPt" presStyleCnt="0"/>
      <dgm:spPr/>
    </dgm:pt>
    <dgm:pt modelId="{5EA1F8C6-C86C-4503-BC0D-7BD03573E398}" type="pres">
      <dgm:prSet presAssocID="{3738A1B5-90CF-463A-8275-7F3A4F3727AB}" presName="node" presStyleLbl="node1" presStyleIdx="8" presStyleCnt="22">
        <dgm:presLayoutVars>
          <dgm:bulletEnabled val="1"/>
        </dgm:presLayoutVars>
      </dgm:prSet>
      <dgm:spPr/>
      <dgm:t>
        <a:bodyPr/>
        <a:lstStyle/>
        <a:p>
          <a:endParaRPr lang="en-US"/>
        </a:p>
      </dgm:t>
    </dgm:pt>
    <dgm:pt modelId="{26601E23-47AA-4256-A218-A825457954F3}" type="pres">
      <dgm:prSet presAssocID="{83DCAC2A-0010-44F2-ABC6-53BAD1DF01BB}" presName="sibTrans" presStyleLbl="bgSibTrans2D1" presStyleIdx="8" presStyleCnt="21"/>
      <dgm:spPr/>
      <dgm:t>
        <a:bodyPr/>
        <a:lstStyle/>
        <a:p>
          <a:endParaRPr lang="en-US"/>
        </a:p>
      </dgm:t>
    </dgm:pt>
    <dgm:pt modelId="{C23A43D7-A0F1-4C9A-B826-4C0CBDCEC267}" type="pres">
      <dgm:prSet presAssocID="{5F563FDF-68E0-4532-A238-F2B4F40D514C}" presName="compNode" presStyleCnt="0"/>
      <dgm:spPr/>
    </dgm:pt>
    <dgm:pt modelId="{8846A12C-1553-4F83-8C62-8EBCEA55074C}" type="pres">
      <dgm:prSet presAssocID="{5F563FDF-68E0-4532-A238-F2B4F40D514C}" presName="dummyConnPt" presStyleCnt="0"/>
      <dgm:spPr/>
    </dgm:pt>
    <dgm:pt modelId="{1B50BFC0-B4D6-4BC3-B5E4-CF59BDFABE2A}" type="pres">
      <dgm:prSet presAssocID="{5F563FDF-68E0-4532-A238-F2B4F40D514C}" presName="node" presStyleLbl="node1" presStyleIdx="9" presStyleCnt="22">
        <dgm:presLayoutVars>
          <dgm:bulletEnabled val="1"/>
        </dgm:presLayoutVars>
      </dgm:prSet>
      <dgm:spPr/>
      <dgm:t>
        <a:bodyPr/>
        <a:lstStyle/>
        <a:p>
          <a:endParaRPr lang="en-US"/>
        </a:p>
      </dgm:t>
    </dgm:pt>
    <dgm:pt modelId="{3C2DD09D-26A9-46AC-84EB-C215991B44BB}" type="pres">
      <dgm:prSet presAssocID="{2E6F1F50-D4EB-4BC1-8C05-7F4BB60E1095}" presName="sibTrans" presStyleLbl="bgSibTrans2D1" presStyleIdx="9" presStyleCnt="21"/>
      <dgm:spPr/>
      <dgm:t>
        <a:bodyPr/>
        <a:lstStyle/>
        <a:p>
          <a:endParaRPr lang="en-US"/>
        </a:p>
      </dgm:t>
    </dgm:pt>
    <dgm:pt modelId="{71078D0E-936B-46A5-9160-4F8666DDCB8F}" type="pres">
      <dgm:prSet presAssocID="{5A340EBB-0CD1-4298-95DA-27F72796D99F}" presName="compNode" presStyleCnt="0"/>
      <dgm:spPr/>
    </dgm:pt>
    <dgm:pt modelId="{21680056-C4D9-4771-912A-68D1D1FD5A4E}" type="pres">
      <dgm:prSet presAssocID="{5A340EBB-0CD1-4298-95DA-27F72796D99F}" presName="dummyConnPt" presStyleCnt="0"/>
      <dgm:spPr/>
    </dgm:pt>
    <dgm:pt modelId="{A68F451B-07D1-4CC8-8C09-0A6CFF49BCE8}" type="pres">
      <dgm:prSet presAssocID="{5A340EBB-0CD1-4298-95DA-27F72796D99F}" presName="node" presStyleLbl="node1" presStyleIdx="10" presStyleCnt="22">
        <dgm:presLayoutVars>
          <dgm:bulletEnabled val="1"/>
        </dgm:presLayoutVars>
      </dgm:prSet>
      <dgm:spPr/>
      <dgm:t>
        <a:bodyPr/>
        <a:lstStyle/>
        <a:p>
          <a:endParaRPr lang="en-US"/>
        </a:p>
      </dgm:t>
    </dgm:pt>
    <dgm:pt modelId="{EE1B6901-BA8E-4105-96F4-42FA568E72BE}" type="pres">
      <dgm:prSet presAssocID="{9605F4AE-7274-4589-894C-1B1A3A565BF5}" presName="sibTrans" presStyleLbl="bgSibTrans2D1" presStyleIdx="10" presStyleCnt="21"/>
      <dgm:spPr/>
      <dgm:t>
        <a:bodyPr/>
        <a:lstStyle/>
        <a:p>
          <a:endParaRPr lang="en-US"/>
        </a:p>
      </dgm:t>
    </dgm:pt>
    <dgm:pt modelId="{E1A51B93-D496-444F-A156-CAF74E809076}" type="pres">
      <dgm:prSet presAssocID="{239473F6-9DFA-4CBB-B80C-93A081707E6A}" presName="compNode" presStyleCnt="0"/>
      <dgm:spPr/>
    </dgm:pt>
    <dgm:pt modelId="{D95F7B6E-C843-4412-AD1C-14CA2FC5923C}" type="pres">
      <dgm:prSet presAssocID="{239473F6-9DFA-4CBB-B80C-93A081707E6A}" presName="dummyConnPt" presStyleCnt="0"/>
      <dgm:spPr/>
    </dgm:pt>
    <dgm:pt modelId="{1B96307D-B72E-46CA-99C3-DF4964887F61}" type="pres">
      <dgm:prSet presAssocID="{239473F6-9DFA-4CBB-B80C-93A081707E6A}" presName="node" presStyleLbl="node1" presStyleIdx="11" presStyleCnt="22">
        <dgm:presLayoutVars>
          <dgm:bulletEnabled val="1"/>
        </dgm:presLayoutVars>
      </dgm:prSet>
      <dgm:spPr/>
      <dgm:t>
        <a:bodyPr/>
        <a:lstStyle/>
        <a:p>
          <a:endParaRPr lang="en-US"/>
        </a:p>
      </dgm:t>
    </dgm:pt>
    <dgm:pt modelId="{6C96EEF3-BDD2-46B0-9775-DB0AD7122BCA}" type="pres">
      <dgm:prSet presAssocID="{CB3E1638-FD94-40EE-8343-708E939E8EA2}" presName="sibTrans" presStyleLbl="bgSibTrans2D1" presStyleIdx="11" presStyleCnt="21"/>
      <dgm:spPr/>
      <dgm:t>
        <a:bodyPr/>
        <a:lstStyle/>
        <a:p>
          <a:endParaRPr lang="en-US"/>
        </a:p>
      </dgm:t>
    </dgm:pt>
    <dgm:pt modelId="{6FBB79D9-3544-408E-8CD8-6C318341500A}" type="pres">
      <dgm:prSet presAssocID="{3341D280-779C-4D0C-A39C-F0051812E018}" presName="compNode" presStyleCnt="0"/>
      <dgm:spPr/>
    </dgm:pt>
    <dgm:pt modelId="{533E4288-8719-46AC-A924-EF3C8C5C8D40}" type="pres">
      <dgm:prSet presAssocID="{3341D280-779C-4D0C-A39C-F0051812E018}" presName="dummyConnPt" presStyleCnt="0"/>
      <dgm:spPr/>
    </dgm:pt>
    <dgm:pt modelId="{B428A3B2-862D-4B94-BDCF-12B1A0C11E4D}" type="pres">
      <dgm:prSet presAssocID="{3341D280-779C-4D0C-A39C-F0051812E018}" presName="node" presStyleLbl="node1" presStyleIdx="12" presStyleCnt="22">
        <dgm:presLayoutVars>
          <dgm:bulletEnabled val="1"/>
        </dgm:presLayoutVars>
      </dgm:prSet>
      <dgm:spPr/>
      <dgm:t>
        <a:bodyPr/>
        <a:lstStyle/>
        <a:p>
          <a:endParaRPr lang="en-US"/>
        </a:p>
      </dgm:t>
    </dgm:pt>
    <dgm:pt modelId="{F6FC2ECE-CFEF-4937-9FA9-7386B67A1865}" type="pres">
      <dgm:prSet presAssocID="{E446F138-EBED-4CF1-9103-188FE94E650D}" presName="sibTrans" presStyleLbl="bgSibTrans2D1" presStyleIdx="12" presStyleCnt="21"/>
      <dgm:spPr/>
      <dgm:t>
        <a:bodyPr/>
        <a:lstStyle/>
        <a:p>
          <a:endParaRPr lang="en-US"/>
        </a:p>
      </dgm:t>
    </dgm:pt>
    <dgm:pt modelId="{14F0E3BB-2CCD-448D-963D-3688A898D237}" type="pres">
      <dgm:prSet presAssocID="{126F406E-6F8A-49A3-979C-4B0D96D833E5}" presName="compNode" presStyleCnt="0"/>
      <dgm:spPr/>
    </dgm:pt>
    <dgm:pt modelId="{446B60AE-F23C-4035-881C-0AFE6A5756DC}" type="pres">
      <dgm:prSet presAssocID="{126F406E-6F8A-49A3-979C-4B0D96D833E5}" presName="dummyConnPt" presStyleCnt="0"/>
      <dgm:spPr/>
    </dgm:pt>
    <dgm:pt modelId="{D46D306B-4D14-46FF-9643-9239C46D8CAC}" type="pres">
      <dgm:prSet presAssocID="{126F406E-6F8A-49A3-979C-4B0D96D833E5}" presName="node" presStyleLbl="node1" presStyleIdx="13" presStyleCnt="22">
        <dgm:presLayoutVars>
          <dgm:bulletEnabled val="1"/>
        </dgm:presLayoutVars>
      </dgm:prSet>
      <dgm:spPr/>
      <dgm:t>
        <a:bodyPr/>
        <a:lstStyle/>
        <a:p>
          <a:endParaRPr lang="en-US"/>
        </a:p>
      </dgm:t>
    </dgm:pt>
    <dgm:pt modelId="{336F546F-1FDC-4E18-95BF-FE0101C6AA07}" type="pres">
      <dgm:prSet presAssocID="{958EC8D5-2E09-4E39-8BCC-89A628BFA8D6}" presName="sibTrans" presStyleLbl="bgSibTrans2D1" presStyleIdx="13" presStyleCnt="21"/>
      <dgm:spPr/>
      <dgm:t>
        <a:bodyPr/>
        <a:lstStyle/>
        <a:p>
          <a:endParaRPr lang="en-US"/>
        </a:p>
      </dgm:t>
    </dgm:pt>
    <dgm:pt modelId="{BD498463-E07A-435B-B5E6-4BAAA18A372E}" type="pres">
      <dgm:prSet presAssocID="{9E968A82-C2C9-4708-8C57-1EDF4EDF7FAA}" presName="compNode" presStyleCnt="0"/>
      <dgm:spPr/>
    </dgm:pt>
    <dgm:pt modelId="{355AAA7F-3BF3-4C38-BD80-872636B0FC73}" type="pres">
      <dgm:prSet presAssocID="{9E968A82-C2C9-4708-8C57-1EDF4EDF7FAA}" presName="dummyConnPt" presStyleCnt="0"/>
      <dgm:spPr/>
    </dgm:pt>
    <dgm:pt modelId="{865CC9CB-4D1A-4BBD-89CB-C6A0A3D909BD}" type="pres">
      <dgm:prSet presAssocID="{9E968A82-C2C9-4708-8C57-1EDF4EDF7FAA}" presName="node" presStyleLbl="node1" presStyleIdx="14" presStyleCnt="22">
        <dgm:presLayoutVars>
          <dgm:bulletEnabled val="1"/>
        </dgm:presLayoutVars>
      </dgm:prSet>
      <dgm:spPr/>
      <dgm:t>
        <a:bodyPr/>
        <a:lstStyle/>
        <a:p>
          <a:endParaRPr lang="en-US"/>
        </a:p>
      </dgm:t>
    </dgm:pt>
    <dgm:pt modelId="{71178B63-9DA7-4EB2-B893-CB8B1DDC5504}" type="pres">
      <dgm:prSet presAssocID="{1033E4E2-0E1D-4720-83E1-31115BA38D7F}" presName="sibTrans" presStyleLbl="bgSibTrans2D1" presStyleIdx="14" presStyleCnt="21"/>
      <dgm:spPr/>
      <dgm:t>
        <a:bodyPr/>
        <a:lstStyle/>
        <a:p>
          <a:endParaRPr lang="en-US"/>
        </a:p>
      </dgm:t>
    </dgm:pt>
    <dgm:pt modelId="{0743C31E-A2CB-493A-A8DF-8F51DA863E01}" type="pres">
      <dgm:prSet presAssocID="{4D86363D-FCDF-405A-A7D2-DF82B39338D2}" presName="compNode" presStyleCnt="0"/>
      <dgm:spPr/>
    </dgm:pt>
    <dgm:pt modelId="{045FEA87-D9C2-4D10-843C-930A5F98A373}" type="pres">
      <dgm:prSet presAssocID="{4D86363D-FCDF-405A-A7D2-DF82B39338D2}" presName="dummyConnPt" presStyleCnt="0"/>
      <dgm:spPr/>
    </dgm:pt>
    <dgm:pt modelId="{032526AA-CA4F-47A6-8833-CC4E299DB417}" type="pres">
      <dgm:prSet presAssocID="{4D86363D-FCDF-405A-A7D2-DF82B39338D2}" presName="node" presStyleLbl="node1" presStyleIdx="15" presStyleCnt="22">
        <dgm:presLayoutVars>
          <dgm:bulletEnabled val="1"/>
        </dgm:presLayoutVars>
      </dgm:prSet>
      <dgm:spPr/>
      <dgm:t>
        <a:bodyPr/>
        <a:lstStyle/>
        <a:p>
          <a:endParaRPr lang="en-US"/>
        </a:p>
      </dgm:t>
    </dgm:pt>
    <dgm:pt modelId="{9B25D534-E41D-4E66-9ABC-EB6CCB037EBF}" type="pres">
      <dgm:prSet presAssocID="{ECAFCB15-B4D1-453D-90E4-AA983B48832A}" presName="sibTrans" presStyleLbl="bgSibTrans2D1" presStyleIdx="15" presStyleCnt="21"/>
      <dgm:spPr/>
      <dgm:t>
        <a:bodyPr/>
        <a:lstStyle/>
        <a:p>
          <a:endParaRPr lang="en-US"/>
        </a:p>
      </dgm:t>
    </dgm:pt>
    <dgm:pt modelId="{CCC07B11-DE30-4D37-9E33-7B3F122D2E49}" type="pres">
      <dgm:prSet presAssocID="{9DD5A6BA-862F-4A08-93A2-7D63C651E05C}" presName="compNode" presStyleCnt="0"/>
      <dgm:spPr/>
    </dgm:pt>
    <dgm:pt modelId="{B1C23F8D-A0D2-465F-8A49-2D9214C7064B}" type="pres">
      <dgm:prSet presAssocID="{9DD5A6BA-862F-4A08-93A2-7D63C651E05C}" presName="dummyConnPt" presStyleCnt="0"/>
      <dgm:spPr/>
    </dgm:pt>
    <dgm:pt modelId="{E85740BD-7D7E-4766-A8DC-1A35B1C1FEC9}" type="pres">
      <dgm:prSet presAssocID="{9DD5A6BA-862F-4A08-93A2-7D63C651E05C}" presName="node" presStyleLbl="node1" presStyleIdx="16" presStyleCnt="22">
        <dgm:presLayoutVars>
          <dgm:bulletEnabled val="1"/>
        </dgm:presLayoutVars>
      </dgm:prSet>
      <dgm:spPr/>
      <dgm:t>
        <a:bodyPr/>
        <a:lstStyle/>
        <a:p>
          <a:endParaRPr lang="en-US"/>
        </a:p>
      </dgm:t>
    </dgm:pt>
    <dgm:pt modelId="{89D00D1F-943B-48DA-A8FD-AC043957EA6D}" type="pres">
      <dgm:prSet presAssocID="{30E84380-30DC-4FA7-8248-189A4FD5B85B}" presName="sibTrans" presStyleLbl="bgSibTrans2D1" presStyleIdx="16" presStyleCnt="21"/>
      <dgm:spPr/>
      <dgm:t>
        <a:bodyPr/>
        <a:lstStyle/>
        <a:p>
          <a:endParaRPr lang="en-US"/>
        </a:p>
      </dgm:t>
    </dgm:pt>
    <dgm:pt modelId="{DE01F387-6F26-481B-893B-A7B2038622EE}" type="pres">
      <dgm:prSet presAssocID="{B23BB066-8472-44EB-B86D-AA6CC44B4FC0}" presName="compNode" presStyleCnt="0"/>
      <dgm:spPr/>
    </dgm:pt>
    <dgm:pt modelId="{486799BC-36A2-4D59-815C-A49F4DD3A69C}" type="pres">
      <dgm:prSet presAssocID="{B23BB066-8472-44EB-B86D-AA6CC44B4FC0}" presName="dummyConnPt" presStyleCnt="0"/>
      <dgm:spPr/>
    </dgm:pt>
    <dgm:pt modelId="{37C0B14A-2A81-4DA6-A4DE-8B0C0FD97FC1}" type="pres">
      <dgm:prSet presAssocID="{B23BB066-8472-44EB-B86D-AA6CC44B4FC0}" presName="node" presStyleLbl="node1" presStyleIdx="17" presStyleCnt="22">
        <dgm:presLayoutVars>
          <dgm:bulletEnabled val="1"/>
        </dgm:presLayoutVars>
      </dgm:prSet>
      <dgm:spPr/>
      <dgm:t>
        <a:bodyPr/>
        <a:lstStyle/>
        <a:p>
          <a:endParaRPr lang="en-US"/>
        </a:p>
      </dgm:t>
    </dgm:pt>
    <dgm:pt modelId="{A1C00C4B-A7DA-42E9-8FF6-0516DAF3992D}" type="pres">
      <dgm:prSet presAssocID="{CB760776-D8BE-4281-B64D-797A4660DBCA}" presName="sibTrans" presStyleLbl="bgSibTrans2D1" presStyleIdx="17" presStyleCnt="21"/>
      <dgm:spPr/>
      <dgm:t>
        <a:bodyPr/>
        <a:lstStyle/>
        <a:p>
          <a:endParaRPr lang="en-US"/>
        </a:p>
      </dgm:t>
    </dgm:pt>
    <dgm:pt modelId="{E43C59BA-DBEA-4CF3-88EB-510F1480E057}" type="pres">
      <dgm:prSet presAssocID="{39DEF6C6-E8FB-4ECE-ACD4-2E49036603D1}" presName="compNode" presStyleCnt="0"/>
      <dgm:spPr/>
    </dgm:pt>
    <dgm:pt modelId="{CB540A9B-E176-4615-BEA3-3F0C4A4D176D}" type="pres">
      <dgm:prSet presAssocID="{39DEF6C6-E8FB-4ECE-ACD4-2E49036603D1}" presName="dummyConnPt" presStyleCnt="0"/>
      <dgm:spPr/>
    </dgm:pt>
    <dgm:pt modelId="{944E00CC-E210-4FBC-BC90-6DD58207E1A0}" type="pres">
      <dgm:prSet presAssocID="{39DEF6C6-E8FB-4ECE-ACD4-2E49036603D1}" presName="node" presStyleLbl="node1" presStyleIdx="18" presStyleCnt="22">
        <dgm:presLayoutVars>
          <dgm:bulletEnabled val="1"/>
        </dgm:presLayoutVars>
      </dgm:prSet>
      <dgm:spPr/>
      <dgm:t>
        <a:bodyPr/>
        <a:lstStyle/>
        <a:p>
          <a:endParaRPr lang="en-US"/>
        </a:p>
      </dgm:t>
    </dgm:pt>
    <dgm:pt modelId="{BB525EF4-11CA-4AF0-9D05-0890477F605B}" type="pres">
      <dgm:prSet presAssocID="{38CC07E6-E536-40AC-A8C1-C3B8006F5027}" presName="sibTrans" presStyleLbl="bgSibTrans2D1" presStyleIdx="18" presStyleCnt="21"/>
      <dgm:spPr/>
      <dgm:t>
        <a:bodyPr/>
        <a:lstStyle/>
        <a:p>
          <a:endParaRPr lang="en-US"/>
        </a:p>
      </dgm:t>
    </dgm:pt>
    <dgm:pt modelId="{CC1DC260-BE15-4F47-87F2-8C3EEC978AF9}" type="pres">
      <dgm:prSet presAssocID="{B0791259-9104-4F93-B8AD-DAEF5DF1EA80}" presName="compNode" presStyleCnt="0"/>
      <dgm:spPr/>
    </dgm:pt>
    <dgm:pt modelId="{47ED8017-C136-45AF-AB20-EBF3191025AD}" type="pres">
      <dgm:prSet presAssocID="{B0791259-9104-4F93-B8AD-DAEF5DF1EA80}" presName="dummyConnPt" presStyleCnt="0"/>
      <dgm:spPr/>
    </dgm:pt>
    <dgm:pt modelId="{AB49DBB2-8BF6-48D2-AD6B-E4C56A5DA215}" type="pres">
      <dgm:prSet presAssocID="{B0791259-9104-4F93-B8AD-DAEF5DF1EA80}" presName="node" presStyleLbl="node1" presStyleIdx="19" presStyleCnt="22">
        <dgm:presLayoutVars>
          <dgm:bulletEnabled val="1"/>
        </dgm:presLayoutVars>
      </dgm:prSet>
      <dgm:spPr/>
      <dgm:t>
        <a:bodyPr/>
        <a:lstStyle/>
        <a:p>
          <a:endParaRPr lang="en-US"/>
        </a:p>
      </dgm:t>
    </dgm:pt>
    <dgm:pt modelId="{8AEDD5ED-C456-404E-A0C1-9FCD061445C8}" type="pres">
      <dgm:prSet presAssocID="{32BFCE23-CACB-4BAC-9396-91B12F6DFBA7}" presName="sibTrans" presStyleLbl="bgSibTrans2D1" presStyleIdx="19" presStyleCnt="21"/>
      <dgm:spPr/>
      <dgm:t>
        <a:bodyPr/>
        <a:lstStyle/>
        <a:p>
          <a:endParaRPr lang="en-US"/>
        </a:p>
      </dgm:t>
    </dgm:pt>
    <dgm:pt modelId="{841806DD-7523-4B3F-AB4C-B3A82D8547BD}" type="pres">
      <dgm:prSet presAssocID="{F83289A8-9306-490E-B0CC-4C4053ADF858}" presName="compNode" presStyleCnt="0"/>
      <dgm:spPr/>
    </dgm:pt>
    <dgm:pt modelId="{36102350-1BEA-4C65-837B-1A66EC1B7B5D}" type="pres">
      <dgm:prSet presAssocID="{F83289A8-9306-490E-B0CC-4C4053ADF858}" presName="dummyConnPt" presStyleCnt="0"/>
      <dgm:spPr/>
    </dgm:pt>
    <dgm:pt modelId="{C50EEFDE-E4D4-43BF-B3E0-15EBCF9D5439}" type="pres">
      <dgm:prSet presAssocID="{F83289A8-9306-490E-B0CC-4C4053ADF858}" presName="node" presStyleLbl="node1" presStyleIdx="20" presStyleCnt="22">
        <dgm:presLayoutVars>
          <dgm:bulletEnabled val="1"/>
        </dgm:presLayoutVars>
      </dgm:prSet>
      <dgm:spPr/>
      <dgm:t>
        <a:bodyPr/>
        <a:lstStyle/>
        <a:p>
          <a:endParaRPr lang="en-US"/>
        </a:p>
      </dgm:t>
    </dgm:pt>
    <dgm:pt modelId="{FC461A49-6E8A-4765-BDC6-DF366118A9DB}" type="pres">
      <dgm:prSet presAssocID="{F6C80EDB-E3A4-45B5-B30F-984A993975C6}" presName="sibTrans" presStyleLbl="bgSibTrans2D1" presStyleIdx="20" presStyleCnt="21"/>
      <dgm:spPr/>
      <dgm:t>
        <a:bodyPr/>
        <a:lstStyle/>
        <a:p>
          <a:endParaRPr lang="en-US"/>
        </a:p>
      </dgm:t>
    </dgm:pt>
    <dgm:pt modelId="{A22ECE52-F2AE-43AB-9100-6F167B8A373B}" type="pres">
      <dgm:prSet presAssocID="{B55A334A-32D7-4815-BEAC-C5617F56BF7E}" presName="compNode" presStyleCnt="0"/>
      <dgm:spPr/>
    </dgm:pt>
    <dgm:pt modelId="{11463E47-5635-4402-9E35-D2128D49955F}" type="pres">
      <dgm:prSet presAssocID="{B55A334A-32D7-4815-BEAC-C5617F56BF7E}" presName="dummyConnPt" presStyleCnt="0"/>
      <dgm:spPr/>
    </dgm:pt>
    <dgm:pt modelId="{2847F226-AA4E-451E-8FA8-84F2FF69A214}" type="pres">
      <dgm:prSet presAssocID="{B55A334A-32D7-4815-BEAC-C5617F56BF7E}" presName="node" presStyleLbl="node1" presStyleIdx="21" presStyleCnt="22">
        <dgm:presLayoutVars>
          <dgm:bulletEnabled val="1"/>
        </dgm:presLayoutVars>
      </dgm:prSet>
      <dgm:spPr/>
      <dgm:t>
        <a:bodyPr/>
        <a:lstStyle/>
        <a:p>
          <a:endParaRPr lang="en-US"/>
        </a:p>
      </dgm:t>
    </dgm:pt>
  </dgm:ptLst>
  <dgm:cxnLst>
    <dgm:cxn modelId="{795763E9-4225-4BC6-B9EC-AB6874E2B24C}" srcId="{80AF90E8-A1EA-4586-928D-0A2057E1CF18}" destId="{39DEF6C6-E8FB-4ECE-ACD4-2E49036603D1}" srcOrd="18" destOrd="0" parTransId="{9B69F6C1-27C2-480B-B0BE-3D826ADE007D}" sibTransId="{38CC07E6-E536-40AC-A8C1-C3B8006F5027}"/>
    <dgm:cxn modelId="{35D90AA5-A97B-4370-B278-E9458FFB9BA6}" srcId="{80AF90E8-A1EA-4586-928D-0A2057E1CF18}" destId="{1BA9C312-3FC6-492C-A4A5-D1F5D3C47968}" srcOrd="4" destOrd="0" parTransId="{A713E7FF-1CAD-4740-B3E0-EB45F4AAC7BE}" sibTransId="{DFF57308-0DD1-475E-B2FA-E31BBB6A0860}"/>
    <dgm:cxn modelId="{EEE260C8-2CB0-4414-937B-A91C16CCD4B1}" type="presOf" srcId="{7C2CE862-3CB4-48E1-8966-FEEE24307D57}" destId="{D5FA8DAC-FD33-47B2-AF30-E334B817887F}" srcOrd="0" destOrd="0" presId="urn:microsoft.com/office/officeart/2005/8/layout/bProcess4"/>
    <dgm:cxn modelId="{C6B36236-6780-4A76-85F5-EAF1F7230A8C}" type="presOf" srcId="{126F406E-6F8A-49A3-979C-4B0D96D833E5}" destId="{D46D306B-4D14-46FF-9643-9239C46D8CAC}" srcOrd="0" destOrd="0" presId="urn:microsoft.com/office/officeart/2005/8/layout/bProcess4"/>
    <dgm:cxn modelId="{C0527432-6D1A-4842-B993-63965DF8201D}" type="presOf" srcId="{3930EB36-6FDA-44CB-ABCF-988A9BA436E3}" destId="{4857B1DA-2507-499A-A5D5-C0764C8CAA3E}" srcOrd="0" destOrd="0" presId="urn:microsoft.com/office/officeart/2005/8/layout/bProcess4"/>
    <dgm:cxn modelId="{73655D88-25DC-45E8-B6AC-0DF7575375C0}" type="presOf" srcId="{2215B2C2-F53F-48D4-AAEB-E3661D91D79C}" destId="{1C87ED88-6481-4D07-9F24-87B0AE319D5F}" srcOrd="0" destOrd="0" presId="urn:microsoft.com/office/officeart/2005/8/layout/bProcess4"/>
    <dgm:cxn modelId="{5C7666AF-3745-43EC-B4A0-CD5449144EA2}" type="presOf" srcId="{8CF5CB1E-B594-4492-81DF-BD90AD0D6918}" destId="{E9E1769E-B168-4CD8-BE69-23AD7E310373}" srcOrd="0" destOrd="0" presId="urn:microsoft.com/office/officeart/2005/8/layout/bProcess4"/>
    <dgm:cxn modelId="{3034B6D6-1AC1-4AEB-8D9B-91C58D7FE26C}" type="presOf" srcId="{37FE08DE-1395-40CA-9A0B-525CD6B5E831}" destId="{D9FD8211-2BCA-47BB-831A-240575A82F59}" srcOrd="0" destOrd="0" presId="urn:microsoft.com/office/officeart/2005/8/layout/bProcess4"/>
    <dgm:cxn modelId="{E586A642-BDEF-41EE-9BAF-B96923420895}" type="presOf" srcId="{588DFA08-AA0A-4B91-9359-5C2C4488A330}" destId="{B630B3E9-C976-4814-8F94-C0C4A230ADBF}" srcOrd="0" destOrd="0" presId="urn:microsoft.com/office/officeart/2005/8/layout/bProcess4"/>
    <dgm:cxn modelId="{75A36711-9BB9-4B78-A77A-3AD909D00376}" type="presOf" srcId="{B0791259-9104-4F93-B8AD-DAEF5DF1EA80}" destId="{AB49DBB2-8BF6-48D2-AD6B-E4C56A5DA215}" srcOrd="0" destOrd="0" presId="urn:microsoft.com/office/officeart/2005/8/layout/bProcess4"/>
    <dgm:cxn modelId="{3EC5E5B6-5FD2-4834-90D3-D2C1FB6FA5C1}" srcId="{80AF90E8-A1EA-4586-928D-0A2057E1CF18}" destId="{CC219B65-9C10-4B15-9620-A0F17B12EAEF}" srcOrd="2" destOrd="0" parTransId="{A6E99459-E0B4-41A3-9891-91D01B67ADC5}" sibTransId="{FDA29CFD-5F1F-43BC-A078-6D753895F6EC}"/>
    <dgm:cxn modelId="{5539FD62-E2E7-4B6C-96B3-EFB4DBF0A6D6}" type="presOf" srcId="{4D86363D-FCDF-405A-A7D2-DF82B39338D2}" destId="{032526AA-CA4F-47A6-8833-CC4E299DB417}" srcOrd="0" destOrd="0" presId="urn:microsoft.com/office/officeart/2005/8/layout/bProcess4"/>
    <dgm:cxn modelId="{C9F7DCB0-5BFA-4376-A281-8E79C442E6A6}" type="presOf" srcId="{F6C80EDB-E3A4-45B5-B30F-984A993975C6}" destId="{FC461A49-6E8A-4765-BDC6-DF366118A9DB}" srcOrd="0" destOrd="0" presId="urn:microsoft.com/office/officeart/2005/8/layout/bProcess4"/>
    <dgm:cxn modelId="{754B0B6A-2532-49C4-BCE0-84860D4A99B4}" type="presOf" srcId="{38CC07E6-E536-40AC-A8C1-C3B8006F5027}" destId="{BB525EF4-11CA-4AF0-9D05-0890477F605B}" srcOrd="0" destOrd="0" presId="urn:microsoft.com/office/officeart/2005/8/layout/bProcess4"/>
    <dgm:cxn modelId="{BBDC8750-65C1-478D-B607-7365258E2E0A}" type="presOf" srcId="{32BFCE23-CACB-4BAC-9396-91B12F6DFBA7}" destId="{8AEDD5ED-C456-404E-A0C1-9FCD061445C8}" srcOrd="0" destOrd="0" presId="urn:microsoft.com/office/officeart/2005/8/layout/bProcess4"/>
    <dgm:cxn modelId="{D8F377DE-9EE0-4424-9AC8-7DFB2732FE7B}" type="presOf" srcId="{ECAFCB15-B4D1-453D-90E4-AA983B48832A}" destId="{9B25D534-E41D-4E66-9ABC-EB6CCB037EBF}" srcOrd="0" destOrd="0" presId="urn:microsoft.com/office/officeart/2005/8/layout/bProcess4"/>
    <dgm:cxn modelId="{7556444B-E586-4C76-B57A-7A3A3DE9645D}" srcId="{80AF90E8-A1EA-4586-928D-0A2057E1CF18}" destId="{3930EB36-6FDA-44CB-ABCF-988A9BA436E3}" srcOrd="5" destOrd="0" parTransId="{A76573DD-7B52-434F-87C3-DD21C0CB5B23}" sibTransId="{F3DCA773-1244-4B9A-9ED9-C0FDC19BC45E}"/>
    <dgm:cxn modelId="{B16DEB27-96D6-4358-A383-83FF61A1507A}" srcId="{80AF90E8-A1EA-4586-928D-0A2057E1CF18}" destId="{ADF668AF-3E12-4B37-BBC6-0A6519A77140}" srcOrd="6" destOrd="0" parTransId="{CC484BE2-A604-4608-8FEA-5A49472B3C2C}" sibTransId="{588DFA08-AA0A-4B91-9359-5C2C4488A330}"/>
    <dgm:cxn modelId="{8E2F635B-4747-43A5-9185-4AD3BA51060C}" srcId="{80AF90E8-A1EA-4586-928D-0A2057E1CF18}" destId="{9E968A82-C2C9-4708-8C57-1EDF4EDF7FAA}" srcOrd="14" destOrd="0" parTransId="{DDD34AAC-5BA3-4936-9F7A-826950BBBFBE}" sibTransId="{1033E4E2-0E1D-4720-83E1-31115BA38D7F}"/>
    <dgm:cxn modelId="{736BF94E-8094-46B2-B10A-7772105EE9DA}" type="presOf" srcId="{CC219B65-9C10-4B15-9620-A0F17B12EAEF}" destId="{A7934C21-ADF7-422F-B47B-B5A5A9ACA79D}" srcOrd="0" destOrd="0" presId="urn:microsoft.com/office/officeart/2005/8/layout/bProcess4"/>
    <dgm:cxn modelId="{123C3D6E-2117-4791-9666-22B3D53CA6B8}" type="presOf" srcId="{B55A334A-32D7-4815-BEAC-C5617F56BF7E}" destId="{2847F226-AA4E-451E-8FA8-84F2FF69A214}" srcOrd="0" destOrd="0" presId="urn:microsoft.com/office/officeart/2005/8/layout/bProcess4"/>
    <dgm:cxn modelId="{F960A199-D1F8-4E7B-96E2-49F2A8F69B55}" srcId="{80AF90E8-A1EA-4586-928D-0A2057E1CF18}" destId="{5A340EBB-0CD1-4298-95DA-27F72796D99F}" srcOrd="10" destOrd="0" parTransId="{363361E4-A48B-4E35-A16F-3EA81F494ADD}" sibTransId="{9605F4AE-7274-4589-894C-1B1A3A565BF5}"/>
    <dgm:cxn modelId="{B019DAF8-8A94-4F4A-AC0B-39D34A7825DE}" type="presOf" srcId="{5A340EBB-0CD1-4298-95DA-27F72796D99F}" destId="{A68F451B-07D1-4CC8-8C09-0A6CFF49BCE8}" srcOrd="0" destOrd="0" presId="urn:microsoft.com/office/officeart/2005/8/layout/bProcess4"/>
    <dgm:cxn modelId="{1855E4B4-DF46-45F3-B3BF-3E3DB03DFB2E}" type="presOf" srcId="{F83289A8-9306-490E-B0CC-4C4053ADF858}" destId="{C50EEFDE-E4D4-43BF-B3E0-15EBCF9D5439}" srcOrd="0" destOrd="0" presId="urn:microsoft.com/office/officeart/2005/8/layout/bProcess4"/>
    <dgm:cxn modelId="{F0C4674C-1DF5-4C94-9203-8705DB16FB7A}" type="presOf" srcId="{5F563FDF-68E0-4532-A238-F2B4F40D514C}" destId="{1B50BFC0-B4D6-4BC3-B5E4-CF59BDFABE2A}" srcOrd="0" destOrd="0" presId="urn:microsoft.com/office/officeart/2005/8/layout/bProcess4"/>
    <dgm:cxn modelId="{FB907498-7474-4704-95C5-0AD017EC5D1F}" type="presOf" srcId="{85779212-6661-4725-AB42-F7048CC39118}" destId="{D3A94AF2-A702-4098-BBF8-E78BBA5F1D6D}" srcOrd="0" destOrd="0" presId="urn:microsoft.com/office/officeart/2005/8/layout/bProcess4"/>
    <dgm:cxn modelId="{C9AFB386-382E-4180-B7E7-CF4884CB8E5F}" srcId="{80AF90E8-A1EA-4586-928D-0A2057E1CF18}" destId="{B23BB066-8472-44EB-B86D-AA6CC44B4FC0}" srcOrd="17" destOrd="0" parTransId="{BE4DD27B-62D9-435E-A8B1-FD632B88B8F0}" sibTransId="{CB760776-D8BE-4281-B64D-797A4660DBCA}"/>
    <dgm:cxn modelId="{46516980-5DB7-49C3-A35B-23D32124E928}" type="presOf" srcId="{9E968A82-C2C9-4708-8C57-1EDF4EDF7FAA}" destId="{865CC9CB-4D1A-4BBD-89CB-C6A0A3D909BD}" srcOrd="0" destOrd="0" presId="urn:microsoft.com/office/officeart/2005/8/layout/bProcess4"/>
    <dgm:cxn modelId="{7D213385-4BB4-41F8-A2CD-6FBCDD16C446}" srcId="{80AF90E8-A1EA-4586-928D-0A2057E1CF18}" destId="{126F406E-6F8A-49A3-979C-4B0D96D833E5}" srcOrd="13" destOrd="0" parTransId="{C4478F16-E7D2-4394-AF82-5A2B6E0FA2DF}" sibTransId="{958EC8D5-2E09-4E39-8BCC-89A628BFA8D6}"/>
    <dgm:cxn modelId="{D9813112-9B2C-4D15-AF79-2EE9B583CFE4}" type="presOf" srcId="{E9F17FF9-84CB-4AA1-BBFD-68979FCDA9FF}" destId="{D8032C8F-07F8-49E7-971C-FCC8CFA0A309}" srcOrd="0" destOrd="0" presId="urn:microsoft.com/office/officeart/2005/8/layout/bProcess4"/>
    <dgm:cxn modelId="{B59EB55F-D8E4-4AFB-835D-A0FC55ACC0E9}" type="presOf" srcId="{CB760776-D8BE-4281-B64D-797A4660DBCA}" destId="{A1C00C4B-A7DA-42E9-8FF6-0516DAF3992D}" srcOrd="0" destOrd="0" presId="urn:microsoft.com/office/officeart/2005/8/layout/bProcess4"/>
    <dgm:cxn modelId="{53F26F79-5608-4F98-975E-C96AC415517B}" type="presOf" srcId="{DFF57308-0DD1-475E-B2FA-E31BBB6A0860}" destId="{F524A3C2-2F47-4EC7-9192-FF87140744A2}" srcOrd="0" destOrd="0" presId="urn:microsoft.com/office/officeart/2005/8/layout/bProcess4"/>
    <dgm:cxn modelId="{F520F498-E677-43A7-ABE0-BA74F291DAE1}" type="presOf" srcId="{9DD5A6BA-862F-4A08-93A2-7D63C651E05C}" destId="{E85740BD-7D7E-4766-A8DC-1A35B1C1FEC9}" srcOrd="0" destOrd="0" presId="urn:microsoft.com/office/officeart/2005/8/layout/bProcess4"/>
    <dgm:cxn modelId="{E4DB4185-9DF4-435B-8968-A0AAB99B9C73}" srcId="{80AF90E8-A1EA-4586-928D-0A2057E1CF18}" destId="{37FE08DE-1395-40CA-9A0B-525CD6B5E831}" srcOrd="7" destOrd="0" parTransId="{5BEB020A-F5F5-4850-9980-5A4661CB3AD2}" sibTransId="{57271963-C7A4-4669-BFA6-3618812B92AB}"/>
    <dgm:cxn modelId="{B9665901-7849-49C5-9AD7-A27EDA8C98D7}" type="presOf" srcId="{83DCAC2A-0010-44F2-ABC6-53BAD1DF01BB}" destId="{26601E23-47AA-4256-A218-A825457954F3}" srcOrd="0" destOrd="0" presId="urn:microsoft.com/office/officeart/2005/8/layout/bProcess4"/>
    <dgm:cxn modelId="{E4BE3887-E9A8-49D0-9026-9145D8F02381}" type="presOf" srcId="{80AF90E8-A1EA-4586-928D-0A2057E1CF18}" destId="{43C8D023-4A08-46DB-AFBD-6200159D864A}" srcOrd="0" destOrd="0" presId="urn:microsoft.com/office/officeart/2005/8/layout/bProcess4"/>
    <dgm:cxn modelId="{A12A2C4C-8AA1-4DE2-85C6-50CC60447351}" type="presOf" srcId="{57271963-C7A4-4669-BFA6-3618812B92AB}" destId="{102024F8-46FB-49EA-846C-1146B6011A6D}" srcOrd="0" destOrd="0" presId="urn:microsoft.com/office/officeart/2005/8/layout/bProcess4"/>
    <dgm:cxn modelId="{3322B252-840F-41F1-8A0C-0D572C8B8350}" srcId="{80AF90E8-A1EA-4586-928D-0A2057E1CF18}" destId="{849F1AF7-80F2-4D94-9C87-042462653019}" srcOrd="3" destOrd="0" parTransId="{FD7D8452-F8C4-444D-AF53-6B0291A0CCC0}" sibTransId="{7C2CE862-3CB4-48E1-8966-FEEE24307D57}"/>
    <dgm:cxn modelId="{8B31BDF7-FAA8-4463-BEC3-024B0267D2D1}" type="presOf" srcId="{ADF668AF-3E12-4B37-BBC6-0A6519A77140}" destId="{E035CB83-BBB4-4446-A112-13AF53CB77D8}" srcOrd="0" destOrd="0" presId="urn:microsoft.com/office/officeart/2005/8/layout/bProcess4"/>
    <dgm:cxn modelId="{B150969C-1EB8-4135-B6D1-7C8FA059B706}" type="presOf" srcId="{3738A1B5-90CF-463A-8275-7F3A4F3727AB}" destId="{5EA1F8C6-C86C-4503-BC0D-7BD03573E398}" srcOrd="0" destOrd="0" presId="urn:microsoft.com/office/officeart/2005/8/layout/bProcess4"/>
    <dgm:cxn modelId="{32A49BFC-A3EA-4549-844A-F84528076B00}" srcId="{80AF90E8-A1EA-4586-928D-0A2057E1CF18}" destId="{3738A1B5-90CF-463A-8275-7F3A4F3727AB}" srcOrd="8" destOrd="0" parTransId="{62E7C633-B086-48CB-B985-A62A961F08C3}" sibTransId="{83DCAC2A-0010-44F2-ABC6-53BAD1DF01BB}"/>
    <dgm:cxn modelId="{86E84F71-D64C-4441-886F-B300BA03F9BA}" type="presOf" srcId="{849F1AF7-80F2-4D94-9C87-042462653019}" destId="{25792AB4-3AFD-4F68-897D-F8B7E034032A}" srcOrd="0" destOrd="0" presId="urn:microsoft.com/office/officeart/2005/8/layout/bProcess4"/>
    <dgm:cxn modelId="{E91EE3DC-2859-492A-A9E8-21AA716AAD43}" type="presOf" srcId="{1BA9C312-3FC6-492C-A4A5-D1F5D3C47968}" destId="{4E9A9EE7-92C5-4699-8669-56116A772C24}" srcOrd="0" destOrd="0" presId="urn:microsoft.com/office/officeart/2005/8/layout/bProcess4"/>
    <dgm:cxn modelId="{21D8CC83-DBDA-4724-A583-9B46B319AACE}" srcId="{80AF90E8-A1EA-4586-928D-0A2057E1CF18}" destId="{4D86363D-FCDF-405A-A7D2-DF82B39338D2}" srcOrd="15" destOrd="0" parTransId="{319D7107-C98F-4A2E-8239-05A3900CF85D}" sibTransId="{ECAFCB15-B4D1-453D-90E4-AA983B48832A}"/>
    <dgm:cxn modelId="{5F6E4A05-A398-46E1-93E6-2AB004134746}" srcId="{80AF90E8-A1EA-4586-928D-0A2057E1CF18}" destId="{85779212-6661-4725-AB42-F7048CC39118}" srcOrd="1" destOrd="0" parTransId="{6F580CD6-77FB-49E7-AB68-F4756DCC3BC8}" sibTransId="{2215B2C2-F53F-48D4-AAEB-E3661D91D79C}"/>
    <dgm:cxn modelId="{402E7BE7-09FD-4117-8A11-E14DAF96F16D}" srcId="{80AF90E8-A1EA-4586-928D-0A2057E1CF18}" destId="{B55A334A-32D7-4815-BEAC-C5617F56BF7E}" srcOrd="21" destOrd="0" parTransId="{195971A1-7E37-4C83-A020-1379109DAEB1}" sibTransId="{7FF30CD9-FB12-4C43-A294-99F48E60C536}"/>
    <dgm:cxn modelId="{10C10951-F977-4EFC-8ECD-13875A766D4B}" srcId="{80AF90E8-A1EA-4586-928D-0A2057E1CF18}" destId="{9DD5A6BA-862F-4A08-93A2-7D63C651E05C}" srcOrd="16" destOrd="0" parTransId="{2F63AA87-74B1-49C8-9AE0-9B4065810AD2}" sibTransId="{30E84380-30DC-4FA7-8248-189A4FD5B85B}"/>
    <dgm:cxn modelId="{2C8B0B71-0391-402B-A20A-62F0D91AC96D}" type="presOf" srcId="{3341D280-779C-4D0C-A39C-F0051812E018}" destId="{B428A3B2-862D-4B94-BDCF-12B1A0C11E4D}" srcOrd="0" destOrd="0" presId="urn:microsoft.com/office/officeart/2005/8/layout/bProcess4"/>
    <dgm:cxn modelId="{927746CE-4D82-47FB-A328-AE2F45A3C78A}" type="presOf" srcId="{958EC8D5-2E09-4E39-8BCC-89A628BFA8D6}" destId="{336F546F-1FDC-4E18-95BF-FE0101C6AA07}" srcOrd="0" destOrd="0" presId="urn:microsoft.com/office/officeart/2005/8/layout/bProcess4"/>
    <dgm:cxn modelId="{393A0BFA-D2EC-44C1-8685-5CB576361D8D}" type="presOf" srcId="{9605F4AE-7274-4589-894C-1B1A3A565BF5}" destId="{EE1B6901-BA8E-4105-96F4-42FA568E72BE}" srcOrd="0" destOrd="0" presId="urn:microsoft.com/office/officeart/2005/8/layout/bProcess4"/>
    <dgm:cxn modelId="{245674ED-6B22-4C31-97D7-0FB63B7EB25C}" srcId="{80AF90E8-A1EA-4586-928D-0A2057E1CF18}" destId="{B0791259-9104-4F93-B8AD-DAEF5DF1EA80}" srcOrd="19" destOrd="0" parTransId="{1117126B-BFDF-432E-BA44-B7FDC3D8F145}" sibTransId="{32BFCE23-CACB-4BAC-9396-91B12F6DFBA7}"/>
    <dgm:cxn modelId="{0353A571-4EAC-4846-A2D7-C7D32E188DFB}" srcId="{80AF90E8-A1EA-4586-928D-0A2057E1CF18}" destId="{239473F6-9DFA-4CBB-B80C-93A081707E6A}" srcOrd="11" destOrd="0" parTransId="{43FB8A35-13BC-4F57-8130-ED887FC3598E}" sibTransId="{CB3E1638-FD94-40EE-8343-708E939E8EA2}"/>
    <dgm:cxn modelId="{2A9146C1-275F-4426-88F7-4BA35E54BB41}" type="presOf" srcId="{CB3E1638-FD94-40EE-8343-708E939E8EA2}" destId="{6C96EEF3-BDD2-46B0-9775-DB0AD7122BCA}" srcOrd="0" destOrd="0" presId="urn:microsoft.com/office/officeart/2005/8/layout/bProcess4"/>
    <dgm:cxn modelId="{517B9C90-9377-4CF5-85CA-203AC79C90E7}" type="presOf" srcId="{1033E4E2-0E1D-4720-83E1-31115BA38D7F}" destId="{71178B63-9DA7-4EB2-B893-CB8B1DDC5504}" srcOrd="0" destOrd="0" presId="urn:microsoft.com/office/officeart/2005/8/layout/bProcess4"/>
    <dgm:cxn modelId="{5F5E37F4-E606-4E5C-B91C-E6DD9926FB3C}" type="presOf" srcId="{B23BB066-8472-44EB-B86D-AA6CC44B4FC0}" destId="{37C0B14A-2A81-4DA6-A4DE-8B0C0FD97FC1}" srcOrd="0" destOrd="0" presId="urn:microsoft.com/office/officeart/2005/8/layout/bProcess4"/>
    <dgm:cxn modelId="{101CE67B-E2B2-4A3D-A0DF-799E64986E46}" srcId="{80AF90E8-A1EA-4586-928D-0A2057E1CF18}" destId="{E9F17FF9-84CB-4AA1-BBFD-68979FCDA9FF}" srcOrd="0" destOrd="0" parTransId="{C6B99BCA-809E-4DD8-9720-C996C7A9F8B2}" sibTransId="{8CF5CB1E-B594-4492-81DF-BD90AD0D6918}"/>
    <dgm:cxn modelId="{0D19982F-0F85-4A97-BCFA-6E65A7C00129}" srcId="{80AF90E8-A1EA-4586-928D-0A2057E1CF18}" destId="{3341D280-779C-4D0C-A39C-F0051812E018}" srcOrd="12" destOrd="0" parTransId="{F4752A0A-B395-446A-A9AB-3D77A4ED6267}" sibTransId="{E446F138-EBED-4CF1-9103-188FE94E650D}"/>
    <dgm:cxn modelId="{6D218B63-04F2-484B-9ACB-569AB74D7C87}" type="presOf" srcId="{30E84380-30DC-4FA7-8248-189A4FD5B85B}" destId="{89D00D1F-943B-48DA-A8FD-AC043957EA6D}" srcOrd="0" destOrd="0" presId="urn:microsoft.com/office/officeart/2005/8/layout/bProcess4"/>
    <dgm:cxn modelId="{1D10F6BC-3718-4069-812D-F76D71536318}" type="presOf" srcId="{2E6F1F50-D4EB-4BC1-8C05-7F4BB60E1095}" destId="{3C2DD09D-26A9-46AC-84EB-C215991B44BB}" srcOrd="0" destOrd="0" presId="urn:microsoft.com/office/officeart/2005/8/layout/bProcess4"/>
    <dgm:cxn modelId="{4D53967B-97C8-4E50-9DBC-7D6987E8103C}" type="presOf" srcId="{F3DCA773-1244-4B9A-9ED9-C0FDC19BC45E}" destId="{49E3A27E-2060-4282-930E-AB4FCEE55EDC}" srcOrd="0" destOrd="0" presId="urn:microsoft.com/office/officeart/2005/8/layout/bProcess4"/>
    <dgm:cxn modelId="{E036A73C-ACC6-48D5-B446-DD3B0833955B}" srcId="{80AF90E8-A1EA-4586-928D-0A2057E1CF18}" destId="{5F563FDF-68E0-4532-A238-F2B4F40D514C}" srcOrd="9" destOrd="0" parTransId="{07F5E03E-FE05-4817-9E56-E2A4F8CB0CAA}" sibTransId="{2E6F1F50-D4EB-4BC1-8C05-7F4BB60E1095}"/>
    <dgm:cxn modelId="{DE57A069-C41A-4C19-B5CD-7849EF8BF39A}" type="presOf" srcId="{39DEF6C6-E8FB-4ECE-ACD4-2E49036603D1}" destId="{944E00CC-E210-4FBC-BC90-6DD58207E1A0}" srcOrd="0" destOrd="0" presId="urn:microsoft.com/office/officeart/2005/8/layout/bProcess4"/>
    <dgm:cxn modelId="{7E81AD1C-3F6E-4F8B-ABEB-3E679B652C27}" type="presOf" srcId="{E446F138-EBED-4CF1-9103-188FE94E650D}" destId="{F6FC2ECE-CFEF-4937-9FA9-7386B67A1865}" srcOrd="0" destOrd="0" presId="urn:microsoft.com/office/officeart/2005/8/layout/bProcess4"/>
    <dgm:cxn modelId="{AA659BBB-05CB-4330-9182-C49EBFB7A6F7}" type="presOf" srcId="{239473F6-9DFA-4CBB-B80C-93A081707E6A}" destId="{1B96307D-B72E-46CA-99C3-DF4964887F61}" srcOrd="0" destOrd="0" presId="urn:microsoft.com/office/officeart/2005/8/layout/bProcess4"/>
    <dgm:cxn modelId="{5A9A02C7-F069-414C-B3BC-1BBF09D657E8}" type="presOf" srcId="{FDA29CFD-5F1F-43BC-A078-6D753895F6EC}" destId="{57E7BDAE-DCE6-47E5-8E9C-B8C08ABA3F38}" srcOrd="0" destOrd="0" presId="urn:microsoft.com/office/officeart/2005/8/layout/bProcess4"/>
    <dgm:cxn modelId="{52A8CA28-B741-4D34-9589-6E498E64E742}" srcId="{80AF90E8-A1EA-4586-928D-0A2057E1CF18}" destId="{F83289A8-9306-490E-B0CC-4C4053ADF858}" srcOrd="20" destOrd="0" parTransId="{0D525162-730F-47CA-A7E4-BD772A86EEE9}" sibTransId="{F6C80EDB-E3A4-45B5-B30F-984A993975C6}"/>
    <dgm:cxn modelId="{9AA79B16-1305-4F36-890B-3741E88ECFFA}" type="presParOf" srcId="{43C8D023-4A08-46DB-AFBD-6200159D864A}" destId="{7CF6DC72-9EB1-4CE1-8062-055148110538}" srcOrd="0" destOrd="0" presId="urn:microsoft.com/office/officeart/2005/8/layout/bProcess4"/>
    <dgm:cxn modelId="{938B8568-E9C4-4831-A966-5F48E4F86010}" type="presParOf" srcId="{7CF6DC72-9EB1-4CE1-8062-055148110538}" destId="{AD9E0B91-5ADB-4817-A7F5-254540FCE215}" srcOrd="0" destOrd="0" presId="urn:microsoft.com/office/officeart/2005/8/layout/bProcess4"/>
    <dgm:cxn modelId="{52DC1D34-E372-4907-AE56-A85ABEAFD594}" type="presParOf" srcId="{7CF6DC72-9EB1-4CE1-8062-055148110538}" destId="{D8032C8F-07F8-49E7-971C-FCC8CFA0A309}" srcOrd="1" destOrd="0" presId="urn:microsoft.com/office/officeart/2005/8/layout/bProcess4"/>
    <dgm:cxn modelId="{A526FDD0-55CD-4BE8-A38D-098FCE01225E}" type="presParOf" srcId="{43C8D023-4A08-46DB-AFBD-6200159D864A}" destId="{E9E1769E-B168-4CD8-BE69-23AD7E310373}" srcOrd="1" destOrd="0" presId="urn:microsoft.com/office/officeart/2005/8/layout/bProcess4"/>
    <dgm:cxn modelId="{0B458CBB-1C20-44F4-A45B-87B8E488F263}" type="presParOf" srcId="{43C8D023-4A08-46DB-AFBD-6200159D864A}" destId="{E793C0DA-AA69-48FD-9E70-F056E6010C5E}" srcOrd="2" destOrd="0" presId="urn:microsoft.com/office/officeart/2005/8/layout/bProcess4"/>
    <dgm:cxn modelId="{4070C316-0DB3-48AE-ADCD-618464CE49FA}" type="presParOf" srcId="{E793C0DA-AA69-48FD-9E70-F056E6010C5E}" destId="{B6FE7EB7-DA67-4353-9A8C-616C8E809188}" srcOrd="0" destOrd="0" presId="urn:microsoft.com/office/officeart/2005/8/layout/bProcess4"/>
    <dgm:cxn modelId="{6807E054-2C6C-473B-859F-022B42599894}" type="presParOf" srcId="{E793C0DA-AA69-48FD-9E70-F056E6010C5E}" destId="{D3A94AF2-A702-4098-BBF8-E78BBA5F1D6D}" srcOrd="1" destOrd="0" presId="urn:microsoft.com/office/officeart/2005/8/layout/bProcess4"/>
    <dgm:cxn modelId="{C01EE960-A273-4B35-9A60-6542342E1052}" type="presParOf" srcId="{43C8D023-4A08-46DB-AFBD-6200159D864A}" destId="{1C87ED88-6481-4D07-9F24-87B0AE319D5F}" srcOrd="3" destOrd="0" presId="urn:microsoft.com/office/officeart/2005/8/layout/bProcess4"/>
    <dgm:cxn modelId="{5E561D76-4A8A-4BC4-BEC5-625055ECD7A1}" type="presParOf" srcId="{43C8D023-4A08-46DB-AFBD-6200159D864A}" destId="{72ADED6A-C79C-460A-B9BC-0E47F81582D7}" srcOrd="4" destOrd="0" presId="urn:microsoft.com/office/officeart/2005/8/layout/bProcess4"/>
    <dgm:cxn modelId="{990956AB-83F4-4545-A4D2-51B253519A49}" type="presParOf" srcId="{72ADED6A-C79C-460A-B9BC-0E47F81582D7}" destId="{4C5AD02E-C3B9-49AC-A50B-79696A885476}" srcOrd="0" destOrd="0" presId="urn:microsoft.com/office/officeart/2005/8/layout/bProcess4"/>
    <dgm:cxn modelId="{6F402684-B7A3-432C-9374-5A48BC6CB2FB}" type="presParOf" srcId="{72ADED6A-C79C-460A-B9BC-0E47F81582D7}" destId="{A7934C21-ADF7-422F-B47B-B5A5A9ACA79D}" srcOrd="1" destOrd="0" presId="urn:microsoft.com/office/officeart/2005/8/layout/bProcess4"/>
    <dgm:cxn modelId="{533C6228-5373-4198-A192-5483968E3EAB}" type="presParOf" srcId="{43C8D023-4A08-46DB-AFBD-6200159D864A}" destId="{57E7BDAE-DCE6-47E5-8E9C-B8C08ABA3F38}" srcOrd="5" destOrd="0" presId="urn:microsoft.com/office/officeart/2005/8/layout/bProcess4"/>
    <dgm:cxn modelId="{538587DE-40A3-41A1-97F9-63103B0DE80C}" type="presParOf" srcId="{43C8D023-4A08-46DB-AFBD-6200159D864A}" destId="{6C5397E5-F3BE-4F32-B8C6-7C663A7DA65C}" srcOrd="6" destOrd="0" presId="urn:microsoft.com/office/officeart/2005/8/layout/bProcess4"/>
    <dgm:cxn modelId="{22CC9D1E-9833-4A2F-BCC1-81E9BC51C4C0}" type="presParOf" srcId="{6C5397E5-F3BE-4F32-B8C6-7C663A7DA65C}" destId="{87C329B3-7004-4E96-9B2D-E12FBD2E3381}" srcOrd="0" destOrd="0" presId="urn:microsoft.com/office/officeart/2005/8/layout/bProcess4"/>
    <dgm:cxn modelId="{8A944EEB-D787-42A7-8197-5063BC5CE823}" type="presParOf" srcId="{6C5397E5-F3BE-4F32-B8C6-7C663A7DA65C}" destId="{25792AB4-3AFD-4F68-897D-F8B7E034032A}" srcOrd="1" destOrd="0" presId="urn:microsoft.com/office/officeart/2005/8/layout/bProcess4"/>
    <dgm:cxn modelId="{65D7E91D-D173-46BC-993B-E36CC782E937}" type="presParOf" srcId="{43C8D023-4A08-46DB-AFBD-6200159D864A}" destId="{D5FA8DAC-FD33-47B2-AF30-E334B817887F}" srcOrd="7" destOrd="0" presId="urn:microsoft.com/office/officeart/2005/8/layout/bProcess4"/>
    <dgm:cxn modelId="{9799C7BF-31E4-4136-A0CE-D781E621786F}" type="presParOf" srcId="{43C8D023-4A08-46DB-AFBD-6200159D864A}" destId="{6122CEF0-EDE3-4782-957B-1C2FA1576804}" srcOrd="8" destOrd="0" presId="urn:microsoft.com/office/officeart/2005/8/layout/bProcess4"/>
    <dgm:cxn modelId="{0FAD0BAC-9E74-494B-9D00-98970070BC3C}" type="presParOf" srcId="{6122CEF0-EDE3-4782-957B-1C2FA1576804}" destId="{C8C5E3A7-3FBD-4B24-BDDB-61B9A92D124D}" srcOrd="0" destOrd="0" presId="urn:microsoft.com/office/officeart/2005/8/layout/bProcess4"/>
    <dgm:cxn modelId="{C488B717-ACCA-43D7-BAE9-AF9F6D3FAA42}" type="presParOf" srcId="{6122CEF0-EDE3-4782-957B-1C2FA1576804}" destId="{4E9A9EE7-92C5-4699-8669-56116A772C24}" srcOrd="1" destOrd="0" presId="urn:microsoft.com/office/officeart/2005/8/layout/bProcess4"/>
    <dgm:cxn modelId="{D782F565-18B0-4FEF-8075-FFC9943ABDB4}" type="presParOf" srcId="{43C8D023-4A08-46DB-AFBD-6200159D864A}" destId="{F524A3C2-2F47-4EC7-9192-FF87140744A2}" srcOrd="9" destOrd="0" presId="urn:microsoft.com/office/officeart/2005/8/layout/bProcess4"/>
    <dgm:cxn modelId="{B29F6054-F4D7-4481-9BAB-E1FDCC4AEFC5}" type="presParOf" srcId="{43C8D023-4A08-46DB-AFBD-6200159D864A}" destId="{391FC91B-3709-4F26-A4A5-BD05E57ACFA2}" srcOrd="10" destOrd="0" presId="urn:microsoft.com/office/officeart/2005/8/layout/bProcess4"/>
    <dgm:cxn modelId="{6F3345B2-1BCB-433C-8DB3-1255EE1D933C}" type="presParOf" srcId="{391FC91B-3709-4F26-A4A5-BD05E57ACFA2}" destId="{C3F51335-5D30-4D81-A83F-639D9F307E07}" srcOrd="0" destOrd="0" presId="urn:microsoft.com/office/officeart/2005/8/layout/bProcess4"/>
    <dgm:cxn modelId="{A1429185-EE8F-4FC2-BD0E-2CBD91AB5116}" type="presParOf" srcId="{391FC91B-3709-4F26-A4A5-BD05E57ACFA2}" destId="{4857B1DA-2507-499A-A5D5-C0764C8CAA3E}" srcOrd="1" destOrd="0" presId="urn:microsoft.com/office/officeart/2005/8/layout/bProcess4"/>
    <dgm:cxn modelId="{BCD46236-CE3C-4CEC-8BD2-50A44F6BFAAE}" type="presParOf" srcId="{43C8D023-4A08-46DB-AFBD-6200159D864A}" destId="{49E3A27E-2060-4282-930E-AB4FCEE55EDC}" srcOrd="11" destOrd="0" presId="urn:microsoft.com/office/officeart/2005/8/layout/bProcess4"/>
    <dgm:cxn modelId="{E7CAE520-55A7-4030-825C-2512735E94C9}" type="presParOf" srcId="{43C8D023-4A08-46DB-AFBD-6200159D864A}" destId="{6A222A9C-1BE9-4CFF-BF72-D69C0110133F}" srcOrd="12" destOrd="0" presId="urn:microsoft.com/office/officeart/2005/8/layout/bProcess4"/>
    <dgm:cxn modelId="{08CD877A-66F6-4C63-8BCC-D1E99FC6A1C0}" type="presParOf" srcId="{6A222A9C-1BE9-4CFF-BF72-D69C0110133F}" destId="{9DCA24C9-AC31-443A-B417-F995E4531B81}" srcOrd="0" destOrd="0" presId="urn:microsoft.com/office/officeart/2005/8/layout/bProcess4"/>
    <dgm:cxn modelId="{345EFDDA-DA1E-4064-B14B-1FC81B638911}" type="presParOf" srcId="{6A222A9C-1BE9-4CFF-BF72-D69C0110133F}" destId="{E035CB83-BBB4-4446-A112-13AF53CB77D8}" srcOrd="1" destOrd="0" presId="urn:microsoft.com/office/officeart/2005/8/layout/bProcess4"/>
    <dgm:cxn modelId="{D716252A-E545-407D-A629-52B2CD03F039}" type="presParOf" srcId="{43C8D023-4A08-46DB-AFBD-6200159D864A}" destId="{B630B3E9-C976-4814-8F94-C0C4A230ADBF}" srcOrd="13" destOrd="0" presId="urn:microsoft.com/office/officeart/2005/8/layout/bProcess4"/>
    <dgm:cxn modelId="{E0C2A799-D43B-449D-9467-EDD01153A7C5}" type="presParOf" srcId="{43C8D023-4A08-46DB-AFBD-6200159D864A}" destId="{A97FF797-8A3F-4914-893E-02097BE29E8A}" srcOrd="14" destOrd="0" presId="urn:microsoft.com/office/officeart/2005/8/layout/bProcess4"/>
    <dgm:cxn modelId="{4A9DE824-E4ED-4A6B-99FB-13970950697B}" type="presParOf" srcId="{A97FF797-8A3F-4914-893E-02097BE29E8A}" destId="{5A65044A-DFA8-4F7D-A6E0-956032BCAD27}" srcOrd="0" destOrd="0" presId="urn:microsoft.com/office/officeart/2005/8/layout/bProcess4"/>
    <dgm:cxn modelId="{153DF70B-BFAB-449B-BB3E-79D3438682CC}" type="presParOf" srcId="{A97FF797-8A3F-4914-893E-02097BE29E8A}" destId="{D9FD8211-2BCA-47BB-831A-240575A82F59}" srcOrd="1" destOrd="0" presId="urn:microsoft.com/office/officeart/2005/8/layout/bProcess4"/>
    <dgm:cxn modelId="{65EAB493-B19C-455E-8AE1-2A959DD2532C}" type="presParOf" srcId="{43C8D023-4A08-46DB-AFBD-6200159D864A}" destId="{102024F8-46FB-49EA-846C-1146B6011A6D}" srcOrd="15" destOrd="0" presId="urn:microsoft.com/office/officeart/2005/8/layout/bProcess4"/>
    <dgm:cxn modelId="{E4AF6F36-7E39-4F41-A0D1-6EF6CA586BE0}" type="presParOf" srcId="{43C8D023-4A08-46DB-AFBD-6200159D864A}" destId="{A2E1DB04-E89C-43B1-B7EE-58212005BA3D}" srcOrd="16" destOrd="0" presId="urn:microsoft.com/office/officeart/2005/8/layout/bProcess4"/>
    <dgm:cxn modelId="{495E771C-3426-4477-8D31-B7267AA78828}" type="presParOf" srcId="{A2E1DB04-E89C-43B1-B7EE-58212005BA3D}" destId="{C51202BA-B9DC-45F2-AD89-03FEC7060355}" srcOrd="0" destOrd="0" presId="urn:microsoft.com/office/officeart/2005/8/layout/bProcess4"/>
    <dgm:cxn modelId="{05C7FBC2-11F8-48AF-9774-F0A1EFEFA3F7}" type="presParOf" srcId="{A2E1DB04-E89C-43B1-B7EE-58212005BA3D}" destId="{5EA1F8C6-C86C-4503-BC0D-7BD03573E398}" srcOrd="1" destOrd="0" presId="urn:microsoft.com/office/officeart/2005/8/layout/bProcess4"/>
    <dgm:cxn modelId="{5125800C-F427-403A-BCAD-E5B71FC91EBC}" type="presParOf" srcId="{43C8D023-4A08-46DB-AFBD-6200159D864A}" destId="{26601E23-47AA-4256-A218-A825457954F3}" srcOrd="17" destOrd="0" presId="urn:microsoft.com/office/officeart/2005/8/layout/bProcess4"/>
    <dgm:cxn modelId="{4124D86C-FA06-47FA-8B20-926CC29B6B43}" type="presParOf" srcId="{43C8D023-4A08-46DB-AFBD-6200159D864A}" destId="{C23A43D7-A0F1-4C9A-B826-4C0CBDCEC267}" srcOrd="18" destOrd="0" presId="urn:microsoft.com/office/officeart/2005/8/layout/bProcess4"/>
    <dgm:cxn modelId="{CF1D4E3F-5CB0-4B85-ABED-E2F8FF3EAEB5}" type="presParOf" srcId="{C23A43D7-A0F1-4C9A-B826-4C0CBDCEC267}" destId="{8846A12C-1553-4F83-8C62-8EBCEA55074C}" srcOrd="0" destOrd="0" presId="urn:microsoft.com/office/officeart/2005/8/layout/bProcess4"/>
    <dgm:cxn modelId="{76709A3E-08C6-425D-A56D-06B09EBF35F5}" type="presParOf" srcId="{C23A43D7-A0F1-4C9A-B826-4C0CBDCEC267}" destId="{1B50BFC0-B4D6-4BC3-B5E4-CF59BDFABE2A}" srcOrd="1" destOrd="0" presId="urn:microsoft.com/office/officeart/2005/8/layout/bProcess4"/>
    <dgm:cxn modelId="{8C963437-BAE8-4383-974A-64BEF9B26EA5}" type="presParOf" srcId="{43C8D023-4A08-46DB-AFBD-6200159D864A}" destId="{3C2DD09D-26A9-46AC-84EB-C215991B44BB}" srcOrd="19" destOrd="0" presId="urn:microsoft.com/office/officeart/2005/8/layout/bProcess4"/>
    <dgm:cxn modelId="{42608A53-BC57-43A7-974A-1AD5919F3E74}" type="presParOf" srcId="{43C8D023-4A08-46DB-AFBD-6200159D864A}" destId="{71078D0E-936B-46A5-9160-4F8666DDCB8F}" srcOrd="20" destOrd="0" presId="urn:microsoft.com/office/officeart/2005/8/layout/bProcess4"/>
    <dgm:cxn modelId="{A518A50B-6186-46D8-B459-03E8944900B1}" type="presParOf" srcId="{71078D0E-936B-46A5-9160-4F8666DDCB8F}" destId="{21680056-C4D9-4771-912A-68D1D1FD5A4E}" srcOrd="0" destOrd="0" presId="urn:microsoft.com/office/officeart/2005/8/layout/bProcess4"/>
    <dgm:cxn modelId="{A0E2CC7F-BCFF-49C6-B9AF-3DFEF2697955}" type="presParOf" srcId="{71078D0E-936B-46A5-9160-4F8666DDCB8F}" destId="{A68F451B-07D1-4CC8-8C09-0A6CFF49BCE8}" srcOrd="1" destOrd="0" presId="urn:microsoft.com/office/officeart/2005/8/layout/bProcess4"/>
    <dgm:cxn modelId="{1D5798FA-2887-4A85-BD41-FC01A5DDC0EE}" type="presParOf" srcId="{43C8D023-4A08-46DB-AFBD-6200159D864A}" destId="{EE1B6901-BA8E-4105-96F4-42FA568E72BE}" srcOrd="21" destOrd="0" presId="urn:microsoft.com/office/officeart/2005/8/layout/bProcess4"/>
    <dgm:cxn modelId="{068D3D86-28F2-41E4-B417-9E6DBF9A3E07}" type="presParOf" srcId="{43C8D023-4A08-46DB-AFBD-6200159D864A}" destId="{E1A51B93-D496-444F-A156-CAF74E809076}" srcOrd="22" destOrd="0" presId="urn:microsoft.com/office/officeart/2005/8/layout/bProcess4"/>
    <dgm:cxn modelId="{018CBDB5-4269-4E56-99CD-AADFD12BF9A2}" type="presParOf" srcId="{E1A51B93-D496-444F-A156-CAF74E809076}" destId="{D95F7B6E-C843-4412-AD1C-14CA2FC5923C}" srcOrd="0" destOrd="0" presId="urn:microsoft.com/office/officeart/2005/8/layout/bProcess4"/>
    <dgm:cxn modelId="{1DBA4AD0-B9D8-4551-8771-555FA3190F76}" type="presParOf" srcId="{E1A51B93-D496-444F-A156-CAF74E809076}" destId="{1B96307D-B72E-46CA-99C3-DF4964887F61}" srcOrd="1" destOrd="0" presId="urn:microsoft.com/office/officeart/2005/8/layout/bProcess4"/>
    <dgm:cxn modelId="{A54525B2-210C-472C-8944-FF90D6E03719}" type="presParOf" srcId="{43C8D023-4A08-46DB-AFBD-6200159D864A}" destId="{6C96EEF3-BDD2-46B0-9775-DB0AD7122BCA}" srcOrd="23" destOrd="0" presId="urn:microsoft.com/office/officeart/2005/8/layout/bProcess4"/>
    <dgm:cxn modelId="{4879CF89-0744-4F32-8713-9E32C3FC611F}" type="presParOf" srcId="{43C8D023-4A08-46DB-AFBD-6200159D864A}" destId="{6FBB79D9-3544-408E-8CD8-6C318341500A}" srcOrd="24" destOrd="0" presId="urn:microsoft.com/office/officeart/2005/8/layout/bProcess4"/>
    <dgm:cxn modelId="{5C7DDC2F-9677-488C-92E9-CF463F328885}" type="presParOf" srcId="{6FBB79D9-3544-408E-8CD8-6C318341500A}" destId="{533E4288-8719-46AC-A924-EF3C8C5C8D40}" srcOrd="0" destOrd="0" presId="urn:microsoft.com/office/officeart/2005/8/layout/bProcess4"/>
    <dgm:cxn modelId="{1F8FAA1F-33CB-4B35-B257-A0A6F90A689E}" type="presParOf" srcId="{6FBB79D9-3544-408E-8CD8-6C318341500A}" destId="{B428A3B2-862D-4B94-BDCF-12B1A0C11E4D}" srcOrd="1" destOrd="0" presId="urn:microsoft.com/office/officeart/2005/8/layout/bProcess4"/>
    <dgm:cxn modelId="{B2A4E49A-D4F4-4762-9831-2C08A85D0040}" type="presParOf" srcId="{43C8D023-4A08-46DB-AFBD-6200159D864A}" destId="{F6FC2ECE-CFEF-4937-9FA9-7386B67A1865}" srcOrd="25" destOrd="0" presId="urn:microsoft.com/office/officeart/2005/8/layout/bProcess4"/>
    <dgm:cxn modelId="{5A788B00-19E5-4BA6-98C4-FEC24BDA9BBB}" type="presParOf" srcId="{43C8D023-4A08-46DB-AFBD-6200159D864A}" destId="{14F0E3BB-2CCD-448D-963D-3688A898D237}" srcOrd="26" destOrd="0" presId="urn:microsoft.com/office/officeart/2005/8/layout/bProcess4"/>
    <dgm:cxn modelId="{3587A49A-A9A2-4A20-9408-678E60A387D9}" type="presParOf" srcId="{14F0E3BB-2CCD-448D-963D-3688A898D237}" destId="{446B60AE-F23C-4035-881C-0AFE6A5756DC}" srcOrd="0" destOrd="0" presId="urn:microsoft.com/office/officeart/2005/8/layout/bProcess4"/>
    <dgm:cxn modelId="{BDA119B2-31BE-4739-A3AE-2ABA46C4D150}" type="presParOf" srcId="{14F0E3BB-2CCD-448D-963D-3688A898D237}" destId="{D46D306B-4D14-46FF-9643-9239C46D8CAC}" srcOrd="1" destOrd="0" presId="urn:microsoft.com/office/officeart/2005/8/layout/bProcess4"/>
    <dgm:cxn modelId="{49B9F80A-7656-4E29-A729-B577390CDD14}" type="presParOf" srcId="{43C8D023-4A08-46DB-AFBD-6200159D864A}" destId="{336F546F-1FDC-4E18-95BF-FE0101C6AA07}" srcOrd="27" destOrd="0" presId="urn:microsoft.com/office/officeart/2005/8/layout/bProcess4"/>
    <dgm:cxn modelId="{911B4F55-901C-4E6A-BB78-D70728AA9DFE}" type="presParOf" srcId="{43C8D023-4A08-46DB-AFBD-6200159D864A}" destId="{BD498463-E07A-435B-B5E6-4BAAA18A372E}" srcOrd="28" destOrd="0" presId="urn:microsoft.com/office/officeart/2005/8/layout/bProcess4"/>
    <dgm:cxn modelId="{DF063132-C482-4C3D-B390-486D7C442F0A}" type="presParOf" srcId="{BD498463-E07A-435B-B5E6-4BAAA18A372E}" destId="{355AAA7F-3BF3-4C38-BD80-872636B0FC73}" srcOrd="0" destOrd="0" presId="urn:microsoft.com/office/officeart/2005/8/layout/bProcess4"/>
    <dgm:cxn modelId="{4B8EB6B3-5AF5-4979-8A08-FA3BA3435F06}" type="presParOf" srcId="{BD498463-E07A-435B-B5E6-4BAAA18A372E}" destId="{865CC9CB-4D1A-4BBD-89CB-C6A0A3D909BD}" srcOrd="1" destOrd="0" presId="urn:microsoft.com/office/officeart/2005/8/layout/bProcess4"/>
    <dgm:cxn modelId="{67CB613D-3A8F-42D7-B51D-71FF11856E82}" type="presParOf" srcId="{43C8D023-4A08-46DB-AFBD-6200159D864A}" destId="{71178B63-9DA7-4EB2-B893-CB8B1DDC5504}" srcOrd="29" destOrd="0" presId="urn:microsoft.com/office/officeart/2005/8/layout/bProcess4"/>
    <dgm:cxn modelId="{6CF326DA-ECDF-4ED8-953D-0A4AB3941463}" type="presParOf" srcId="{43C8D023-4A08-46DB-AFBD-6200159D864A}" destId="{0743C31E-A2CB-493A-A8DF-8F51DA863E01}" srcOrd="30" destOrd="0" presId="urn:microsoft.com/office/officeart/2005/8/layout/bProcess4"/>
    <dgm:cxn modelId="{9780911D-8DF4-407D-98EE-6B782CAFF297}" type="presParOf" srcId="{0743C31E-A2CB-493A-A8DF-8F51DA863E01}" destId="{045FEA87-D9C2-4D10-843C-930A5F98A373}" srcOrd="0" destOrd="0" presId="urn:microsoft.com/office/officeart/2005/8/layout/bProcess4"/>
    <dgm:cxn modelId="{094D46CF-0C86-46DB-B84D-8EE95CB75C48}" type="presParOf" srcId="{0743C31E-A2CB-493A-A8DF-8F51DA863E01}" destId="{032526AA-CA4F-47A6-8833-CC4E299DB417}" srcOrd="1" destOrd="0" presId="urn:microsoft.com/office/officeart/2005/8/layout/bProcess4"/>
    <dgm:cxn modelId="{D7844636-116A-4D79-BAF1-9634E0D5EDD8}" type="presParOf" srcId="{43C8D023-4A08-46DB-AFBD-6200159D864A}" destId="{9B25D534-E41D-4E66-9ABC-EB6CCB037EBF}" srcOrd="31" destOrd="0" presId="urn:microsoft.com/office/officeart/2005/8/layout/bProcess4"/>
    <dgm:cxn modelId="{9FF9FE9C-C553-404B-B40F-C3884C6D6A9E}" type="presParOf" srcId="{43C8D023-4A08-46DB-AFBD-6200159D864A}" destId="{CCC07B11-DE30-4D37-9E33-7B3F122D2E49}" srcOrd="32" destOrd="0" presId="urn:microsoft.com/office/officeart/2005/8/layout/bProcess4"/>
    <dgm:cxn modelId="{264AAC36-1834-480C-B1A9-E81C9ADCD518}" type="presParOf" srcId="{CCC07B11-DE30-4D37-9E33-7B3F122D2E49}" destId="{B1C23F8D-A0D2-465F-8A49-2D9214C7064B}" srcOrd="0" destOrd="0" presId="urn:microsoft.com/office/officeart/2005/8/layout/bProcess4"/>
    <dgm:cxn modelId="{420BA912-D93A-40D0-B494-A504D1F20884}" type="presParOf" srcId="{CCC07B11-DE30-4D37-9E33-7B3F122D2E49}" destId="{E85740BD-7D7E-4766-A8DC-1A35B1C1FEC9}" srcOrd="1" destOrd="0" presId="urn:microsoft.com/office/officeart/2005/8/layout/bProcess4"/>
    <dgm:cxn modelId="{9DB04C6C-CED6-4719-A7E0-A8AB78B03BD8}" type="presParOf" srcId="{43C8D023-4A08-46DB-AFBD-6200159D864A}" destId="{89D00D1F-943B-48DA-A8FD-AC043957EA6D}" srcOrd="33" destOrd="0" presId="urn:microsoft.com/office/officeart/2005/8/layout/bProcess4"/>
    <dgm:cxn modelId="{1E81F5DD-CC47-42B5-B471-728A5A71B0B3}" type="presParOf" srcId="{43C8D023-4A08-46DB-AFBD-6200159D864A}" destId="{DE01F387-6F26-481B-893B-A7B2038622EE}" srcOrd="34" destOrd="0" presId="urn:microsoft.com/office/officeart/2005/8/layout/bProcess4"/>
    <dgm:cxn modelId="{EBE22BA3-B654-4739-AB9C-2A069E208D48}" type="presParOf" srcId="{DE01F387-6F26-481B-893B-A7B2038622EE}" destId="{486799BC-36A2-4D59-815C-A49F4DD3A69C}" srcOrd="0" destOrd="0" presId="urn:microsoft.com/office/officeart/2005/8/layout/bProcess4"/>
    <dgm:cxn modelId="{C1C72CAE-9500-4495-B395-7A518D409021}" type="presParOf" srcId="{DE01F387-6F26-481B-893B-A7B2038622EE}" destId="{37C0B14A-2A81-4DA6-A4DE-8B0C0FD97FC1}" srcOrd="1" destOrd="0" presId="urn:microsoft.com/office/officeart/2005/8/layout/bProcess4"/>
    <dgm:cxn modelId="{F23DE067-75F9-4636-B965-062716AD69AA}" type="presParOf" srcId="{43C8D023-4A08-46DB-AFBD-6200159D864A}" destId="{A1C00C4B-A7DA-42E9-8FF6-0516DAF3992D}" srcOrd="35" destOrd="0" presId="urn:microsoft.com/office/officeart/2005/8/layout/bProcess4"/>
    <dgm:cxn modelId="{44CC0D79-FA95-445F-81EF-C030129566C2}" type="presParOf" srcId="{43C8D023-4A08-46DB-AFBD-6200159D864A}" destId="{E43C59BA-DBEA-4CF3-88EB-510F1480E057}" srcOrd="36" destOrd="0" presId="urn:microsoft.com/office/officeart/2005/8/layout/bProcess4"/>
    <dgm:cxn modelId="{B28B6662-C325-46B5-9416-954D4A656AA2}" type="presParOf" srcId="{E43C59BA-DBEA-4CF3-88EB-510F1480E057}" destId="{CB540A9B-E176-4615-BEA3-3F0C4A4D176D}" srcOrd="0" destOrd="0" presId="urn:microsoft.com/office/officeart/2005/8/layout/bProcess4"/>
    <dgm:cxn modelId="{B5B3D090-4962-4702-B0FA-08DB44BF572F}" type="presParOf" srcId="{E43C59BA-DBEA-4CF3-88EB-510F1480E057}" destId="{944E00CC-E210-4FBC-BC90-6DD58207E1A0}" srcOrd="1" destOrd="0" presId="urn:microsoft.com/office/officeart/2005/8/layout/bProcess4"/>
    <dgm:cxn modelId="{46201DBB-B36B-49BC-93EF-597EFD30C3C4}" type="presParOf" srcId="{43C8D023-4A08-46DB-AFBD-6200159D864A}" destId="{BB525EF4-11CA-4AF0-9D05-0890477F605B}" srcOrd="37" destOrd="0" presId="urn:microsoft.com/office/officeart/2005/8/layout/bProcess4"/>
    <dgm:cxn modelId="{AC8FFACE-7964-4CF6-AC5C-18AF669EC2BB}" type="presParOf" srcId="{43C8D023-4A08-46DB-AFBD-6200159D864A}" destId="{CC1DC260-BE15-4F47-87F2-8C3EEC978AF9}" srcOrd="38" destOrd="0" presId="urn:microsoft.com/office/officeart/2005/8/layout/bProcess4"/>
    <dgm:cxn modelId="{6B1EF7F6-6AAA-48E2-9F45-DBC851068BA6}" type="presParOf" srcId="{CC1DC260-BE15-4F47-87F2-8C3EEC978AF9}" destId="{47ED8017-C136-45AF-AB20-EBF3191025AD}" srcOrd="0" destOrd="0" presId="urn:microsoft.com/office/officeart/2005/8/layout/bProcess4"/>
    <dgm:cxn modelId="{0A195585-5B08-4762-AFD7-5E05C29AF683}" type="presParOf" srcId="{CC1DC260-BE15-4F47-87F2-8C3EEC978AF9}" destId="{AB49DBB2-8BF6-48D2-AD6B-E4C56A5DA215}" srcOrd="1" destOrd="0" presId="urn:microsoft.com/office/officeart/2005/8/layout/bProcess4"/>
    <dgm:cxn modelId="{9DFA5896-8B0A-4675-BAFA-25F067984EAB}" type="presParOf" srcId="{43C8D023-4A08-46DB-AFBD-6200159D864A}" destId="{8AEDD5ED-C456-404E-A0C1-9FCD061445C8}" srcOrd="39" destOrd="0" presId="urn:microsoft.com/office/officeart/2005/8/layout/bProcess4"/>
    <dgm:cxn modelId="{AD8F6A77-9C7E-4019-9923-E167DCE1CE89}" type="presParOf" srcId="{43C8D023-4A08-46DB-AFBD-6200159D864A}" destId="{841806DD-7523-4B3F-AB4C-B3A82D8547BD}" srcOrd="40" destOrd="0" presId="urn:microsoft.com/office/officeart/2005/8/layout/bProcess4"/>
    <dgm:cxn modelId="{31323959-6768-4F09-85AD-8187350F3D54}" type="presParOf" srcId="{841806DD-7523-4B3F-AB4C-B3A82D8547BD}" destId="{36102350-1BEA-4C65-837B-1A66EC1B7B5D}" srcOrd="0" destOrd="0" presId="urn:microsoft.com/office/officeart/2005/8/layout/bProcess4"/>
    <dgm:cxn modelId="{7F2FCCEF-C218-4E5D-8394-3140D00CDABC}" type="presParOf" srcId="{841806DD-7523-4B3F-AB4C-B3A82D8547BD}" destId="{C50EEFDE-E4D4-43BF-B3E0-15EBCF9D5439}" srcOrd="1" destOrd="0" presId="urn:microsoft.com/office/officeart/2005/8/layout/bProcess4"/>
    <dgm:cxn modelId="{80660609-61D7-4433-8ED9-0F29A0928980}" type="presParOf" srcId="{43C8D023-4A08-46DB-AFBD-6200159D864A}" destId="{FC461A49-6E8A-4765-BDC6-DF366118A9DB}" srcOrd="41" destOrd="0" presId="urn:microsoft.com/office/officeart/2005/8/layout/bProcess4"/>
    <dgm:cxn modelId="{33DA9193-682E-4B22-A4E6-DFB75819C705}" type="presParOf" srcId="{43C8D023-4A08-46DB-AFBD-6200159D864A}" destId="{A22ECE52-F2AE-43AB-9100-6F167B8A373B}" srcOrd="42" destOrd="0" presId="urn:microsoft.com/office/officeart/2005/8/layout/bProcess4"/>
    <dgm:cxn modelId="{0EE455DB-97C4-4B0F-8211-8F395C8F9484}" type="presParOf" srcId="{A22ECE52-F2AE-43AB-9100-6F167B8A373B}" destId="{11463E47-5635-4402-9E35-D2128D49955F}" srcOrd="0" destOrd="0" presId="urn:microsoft.com/office/officeart/2005/8/layout/bProcess4"/>
    <dgm:cxn modelId="{B7422AF0-FBEC-48F1-B079-42BE1135DFF4}" type="presParOf" srcId="{A22ECE52-F2AE-43AB-9100-6F167B8A373B}" destId="{2847F226-AA4E-451E-8FA8-84F2FF69A214}" srcOrd="1" destOrd="0" presId="urn:microsoft.com/office/officeart/2005/8/layout/bProcess4"/>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AF90E8-A1EA-4586-928D-0A2057E1CF18}"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E9F17FF9-84CB-4AA1-BBFD-68979FCDA9FF}">
      <dgm:prSet phldrT="[Text]" custT="1"/>
      <dgm:spPr>
        <a:solidFill>
          <a:schemeClr val="bg2"/>
        </a:solidFill>
        <a:ln>
          <a:noFill/>
        </a:ln>
      </dgm:spPr>
      <dgm:t>
        <a:bodyPr/>
        <a:lstStyle/>
        <a:p>
          <a:r>
            <a:rPr lang="en-US" sz="900" dirty="0" smtClean="0"/>
            <a:t>Release Management</a:t>
          </a:r>
          <a:endParaRPr lang="en-US" sz="900" dirty="0"/>
        </a:p>
      </dgm:t>
    </dgm:pt>
    <dgm:pt modelId="{C6B99BCA-809E-4DD8-9720-C996C7A9F8B2}" type="parTrans" cxnId="{101CE67B-E2B2-4A3D-A0DF-799E64986E46}">
      <dgm:prSet/>
      <dgm:spPr/>
      <dgm:t>
        <a:bodyPr/>
        <a:lstStyle/>
        <a:p>
          <a:endParaRPr lang="en-US"/>
        </a:p>
      </dgm:t>
    </dgm:pt>
    <dgm:pt modelId="{8CF5CB1E-B594-4492-81DF-BD90AD0D6918}" type="sibTrans" cxnId="{101CE67B-E2B2-4A3D-A0DF-799E64986E46}">
      <dgm:prSet/>
      <dgm:spPr>
        <a:solidFill>
          <a:schemeClr val="tx1">
            <a:lumMod val="50000"/>
            <a:lumOff val="50000"/>
          </a:schemeClr>
        </a:solidFill>
      </dgm:spPr>
      <dgm:t>
        <a:bodyPr/>
        <a:lstStyle/>
        <a:p>
          <a:endParaRPr lang="en-US"/>
        </a:p>
      </dgm:t>
    </dgm:pt>
    <dgm:pt modelId="{85779212-6661-4725-AB42-F7048CC39118}">
      <dgm:prSet phldrT="[Text]" custT="1"/>
      <dgm:spPr>
        <a:solidFill>
          <a:schemeClr val="bg2"/>
        </a:solidFill>
        <a:ln>
          <a:noFill/>
        </a:ln>
      </dgm:spPr>
      <dgm:t>
        <a:bodyPr/>
        <a:lstStyle/>
        <a:p>
          <a:r>
            <a:rPr lang="en-US" sz="900" dirty="0" smtClean="0"/>
            <a:t>Collaboration/ KM Management</a:t>
          </a:r>
          <a:endParaRPr lang="en-US" sz="900" dirty="0"/>
        </a:p>
      </dgm:t>
    </dgm:pt>
    <dgm:pt modelId="{6F580CD6-77FB-49E7-AB68-F4756DCC3BC8}" type="parTrans" cxnId="{5F6E4A05-A398-46E1-93E6-2AB004134746}">
      <dgm:prSet/>
      <dgm:spPr/>
      <dgm:t>
        <a:bodyPr/>
        <a:lstStyle/>
        <a:p>
          <a:endParaRPr lang="en-US"/>
        </a:p>
      </dgm:t>
    </dgm:pt>
    <dgm:pt modelId="{2215B2C2-F53F-48D4-AAEB-E3661D91D79C}" type="sibTrans" cxnId="{5F6E4A05-A398-46E1-93E6-2AB004134746}">
      <dgm:prSet/>
      <dgm:spPr>
        <a:solidFill>
          <a:schemeClr val="tx1">
            <a:lumMod val="50000"/>
            <a:lumOff val="50000"/>
          </a:schemeClr>
        </a:solidFill>
      </dgm:spPr>
      <dgm:t>
        <a:bodyPr/>
        <a:lstStyle/>
        <a:p>
          <a:endParaRPr lang="en-US"/>
        </a:p>
      </dgm:t>
    </dgm:pt>
    <dgm:pt modelId="{849F1AF7-80F2-4D94-9C87-042462653019}">
      <dgm:prSet phldrT="[Text]" custT="1"/>
      <dgm:spPr>
        <a:solidFill>
          <a:schemeClr val="bg2"/>
        </a:solidFill>
        <a:ln>
          <a:noFill/>
        </a:ln>
      </dgm:spPr>
      <dgm:t>
        <a:bodyPr/>
        <a:lstStyle/>
        <a:p>
          <a:r>
            <a:rPr lang="en-US" sz="900" dirty="0" smtClean="0"/>
            <a:t>Code Checkout</a:t>
          </a:r>
          <a:endParaRPr lang="en-US" sz="900" dirty="0"/>
        </a:p>
      </dgm:t>
    </dgm:pt>
    <dgm:pt modelId="{FD7D8452-F8C4-444D-AF53-6B0291A0CCC0}" type="parTrans" cxnId="{3322B252-840F-41F1-8A0C-0D572C8B8350}">
      <dgm:prSet/>
      <dgm:spPr/>
      <dgm:t>
        <a:bodyPr/>
        <a:lstStyle/>
        <a:p>
          <a:endParaRPr lang="en-US"/>
        </a:p>
      </dgm:t>
    </dgm:pt>
    <dgm:pt modelId="{7C2CE862-3CB4-48E1-8966-FEEE24307D57}" type="sibTrans" cxnId="{3322B252-840F-41F1-8A0C-0D572C8B8350}">
      <dgm:prSet/>
      <dgm:spPr>
        <a:solidFill>
          <a:schemeClr val="tx1">
            <a:lumMod val="50000"/>
            <a:lumOff val="50000"/>
          </a:schemeClr>
        </a:solidFill>
      </dgm:spPr>
      <dgm:t>
        <a:bodyPr/>
        <a:lstStyle/>
        <a:p>
          <a:endParaRPr lang="en-US"/>
        </a:p>
      </dgm:t>
    </dgm:pt>
    <dgm:pt modelId="{1BA9C312-3FC6-492C-A4A5-D1F5D3C47968}">
      <dgm:prSet phldrT="[Text]" custT="1"/>
      <dgm:spPr>
        <a:solidFill>
          <a:schemeClr val="bg2"/>
        </a:solidFill>
        <a:ln>
          <a:noFill/>
        </a:ln>
      </dgm:spPr>
      <dgm:t>
        <a:bodyPr/>
        <a:lstStyle/>
        <a:p>
          <a:r>
            <a:rPr lang="en-US" sz="900" dirty="0" smtClean="0"/>
            <a:t>Code Construction</a:t>
          </a:r>
          <a:endParaRPr lang="en-US" sz="900" dirty="0"/>
        </a:p>
      </dgm:t>
    </dgm:pt>
    <dgm:pt modelId="{A713E7FF-1CAD-4740-B3E0-EB45F4AAC7BE}" type="parTrans" cxnId="{35D90AA5-A97B-4370-B278-E9458FFB9BA6}">
      <dgm:prSet/>
      <dgm:spPr/>
      <dgm:t>
        <a:bodyPr/>
        <a:lstStyle/>
        <a:p>
          <a:endParaRPr lang="en-US"/>
        </a:p>
      </dgm:t>
    </dgm:pt>
    <dgm:pt modelId="{DFF57308-0DD1-475E-B2FA-E31BBB6A0860}" type="sibTrans" cxnId="{35D90AA5-A97B-4370-B278-E9458FFB9BA6}">
      <dgm:prSet/>
      <dgm:spPr>
        <a:solidFill>
          <a:schemeClr val="tx1">
            <a:lumMod val="50000"/>
            <a:lumOff val="50000"/>
          </a:schemeClr>
        </a:solidFill>
      </dgm:spPr>
      <dgm:t>
        <a:bodyPr/>
        <a:lstStyle/>
        <a:p>
          <a:endParaRPr lang="en-US"/>
        </a:p>
      </dgm:t>
    </dgm:pt>
    <dgm:pt modelId="{3930EB36-6FDA-44CB-ABCF-988A9BA436E3}">
      <dgm:prSet phldrT="[Text]" custT="1"/>
      <dgm:spPr>
        <a:solidFill>
          <a:schemeClr val="accent4"/>
        </a:solidFill>
        <a:ln>
          <a:noFill/>
        </a:ln>
      </dgm:spPr>
      <dgm:t>
        <a:bodyPr/>
        <a:lstStyle/>
        <a:p>
          <a:r>
            <a:rPr lang="en-US" sz="900" dirty="0" smtClean="0"/>
            <a:t>Unit Testing</a:t>
          </a:r>
          <a:endParaRPr lang="en-US" sz="900" dirty="0"/>
        </a:p>
      </dgm:t>
    </dgm:pt>
    <dgm:pt modelId="{A76573DD-7B52-434F-87C3-DD21C0CB5B23}" type="parTrans" cxnId="{7556444B-E586-4C76-B57A-7A3A3DE9645D}">
      <dgm:prSet/>
      <dgm:spPr/>
      <dgm:t>
        <a:bodyPr/>
        <a:lstStyle/>
        <a:p>
          <a:endParaRPr lang="en-US"/>
        </a:p>
      </dgm:t>
    </dgm:pt>
    <dgm:pt modelId="{F3DCA773-1244-4B9A-9ED9-C0FDC19BC45E}" type="sibTrans" cxnId="{7556444B-E586-4C76-B57A-7A3A3DE9645D}">
      <dgm:prSet/>
      <dgm:spPr>
        <a:solidFill>
          <a:schemeClr val="tx1">
            <a:lumMod val="50000"/>
            <a:lumOff val="50000"/>
          </a:schemeClr>
        </a:solidFill>
      </dgm:spPr>
      <dgm:t>
        <a:bodyPr/>
        <a:lstStyle/>
        <a:p>
          <a:endParaRPr lang="en-US"/>
        </a:p>
      </dgm:t>
    </dgm:pt>
    <dgm:pt modelId="{ADF668AF-3E12-4B37-BBC6-0A6519A77140}">
      <dgm:prSet phldrT="[Text]" custT="1"/>
      <dgm:spPr>
        <a:solidFill>
          <a:schemeClr val="accent4"/>
        </a:solidFill>
        <a:ln>
          <a:noFill/>
        </a:ln>
      </dgm:spPr>
      <dgm:t>
        <a:bodyPr/>
        <a:lstStyle/>
        <a:p>
          <a:r>
            <a:rPr lang="en-US" sz="900" dirty="0" smtClean="0"/>
            <a:t>Code Review</a:t>
          </a:r>
          <a:endParaRPr lang="en-US" sz="900" dirty="0"/>
        </a:p>
      </dgm:t>
    </dgm:pt>
    <dgm:pt modelId="{CC484BE2-A604-4608-8FEA-5A49472B3C2C}" type="parTrans" cxnId="{B16DEB27-96D6-4358-A383-83FF61A1507A}">
      <dgm:prSet/>
      <dgm:spPr/>
      <dgm:t>
        <a:bodyPr/>
        <a:lstStyle/>
        <a:p>
          <a:endParaRPr lang="en-US"/>
        </a:p>
      </dgm:t>
    </dgm:pt>
    <dgm:pt modelId="{588DFA08-AA0A-4B91-9359-5C2C4488A330}" type="sibTrans" cxnId="{B16DEB27-96D6-4358-A383-83FF61A1507A}">
      <dgm:prSet/>
      <dgm:spPr>
        <a:solidFill>
          <a:schemeClr val="tx1">
            <a:lumMod val="50000"/>
            <a:lumOff val="50000"/>
          </a:schemeClr>
        </a:solidFill>
      </dgm:spPr>
      <dgm:t>
        <a:bodyPr/>
        <a:lstStyle/>
        <a:p>
          <a:endParaRPr lang="en-US"/>
        </a:p>
      </dgm:t>
    </dgm:pt>
    <dgm:pt modelId="{37FE08DE-1395-40CA-9A0B-525CD6B5E831}">
      <dgm:prSet phldrT="[Text]" custT="1"/>
      <dgm:spPr>
        <a:solidFill>
          <a:schemeClr val="bg2"/>
        </a:solidFill>
        <a:ln>
          <a:noFill/>
        </a:ln>
      </dgm:spPr>
      <dgm:t>
        <a:bodyPr/>
        <a:lstStyle/>
        <a:p>
          <a:r>
            <a:rPr lang="en-US" sz="900" dirty="0" smtClean="0"/>
            <a:t>Code Conflict Management</a:t>
          </a:r>
          <a:endParaRPr lang="en-US" sz="900" dirty="0"/>
        </a:p>
      </dgm:t>
    </dgm:pt>
    <dgm:pt modelId="{5BEB020A-F5F5-4850-9980-5A4661CB3AD2}" type="parTrans" cxnId="{E4DB4185-9DF4-435B-8968-A0AAB99B9C73}">
      <dgm:prSet/>
      <dgm:spPr/>
      <dgm:t>
        <a:bodyPr/>
        <a:lstStyle/>
        <a:p>
          <a:endParaRPr lang="en-US"/>
        </a:p>
      </dgm:t>
    </dgm:pt>
    <dgm:pt modelId="{57271963-C7A4-4669-BFA6-3618812B92AB}" type="sibTrans" cxnId="{E4DB4185-9DF4-435B-8968-A0AAB99B9C73}">
      <dgm:prSet/>
      <dgm:spPr>
        <a:solidFill>
          <a:schemeClr val="tx1">
            <a:lumMod val="50000"/>
            <a:lumOff val="50000"/>
          </a:schemeClr>
        </a:solidFill>
      </dgm:spPr>
      <dgm:t>
        <a:bodyPr/>
        <a:lstStyle/>
        <a:p>
          <a:endParaRPr lang="en-US"/>
        </a:p>
      </dgm:t>
    </dgm:pt>
    <dgm:pt modelId="{3738A1B5-90CF-463A-8275-7F3A4F3727AB}">
      <dgm:prSet phldrT="[Text]" custT="1"/>
      <dgm:spPr>
        <a:solidFill>
          <a:schemeClr val="bg2"/>
        </a:solidFill>
        <a:ln>
          <a:noFill/>
        </a:ln>
      </dgm:spPr>
      <dgm:t>
        <a:bodyPr/>
        <a:lstStyle/>
        <a:p>
          <a:r>
            <a:rPr lang="en-US" sz="900" dirty="0" smtClean="0"/>
            <a:t>Version Management</a:t>
          </a:r>
          <a:endParaRPr lang="en-US" sz="900" dirty="0"/>
        </a:p>
      </dgm:t>
    </dgm:pt>
    <dgm:pt modelId="{62E7C633-B086-48CB-B985-A62A961F08C3}" type="parTrans" cxnId="{32A49BFC-A3EA-4549-844A-F84528076B00}">
      <dgm:prSet/>
      <dgm:spPr/>
      <dgm:t>
        <a:bodyPr/>
        <a:lstStyle/>
        <a:p>
          <a:endParaRPr lang="en-US"/>
        </a:p>
      </dgm:t>
    </dgm:pt>
    <dgm:pt modelId="{83DCAC2A-0010-44F2-ABC6-53BAD1DF01BB}" type="sibTrans" cxnId="{32A49BFC-A3EA-4549-844A-F84528076B00}">
      <dgm:prSet/>
      <dgm:spPr>
        <a:solidFill>
          <a:schemeClr val="tx1">
            <a:lumMod val="50000"/>
            <a:lumOff val="50000"/>
          </a:schemeClr>
        </a:solidFill>
      </dgm:spPr>
      <dgm:t>
        <a:bodyPr/>
        <a:lstStyle/>
        <a:p>
          <a:endParaRPr lang="en-US"/>
        </a:p>
      </dgm:t>
    </dgm:pt>
    <dgm:pt modelId="{5F563FDF-68E0-4532-A238-F2B4F40D514C}">
      <dgm:prSet phldrT="[Text]" custT="1"/>
      <dgm:spPr>
        <a:solidFill>
          <a:schemeClr val="bg2"/>
        </a:solidFill>
        <a:ln>
          <a:noFill/>
        </a:ln>
      </dgm:spPr>
      <dgm:t>
        <a:bodyPr/>
        <a:lstStyle/>
        <a:p>
          <a:r>
            <a:rPr lang="en-US" sz="900" dirty="0" smtClean="0"/>
            <a:t>Build</a:t>
          </a:r>
          <a:endParaRPr lang="en-US" sz="900" dirty="0"/>
        </a:p>
      </dgm:t>
    </dgm:pt>
    <dgm:pt modelId="{07F5E03E-FE05-4817-9E56-E2A4F8CB0CAA}" type="parTrans" cxnId="{E036A73C-ACC6-48D5-B446-DD3B0833955B}">
      <dgm:prSet/>
      <dgm:spPr/>
      <dgm:t>
        <a:bodyPr/>
        <a:lstStyle/>
        <a:p>
          <a:endParaRPr lang="en-US"/>
        </a:p>
      </dgm:t>
    </dgm:pt>
    <dgm:pt modelId="{2E6F1F50-D4EB-4BC1-8C05-7F4BB60E1095}" type="sibTrans" cxnId="{E036A73C-ACC6-48D5-B446-DD3B0833955B}">
      <dgm:prSet/>
      <dgm:spPr>
        <a:solidFill>
          <a:schemeClr val="tx1">
            <a:lumMod val="50000"/>
            <a:lumOff val="50000"/>
          </a:schemeClr>
        </a:solidFill>
      </dgm:spPr>
      <dgm:t>
        <a:bodyPr/>
        <a:lstStyle/>
        <a:p>
          <a:endParaRPr lang="en-US"/>
        </a:p>
      </dgm:t>
    </dgm:pt>
    <dgm:pt modelId="{9E968A82-C2C9-4708-8C57-1EDF4EDF7FAA}">
      <dgm:prSet phldrT="[Text]" custT="1"/>
      <dgm:spPr>
        <a:solidFill>
          <a:schemeClr val="accent4"/>
        </a:solidFill>
        <a:ln>
          <a:noFill/>
        </a:ln>
      </dgm:spPr>
      <dgm:t>
        <a:bodyPr/>
        <a:lstStyle/>
        <a:p>
          <a:r>
            <a:rPr lang="en-US" sz="900" dirty="0" smtClean="0">
              <a:solidFill>
                <a:schemeClr val="bg1"/>
              </a:solidFill>
            </a:rPr>
            <a:t>Functional Testing</a:t>
          </a:r>
          <a:endParaRPr lang="en-US" sz="900" dirty="0">
            <a:solidFill>
              <a:schemeClr val="bg1"/>
            </a:solidFill>
          </a:endParaRPr>
        </a:p>
      </dgm:t>
    </dgm:pt>
    <dgm:pt modelId="{DDD34AAC-5BA3-4936-9F7A-826950BBBFBE}" type="parTrans" cxnId="{8E2F635B-4747-43A5-9185-4AD3BA51060C}">
      <dgm:prSet/>
      <dgm:spPr/>
      <dgm:t>
        <a:bodyPr/>
        <a:lstStyle/>
        <a:p>
          <a:endParaRPr lang="en-US"/>
        </a:p>
      </dgm:t>
    </dgm:pt>
    <dgm:pt modelId="{1033E4E2-0E1D-4720-83E1-31115BA38D7F}" type="sibTrans" cxnId="{8E2F635B-4747-43A5-9185-4AD3BA51060C}">
      <dgm:prSet/>
      <dgm:spPr>
        <a:solidFill>
          <a:schemeClr val="tx1">
            <a:lumMod val="50000"/>
            <a:lumOff val="50000"/>
          </a:schemeClr>
        </a:solidFill>
      </dgm:spPr>
      <dgm:t>
        <a:bodyPr/>
        <a:lstStyle/>
        <a:p>
          <a:endParaRPr lang="en-US"/>
        </a:p>
      </dgm:t>
    </dgm:pt>
    <dgm:pt modelId="{126F406E-6F8A-49A3-979C-4B0D96D833E5}">
      <dgm:prSet phldrT="[Text]" custT="1"/>
      <dgm:spPr>
        <a:solidFill>
          <a:schemeClr val="accent4"/>
        </a:solidFill>
        <a:ln>
          <a:noFill/>
        </a:ln>
      </dgm:spPr>
      <dgm:t>
        <a:bodyPr/>
        <a:lstStyle/>
        <a:p>
          <a:r>
            <a:rPr lang="en-US" sz="900" dirty="0" smtClean="0"/>
            <a:t>Deployment – QA/SIT/UAT</a:t>
          </a:r>
          <a:endParaRPr lang="en-US" sz="900" dirty="0"/>
        </a:p>
      </dgm:t>
    </dgm:pt>
    <dgm:pt modelId="{C4478F16-E7D2-4394-AF82-5A2B6E0FA2DF}" type="parTrans" cxnId="{7D213385-4BB4-41F8-A2CD-6FBCDD16C446}">
      <dgm:prSet/>
      <dgm:spPr/>
      <dgm:t>
        <a:bodyPr/>
        <a:lstStyle/>
        <a:p>
          <a:endParaRPr lang="en-US"/>
        </a:p>
      </dgm:t>
    </dgm:pt>
    <dgm:pt modelId="{958EC8D5-2E09-4E39-8BCC-89A628BFA8D6}" type="sibTrans" cxnId="{7D213385-4BB4-41F8-A2CD-6FBCDD16C446}">
      <dgm:prSet/>
      <dgm:spPr>
        <a:solidFill>
          <a:schemeClr val="tx1">
            <a:lumMod val="50000"/>
            <a:lumOff val="50000"/>
          </a:schemeClr>
        </a:solidFill>
      </dgm:spPr>
      <dgm:t>
        <a:bodyPr/>
        <a:lstStyle/>
        <a:p>
          <a:endParaRPr lang="en-US"/>
        </a:p>
      </dgm:t>
    </dgm:pt>
    <dgm:pt modelId="{3341D280-779C-4D0C-A39C-F0051812E018}">
      <dgm:prSet phldrT="[Text]" custT="1"/>
      <dgm:spPr>
        <a:solidFill>
          <a:schemeClr val="bg2"/>
        </a:solidFill>
        <a:ln>
          <a:noFill/>
        </a:ln>
      </dgm:spPr>
      <dgm:t>
        <a:bodyPr/>
        <a:lstStyle/>
        <a:p>
          <a:r>
            <a:rPr lang="en-US" sz="900" dirty="0" smtClean="0"/>
            <a:t>Package and Artifact </a:t>
          </a:r>
          <a:r>
            <a:rPr lang="en-US" sz="900" dirty="0" err="1" smtClean="0"/>
            <a:t>Mngt</a:t>
          </a:r>
          <a:r>
            <a:rPr lang="en-US" sz="900" dirty="0" smtClean="0"/>
            <a:t>.</a:t>
          </a:r>
          <a:endParaRPr lang="en-US" sz="900" dirty="0"/>
        </a:p>
      </dgm:t>
    </dgm:pt>
    <dgm:pt modelId="{F4752A0A-B395-446A-A9AB-3D77A4ED6267}" type="parTrans" cxnId="{0D19982F-0F85-4A97-BCFA-6E65A7C00129}">
      <dgm:prSet/>
      <dgm:spPr/>
      <dgm:t>
        <a:bodyPr/>
        <a:lstStyle/>
        <a:p>
          <a:endParaRPr lang="en-US"/>
        </a:p>
      </dgm:t>
    </dgm:pt>
    <dgm:pt modelId="{E446F138-EBED-4CF1-9103-188FE94E650D}" type="sibTrans" cxnId="{0D19982F-0F85-4A97-BCFA-6E65A7C00129}">
      <dgm:prSet/>
      <dgm:spPr>
        <a:solidFill>
          <a:schemeClr val="tx1">
            <a:lumMod val="50000"/>
            <a:lumOff val="50000"/>
          </a:schemeClr>
        </a:solidFill>
      </dgm:spPr>
      <dgm:t>
        <a:bodyPr/>
        <a:lstStyle/>
        <a:p>
          <a:endParaRPr lang="en-US"/>
        </a:p>
      </dgm:t>
    </dgm:pt>
    <dgm:pt modelId="{239473F6-9DFA-4CBB-B80C-93A081707E6A}">
      <dgm:prSet phldrT="[Text]" custT="1"/>
      <dgm:spPr>
        <a:solidFill>
          <a:schemeClr val="bg2"/>
        </a:solidFill>
        <a:ln>
          <a:noFill/>
        </a:ln>
      </dgm:spPr>
      <dgm:t>
        <a:bodyPr/>
        <a:lstStyle/>
        <a:p>
          <a:r>
            <a:rPr lang="en-US" sz="900" dirty="0" smtClean="0"/>
            <a:t>Tag Release</a:t>
          </a:r>
          <a:endParaRPr lang="en-US" sz="900" dirty="0"/>
        </a:p>
      </dgm:t>
    </dgm:pt>
    <dgm:pt modelId="{43FB8A35-13BC-4F57-8130-ED887FC3598E}" type="parTrans" cxnId="{0353A571-4EAC-4846-A2D7-C7D32E188DFB}">
      <dgm:prSet/>
      <dgm:spPr/>
      <dgm:t>
        <a:bodyPr/>
        <a:lstStyle/>
        <a:p>
          <a:endParaRPr lang="en-US"/>
        </a:p>
      </dgm:t>
    </dgm:pt>
    <dgm:pt modelId="{CB3E1638-FD94-40EE-8343-708E939E8EA2}" type="sibTrans" cxnId="{0353A571-4EAC-4846-A2D7-C7D32E188DFB}">
      <dgm:prSet/>
      <dgm:spPr>
        <a:solidFill>
          <a:schemeClr val="tx1">
            <a:lumMod val="50000"/>
            <a:lumOff val="50000"/>
          </a:schemeClr>
        </a:solidFill>
      </dgm:spPr>
      <dgm:t>
        <a:bodyPr/>
        <a:lstStyle/>
        <a:p>
          <a:endParaRPr lang="en-US"/>
        </a:p>
      </dgm:t>
    </dgm:pt>
    <dgm:pt modelId="{5A340EBB-0CD1-4298-95DA-27F72796D99F}">
      <dgm:prSet phldrT="[Text]" custT="1"/>
      <dgm:spPr>
        <a:solidFill>
          <a:schemeClr val="bg2"/>
        </a:solidFill>
        <a:ln>
          <a:noFill/>
        </a:ln>
      </dgm:spPr>
      <dgm:t>
        <a:bodyPr/>
        <a:lstStyle/>
        <a:p>
          <a:r>
            <a:rPr lang="en-US" sz="900" dirty="0" smtClean="0"/>
            <a:t>Static/Dynamic Code Analysis</a:t>
          </a:r>
          <a:endParaRPr lang="en-US" sz="900" dirty="0"/>
        </a:p>
      </dgm:t>
    </dgm:pt>
    <dgm:pt modelId="{363361E4-A48B-4E35-A16F-3EA81F494ADD}" type="parTrans" cxnId="{F960A199-D1F8-4E7B-96E2-49F2A8F69B55}">
      <dgm:prSet/>
      <dgm:spPr/>
      <dgm:t>
        <a:bodyPr/>
        <a:lstStyle/>
        <a:p>
          <a:endParaRPr lang="en-US"/>
        </a:p>
      </dgm:t>
    </dgm:pt>
    <dgm:pt modelId="{9605F4AE-7274-4589-894C-1B1A3A565BF5}" type="sibTrans" cxnId="{F960A199-D1F8-4E7B-96E2-49F2A8F69B55}">
      <dgm:prSet/>
      <dgm:spPr>
        <a:solidFill>
          <a:schemeClr val="tx1">
            <a:lumMod val="50000"/>
            <a:lumOff val="50000"/>
          </a:schemeClr>
        </a:solidFill>
      </dgm:spPr>
      <dgm:t>
        <a:bodyPr/>
        <a:lstStyle/>
        <a:p>
          <a:endParaRPr lang="en-US"/>
        </a:p>
      </dgm:t>
    </dgm:pt>
    <dgm:pt modelId="{4D86363D-FCDF-405A-A7D2-DF82B39338D2}">
      <dgm:prSet phldrT="[Text]" custT="1"/>
      <dgm:spPr>
        <a:solidFill>
          <a:schemeClr val="accent4"/>
        </a:solidFill>
        <a:ln>
          <a:noFill/>
        </a:ln>
      </dgm:spPr>
      <dgm:t>
        <a:bodyPr/>
        <a:lstStyle/>
        <a:p>
          <a:r>
            <a:rPr lang="en-US" sz="900" dirty="0" smtClean="0"/>
            <a:t>Integration Testing</a:t>
          </a:r>
          <a:endParaRPr lang="en-US" sz="900" dirty="0"/>
        </a:p>
      </dgm:t>
    </dgm:pt>
    <dgm:pt modelId="{319D7107-C98F-4A2E-8239-05A3900CF85D}" type="parTrans" cxnId="{21D8CC83-DBDA-4724-A583-9B46B319AACE}">
      <dgm:prSet/>
      <dgm:spPr/>
      <dgm:t>
        <a:bodyPr/>
        <a:lstStyle/>
        <a:p>
          <a:endParaRPr lang="en-US"/>
        </a:p>
      </dgm:t>
    </dgm:pt>
    <dgm:pt modelId="{ECAFCB15-B4D1-453D-90E4-AA983B48832A}" type="sibTrans" cxnId="{21D8CC83-DBDA-4724-A583-9B46B319AACE}">
      <dgm:prSet/>
      <dgm:spPr>
        <a:solidFill>
          <a:schemeClr val="tx1">
            <a:lumMod val="50000"/>
            <a:lumOff val="50000"/>
          </a:schemeClr>
        </a:solidFill>
      </dgm:spPr>
      <dgm:t>
        <a:bodyPr/>
        <a:lstStyle/>
        <a:p>
          <a:endParaRPr lang="en-US"/>
        </a:p>
      </dgm:t>
    </dgm:pt>
    <dgm:pt modelId="{9DD5A6BA-862F-4A08-93A2-7D63C651E05C}">
      <dgm:prSet phldrT="[Text]" custT="1"/>
      <dgm:spPr>
        <a:solidFill>
          <a:schemeClr val="accent4"/>
        </a:solidFill>
        <a:ln>
          <a:noFill/>
        </a:ln>
      </dgm:spPr>
      <dgm:t>
        <a:bodyPr/>
        <a:lstStyle/>
        <a:p>
          <a:r>
            <a:rPr lang="en-US" sz="900" dirty="0" smtClean="0"/>
            <a:t>Security Testing</a:t>
          </a:r>
          <a:endParaRPr lang="en-US" sz="900" dirty="0"/>
        </a:p>
      </dgm:t>
    </dgm:pt>
    <dgm:pt modelId="{2F63AA87-74B1-49C8-9AE0-9B4065810AD2}" type="parTrans" cxnId="{10C10951-F977-4EFC-8ECD-13875A766D4B}">
      <dgm:prSet/>
      <dgm:spPr/>
      <dgm:t>
        <a:bodyPr/>
        <a:lstStyle/>
        <a:p>
          <a:endParaRPr lang="en-US"/>
        </a:p>
      </dgm:t>
    </dgm:pt>
    <dgm:pt modelId="{30E84380-30DC-4FA7-8248-189A4FD5B85B}" type="sibTrans" cxnId="{10C10951-F977-4EFC-8ECD-13875A766D4B}">
      <dgm:prSet/>
      <dgm:spPr>
        <a:solidFill>
          <a:schemeClr val="tx1">
            <a:lumMod val="50000"/>
            <a:lumOff val="50000"/>
          </a:schemeClr>
        </a:solidFill>
      </dgm:spPr>
      <dgm:t>
        <a:bodyPr/>
        <a:lstStyle/>
        <a:p>
          <a:endParaRPr lang="en-US"/>
        </a:p>
      </dgm:t>
    </dgm:pt>
    <dgm:pt modelId="{B23BB066-8472-44EB-B86D-AA6CC44B4FC0}">
      <dgm:prSet phldrT="[Text]" custT="1"/>
      <dgm:spPr>
        <a:solidFill>
          <a:schemeClr val="accent4"/>
        </a:solidFill>
        <a:ln>
          <a:noFill/>
        </a:ln>
      </dgm:spPr>
      <dgm:t>
        <a:bodyPr/>
        <a:lstStyle/>
        <a:p>
          <a:r>
            <a:rPr lang="en-US" sz="900" dirty="0" smtClean="0"/>
            <a:t>Performance Testing</a:t>
          </a:r>
          <a:endParaRPr lang="en-US" sz="900" dirty="0"/>
        </a:p>
      </dgm:t>
    </dgm:pt>
    <dgm:pt modelId="{BE4DD27B-62D9-435E-A8B1-FD632B88B8F0}" type="parTrans" cxnId="{C9AFB386-382E-4180-B7E7-CF4884CB8E5F}">
      <dgm:prSet/>
      <dgm:spPr/>
      <dgm:t>
        <a:bodyPr/>
        <a:lstStyle/>
        <a:p>
          <a:endParaRPr lang="en-US"/>
        </a:p>
      </dgm:t>
    </dgm:pt>
    <dgm:pt modelId="{CB760776-D8BE-4281-B64D-797A4660DBCA}" type="sibTrans" cxnId="{C9AFB386-382E-4180-B7E7-CF4884CB8E5F}">
      <dgm:prSet/>
      <dgm:spPr>
        <a:solidFill>
          <a:schemeClr val="tx1">
            <a:lumMod val="50000"/>
            <a:lumOff val="50000"/>
          </a:schemeClr>
        </a:solidFill>
      </dgm:spPr>
      <dgm:t>
        <a:bodyPr/>
        <a:lstStyle/>
        <a:p>
          <a:endParaRPr lang="en-US"/>
        </a:p>
      </dgm:t>
    </dgm:pt>
    <dgm:pt modelId="{39DEF6C6-E8FB-4ECE-ACD4-2E49036603D1}">
      <dgm:prSet phldrT="[Text]" custT="1"/>
      <dgm:spPr>
        <a:solidFill>
          <a:schemeClr val="accent4"/>
        </a:solidFill>
        <a:ln>
          <a:noFill/>
        </a:ln>
      </dgm:spPr>
      <dgm:t>
        <a:bodyPr/>
        <a:lstStyle/>
        <a:p>
          <a:r>
            <a:rPr lang="en-US" sz="900" dirty="0" smtClean="0"/>
            <a:t>User Acceptance Testing</a:t>
          </a:r>
          <a:endParaRPr lang="en-US" sz="900" dirty="0"/>
        </a:p>
      </dgm:t>
    </dgm:pt>
    <dgm:pt modelId="{9B69F6C1-27C2-480B-B0BE-3D826ADE007D}" type="parTrans" cxnId="{795763E9-4225-4BC6-B9EC-AB6874E2B24C}">
      <dgm:prSet/>
      <dgm:spPr/>
      <dgm:t>
        <a:bodyPr/>
        <a:lstStyle/>
        <a:p>
          <a:endParaRPr lang="en-US"/>
        </a:p>
      </dgm:t>
    </dgm:pt>
    <dgm:pt modelId="{38CC07E6-E536-40AC-A8C1-C3B8006F5027}" type="sibTrans" cxnId="{795763E9-4225-4BC6-B9EC-AB6874E2B24C}">
      <dgm:prSet/>
      <dgm:spPr>
        <a:solidFill>
          <a:schemeClr val="tx1">
            <a:lumMod val="50000"/>
            <a:lumOff val="50000"/>
          </a:schemeClr>
        </a:solidFill>
      </dgm:spPr>
      <dgm:t>
        <a:bodyPr/>
        <a:lstStyle/>
        <a:p>
          <a:endParaRPr lang="en-US"/>
        </a:p>
      </dgm:t>
    </dgm:pt>
    <dgm:pt modelId="{B0791259-9104-4F93-B8AD-DAEF5DF1EA80}">
      <dgm:prSet phldrT="[Text]" custT="1"/>
      <dgm:spPr>
        <a:solidFill>
          <a:schemeClr val="bg2"/>
        </a:solidFill>
        <a:ln>
          <a:noFill/>
        </a:ln>
      </dgm:spPr>
      <dgm:t>
        <a:bodyPr/>
        <a:lstStyle/>
        <a:p>
          <a:r>
            <a:rPr lang="en-US" sz="900" dirty="0" smtClean="0"/>
            <a:t>Service Management</a:t>
          </a:r>
          <a:endParaRPr lang="en-US" sz="900" dirty="0"/>
        </a:p>
      </dgm:t>
    </dgm:pt>
    <dgm:pt modelId="{1117126B-BFDF-432E-BA44-B7FDC3D8F145}" type="parTrans" cxnId="{245674ED-6B22-4C31-97D7-0FB63B7EB25C}">
      <dgm:prSet/>
      <dgm:spPr/>
      <dgm:t>
        <a:bodyPr/>
        <a:lstStyle/>
        <a:p>
          <a:endParaRPr lang="en-US"/>
        </a:p>
      </dgm:t>
    </dgm:pt>
    <dgm:pt modelId="{32BFCE23-CACB-4BAC-9396-91B12F6DFBA7}" type="sibTrans" cxnId="{245674ED-6B22-4C31-97D7-0FB63B7EB25C}">
      <dgm:prSet/>
      <dgm:spPr>
        <a:solidFill>
          <a:schemeClr val="tx1">
            <a:lumMod val="50000"/>
            <a:lumOff val="50000"/>
          </a:schemeClr>
        </a:solidFill>
      </dgm:spPr>
      <dgm:t>
        <a:bodyPr/>
        <a:lstStyle/>
        <a:p>
          <a:endParaRPr lang="en-US"/>
        </a:p>
      </dgm:t>
    </dgm:pt>
    <dgm:pt modelId="{F83289A8-9306-490E-B0CC-4C4053ADF858}">
      <dgm:prSet phldrT="[Text]" custT="1"/>
      <dgm:spPr>
        <a:solidFill>
          <a:schemeClr val="accent4"/>
        </a:solidFill>
        <a:ln>
          <a:noFill/>
        </a:ln>
      </dgm:spPr>
      <dgm:t>
        <a:bodyPr/>
        <a:lstStyle/>
        <a:p>
          <a:r>
            <a:rPr lang="en-US" sz="900" dirty="0" smtClean="0"/>
            <a:t>Deployment – Production</a:t>
          </a:r>
          <a:endParaRPr lang="en-US" sz="900" dirty="0"/>
        </a:p>
      </dgm:t>
    </dgm:pt>
    <dgm:pt modelId="{0D525162-730F-47CA-A7E4-BD772A86EEE9}" type="parTrans" cxnId="{52A8CA28-B741-4D34-9589-6E498E64E742}">
      <dgm:prSet/>
      <dgm:spPr/>
      <dgm:t>
        <a:bodyPr/>
        <a:lstStyle/>
        <a:p>
          <a:endParaRPr lang="en-US"/>
        </a:p>
      </dgm:t>
    </dgm:pt>
    <dgm:pt modelId="{F6C80EDB-E3A4-45B5-B30F-984A993975C6}" type="sibTrans" cxnId="{52A8CA28-B741-4D34-9589-6E498E64E742}">
      <dgm:prSet/>
      <dgm:spPr>
        <a:solidFill>
          <a:schemeClr val="tx1">
            <a:lumMod val="50000"/>
            <a:lumOff val="50000"/>
          </a:schemeClr>
        </a:solidFill>
      </dgm:spPr>
      <dgm:t>
        <a:bodyPr/>
        <a:lstStyle/>
        <a:p>
          <a:endParaRPr lang="en-US"/>
        </a:p>
      </dgm:t>
    </dgm:pt>
    <dgm:pt modelId="{B55A334A-32D7-4815-BEAC-C5617F56BF7E}">
      <dgm:prSet phldrT="[Text]" custT="1"/>
      <dgm:spPr>
        <a:solidFill>
          <a:schemeClr val="bg2"/>
        </a:solidFill>
        <a:ln>
          <a:noFill/>
        </a:ln>
      </dgm:spPr>
      <dgm:t>
        <a:bodyPr/>
        <a:lstStyle/>
        <a:p>
          <a:r>
            <a:rPr lang="en-US" sz="900" dirty="0" smtClean="0"/>
            <a:t>Monitoring</a:t>
          </a:r>
          <a:endParaRPr lang="en-US" sz="900" dirty="0"/>
        </a:p>
      </dgm:t>
    </dgm:pt>
    <dgm:pt modelId="{195971A1-7E37-4C83-A020-1379109DAEB1}" type="parTrans" cxnId="{402E7BE7-09FD-4117-8A11-E14DAF96F16D}">
      <dgm:prSet/>
      <dgm:spPr/>
      <dgm:t>
        <a:bodyPr/>
        <a:lstStyle/>
        <a:p>
          <a:endParaRPr lang="en-US"/>
        </a:p>
      </dgm:t>
    </dgm:pt>
    <dgm:pt modelId="{7FF30CD9-FB12-4C43-A294-99F48E60C536}" type="sibTrans" cxnId="{402E7BE7-09FD-4117-8A11-E14DAF96F16D}">
      <dgm:prSet/>
      <dgm:spPr/>
      <dgm:t>
        <a:bodyPr/>
        <a:lstStyle/>
        <a:p>
          <a:endParaRPr lang="en-US"/>
        </a:p>
      </dgm:t>
    </dgm:pt>
    <dgm:pt modelId="{CC219B65-9C10-4B15-9620-A0F17B12EAEF}">
      <dgm:prSet phldrT="[Text]" custT="1"/>
      <dgm:spPr>
        <a:solidFill>
          <a:schemeClr val="accent4"/>
        </a:solidFill>
        <a:ln>
          <a:noFill/>
        </a:ln>
      </dgm:spPr>
      <dgm:t>
        <a:bodyPr/>
        <a:lstStyle/>
        <a:p>
          <a:r>
            <a:rPr lang="en-US" sz="900" dirty="0" smtClean="0"/>
            <a:t>Requirement Management</a:t>
          </a:r>
          <a:endParaRPr lang="en-US" sz="900" dirty="0"/>
        </a:p>
      </dgm:t>
    </dgm:pt>
    <dgm:pt modelId="{A6E99459-E0B4-41A3-9891-91D01B67ADC5}" type="parTrans" cxnId="{3EC5E5B6-5FD2-4834-90D3-D2C1FB6FA5C1}">
      <dgm:prSet/>
      <dgm:spPr/>
      <dgm:t>
        <a:bodyPr/>
        <a:lstStyle/>
        <a:p>
          <a:endParaRPr lang="en-US"/>
        </a:p>
      </dgm:t>
    </dgm:pt>
    <dgm:pt modelId="{FDA29CFD-5F1F-43BC-A078-6D753895F6EC}" type="sibTrans" cxnId="{3EC5E5B6-5FD2-4834-90D3-D2C1FB6FA5C1}">
      <dgm:prSet/>
      <dgm:spPr>
        <a:solidFill>
          <a:schemeClr val="tx1">
            <a:lumMod val="50000"/>
            <a:lumOff val="50000"/>
          </a:schemeClr>
        </a:solidFill>
      </dgm:spPr>
      <dgm:t>
        <a:bodyPr/>
        <a:lstStyle/>
        <a:p>
          <a:endParaRPr lang="en-US"/>
        </a:p>
      </dgm:t>
    </dgm:pt>
    <dgm:pt modelId="{43C8D023-4A08-46DB-AFBD-6200159D864A}" type="pres">
      <dgm:prSet presAssocID="{80AF90E8-A1EA-4586-928D-0A2057E1CF18}" presName="Name0" presStyleCnt="0">
        <dgm:presLayoutVars>
          <dgm:dir/>
          <dgm:resizeHandles/>
        </dgm:presLayoutVars>
      </dgm:prSet>
      <dgm:spPr/>
      <dgm:t>
        <a:bodyPr/>
        <a:lstStyle/>
        <a:p>
          <a:endParaRPr lang="en-US"/>
        </a:p>
      </dgm:t>
    </dgm:pt>
    <dgm:pt modelId="{7CF6DC72-9EB1-4CE1-8062-055148110538}" type="pres">
      <dgm:prSet presAssocID="{E9F17FF9-84CB-4AA1-BBFD-68979FCDA9FF}" presName="compNode" presStyleCnt="0"/>
      <dgm:spPr/>
    </dgm:pt>
    <dgm:pt modelId="{AD9E0B91-5ADB-4817-A7F5-254540FCE215}" type="pres">
      <dgm:prSet presAssocID="{E9F17FF9-84CB-4AA1-BBFD-68979FCDA9FF}" presName="dummyConnPt" presStyleCnt="0"/>
      <dgm:spPr/>
    </dgm:pt>
    <dgm:pt modelId="{D8032C8F-07F8-49E7-971C-FCC8CFA0A309}" type="pres">
      <dgm:prSet presAssocID="{E9F17FF9-84CB-4AA1-BBFD-68979FCDA9FF}" presName="node" presStyleLbl="node1" presStyleIdx="0" presStyleCnt="22">
        <dgm:presLayoutVars>
          <dgm:bulletEnabled val="1"/>
        </dgm:presLayoutVars>
      </dgm:prSet>
      <dgm:spPr/>
      <dgm:t>
        <a:bodyPr/>
        <a:lstStyle/>
        <a:p>
          <a:endParaRPr lang="en-US"/>
        </a:p>
      </dgm:t>
    </dgm:pt>
    <dgm:pt modelId="{E9E1769E-B168-4CD8-BE69-23AD7E310373}" type="pres">
      <dgm:prSet presAssocID="{8CF5CB1E-B594-4492-81DF-BD90AD0D6918}" presName="sibTrans" presStyleLbl="bgSibTrans2D1" presStyleIdx="0" presStyleCnt="21"/>
      <dgm:spPr/>
      <dgm:t>
        <a:bodyPr/>
        <a:lstStyle/>
        <a:p>
          <a:endParaRPr lang="en-US"/>
        </a:p>
      </dgm:t>
    </dgm:pt>
    <dgm:pt modelId="{E793C0DA-AA69-48FD-9E70-F056E6010C5E}" type="pres">
      <dgm:prSet presAssocID="{85779212-6661-4725-AB42-F7048CC39118}" presName="compNode" presStyleCnt="0"/>
      <dgm:spPr/>
    </dgm:pt>
    <dgm:pt modelId="{B6FE7EB7-DA67-4353-9A8C-616C8E809188}" type="pres">
      <dgm:prSet presAssocID="{85779212-6661-4725-AB42-F7048CC39118}" presName="dummyConnPt" presStyleCnt="0"/>
      <dgm:spPr/>
    </dgm:pt>
    <dgm:pt modelId="{D3A94AF2-A702-4098-BBF8-E78BBA5F1D6D}" type="pres">
      <dgm:prSet presAssocID="{85779212-6661-4725-AB42-F7048CC39118}" presName="node" presStyleLbl="node1" presStyleIdx="1" presStyleCnt="22">
        <dgm:presLayoutVars>
          <dgm:bulletEnabled val="1"/>
        </dgm:presLayoutVars>
      </dgm:prSet>
      <dgm:spPr/>
      <dgm:t>
        <a:bodyPr/>
        <a:lstStyle/>
        <a:p>
          <a:endParaRPr lang="en-US"/>
        </a:p>
      </dgm:t>
    </dgm:pt>
    <dgm:pt modelId="{1C87ED88-6481-4D07-9F24-87B0AE319D5F}" type="pres">
      <dgm:prSet presAssocID="{2215B2C2-F53F-48D4-AAEB-E3661D91D79C}" presName="sibTrans" presStyleLbl="bgSibTrans2D1" presStyleIdx="1" presStyleCnt="21"/>
      <dgm:spPr/>
      <dgm:t>
        <a:bodyPr/>
        <a:lstStyle/>
        <a:p>
          <a:endParaRPr lang="en-US"/>
        </a:p>
      </dgm:t>
    </dgm:pt>
    <dgm:pt modelId="{72ADED6A-C79C-460A-B9BC-0E47F81582D7}" type="pres">
      <dgm:prSet presAssocID="{CC219B65-9C10-4B15-9620-A0F17B12EAEF}" presName="compNode" presStyleCnt="0"/>
      <dgm:spPr/>
    </dgm:pt>
    <dgm:pt modelId="{4C5AD02E-C3B9-49AC-A50B-79696A885476}" type="pres">
      <dgm:prSet presAssocID="{CC219B65-9C10-4B15-9620-A0F17B12EAEF}" presName="dummyConnPt" presStyleCnt="0"/>
      <dgm:spPr/>
    </dgm:pt>
    <dgm:pt modelId="{A7934C21-ADF7-422F-B47B-B5A5A9ACA79D}" type="pres">
      <dgm:prSet presAssocID="{CC219B65-9C10-4B15-9620-A0F17B12EAEF}" presName="node" presStyleLbl="node1" presStyleIdx="2" presStyleCnt="22">
        <dgm:presLayoutVars>
          <dgm:bulletEnabled val="1"/>
        </dgm:presLayoutVars>
      </dgm:prSet>
      <dgm:spPr/>
      <dgm:t>
        <a:bodyPr/>
        <a:lstStyle/>
        <a:p>
          <a:endParaRPr lang="en-US"/>
        </a:p>
      </dgm:t>
    </dgm:pt>
    <dgm:pt modelId="{57E7BDAE-DCE6-47E5-8E9C-B8C08ABA3F38}" type="pres">
      <dgm:prSet presAssocID="{FDA29CFD-5F1F-43BC-A078-6D753895F6EC}" presName="sibTrans" presStyleLbl="bgSibTrans2D1" presStyleIdx="2" presStyleCnt="21"/>
      <dgm:spPr/>
      <dgm:t>
        <a:bodyPr/>
        <a:lstStyle/>
        <a:p>
          <a:endParaRPr lang="en-US"/>
        </a:p>
      </dgm:t>
    </dgm:pt>
    <dgm:pt modelId="{6C5397E5-F3BE-4F32-B8C6-7C663A7DA65C}" type="pres">
      <dgm:prSet presAssocID="{849F1AF7-80F2-4D94-9C87-042462653019}" presName="compNode" presStyleCnt="0"/>
      <dgm:spPr/>
    </dgm:pt>
    <dgm:pt modelId="{87C329B3-7004-4E96-9B2D-E12FBD2E3381}" type="pres">
      <dgm:prSet presAssocID="{849F1AF7-80F2-4D94-9C87-042462653019}" presName="dummyConnPt" presStyleCnt="0"/>
      <dgm:spPr/>
    </dgm:pt>
    <dgm:pt modelId="{25792AB4-3AFD-4F68-897D-F8B7E034032A}" type="pres">
      <dgm:prSet presAssocID="{849F1AF7-80F2-4D94-9C87-042462653019}" presName="node" presStyleLbl="node1" presStyleIdx="3" presStyleCnt="22">
        <dgm:presLayoutVars>
          <dgm:bulletEnabled val="1"/>
        </dgm:presLayoutVars>
      </dgm:prSet>
      <dgm:spPr/>
      <dgm:t>
        <a:bodyPr/>
        <a:lstStyle/>
        <a:p>
          <a:endParaRPr lang="en-US"/>
        </a:p>
      </dgm:t>
    </dgm:pt>
    <dgm:pt modelId="{D5FA8DAC-FD33-47B2-AF30-E334B817887F}" type="pres">
      <dgm:prSet presAssocID="{7C2CE862-3CB4-48E1-8966-FEEE24307D57}" presName="sibTrans" presStyleLbl="bgSibTrans2D1" presStyleIdx="3" presStyleCnt="21"/>
      <dgm:spPr/>
      <dgm:t>
        <a:bodyPr/>
        <a:lstStyle/>
        <a:p>
          <a:endParaRPr lang="en-US"/>
        </a:p>
      </dgm:t>
    </dgm:pt>
    <dgm:pt modelId="{6122CEF0-EDE3-4782-957B-1C2FA1576804}" type="pres">
      <dgm:prSet presAssocID="{1BA9C312-3FC6-492C-A4A5-D1F5D3C47968}" presName="compNode" presStyleCnt="0"/>
      <dgm:spPr/>
    </dgm:pt>
    <dgm:pt modelId="{C8C5E3A7-3FBD-4B24-BDDB-61B9A92D124D}" type="pres">
      <dgm:prSet presAssocID="{1BA9C312-3FC6-492C-A4A5-D1F5D3C47968}" presName="dummyConnPt" presStyleCnt="0"/>
      <dgm:spPr/>
    </dgm:pt>
    <dgm:pt modelId="{4E9A9EE7-92C5-4699-8669-56116A772C24}" type="pres">
      <dgm:prSet presAssocID="{1BA9C312-3FC6-492C-A4A5-D1F5D3C47968}" presName="node" presStyleLbl="node1" presStyleIdx="4" presStyleCnt="22">
        <dgm:presLayoutVars>
          <dgm:bulletEnabled val="1"/>
        </dgm:presLayoutVars>
      </dgm:prSet>
      <dgm:spPr/>
      <dgm:t>
        <a:bodyPr/>
        <a:lstStyle/>
        <a:p>
          <a:endParaRPr lang="en-US"/>
        </a:p>
      </dgm:t>
    </dgm:pt>
    <dgm:pt modelId="{F524A3C2-2F47-4EC7-9192-FF87140744A2}" type="pres">
      <dgm:prSet presAssocID="{DFF57308-0DD1-475E-B2FA-E31BBB6A0860}" presName="sibTrans" presStyleLbl="bgSibTrans2D1" presStyleIdx="4" presStyleCnt="21"/>
      <dgm:spPr/>
      <dgm:t>
        <a:bodyPr/>
        <a:lstStyle/>
        <a:p>
          <a:endParaRPr lang="en-US"/>
        </a:p>
      </dgm:t>
    </dgm:pt>
    <dgm:pt modelId="{391FC91B-3709-4F26-A4A5-BD05E57ACFA2}" type="pres">
      <dgm:prSet presAssocID="{3930EB36-6FDA-44CB-ABCF-988A9BA436E3}" presName="compNode" presStyleCnt="0"/>
      <dgm:spPr/>
    </dgm:pt>
    <dgm:pt modelId="{C3F51335-5D30-4D81-A83F-639D9F307E07}" type="pres">
      <dgm:prSet presAssocID="{3930EB36-6FDA-44CB-ABCF-988A9BA436E3}" presName="dummyConnPt" presStyleCnt="0"/>
      <dgm:spPr/>
    </dgm:pt>
    <dgm:pt modelId="{4857B1DA-2507-499A-A5D5-C0764C8CAA3E}" type="pres">
      <dgm:prSet presAssocID="{3930EB36-6FDA-44CB-ABCF-988A9BA436E3}" presName="node" presStyleLbl="node1" presStyleIdx="5" presStyleCnt="22">
        <dgm:presLayoutVars>
          <dgm:bulletEnabled val="1"/>
        </dgm:presLayoutVars>
      </dgm:prSet>
      <dgm:spPr/>
      <dgm:t>
        <a:bodyPr/>
        <a:lstStyle/>
        <a:p>
          <a:endParaRPr lang="en-US"/>
        </a:p>
      </dgm:t>
    </dgm:pt>
    <dgm:pt modelId="{49E3A27E-2060-4282-930E-AB4FCEE55EDC}" type="pres">
      <dgm:prSet presAssocID="{F3DCA773-1244-4B9A-9ED9-C0FDC19BC45E}" presName="sibTrans" presStyleLbl="bgSibTrans2D1" presStyleIdx="5" presStyleCnt="21"/>
      <dgm:spPr/>
      <dgm:t>
        <a:bodyPr/>
        <a:lstStyle/>
        <a:p>
          <a:endParaRPr lang="en-US"/>
        </a:p>
      </dgm:t>
    </dgm:pt>
    <dgm:pt modelId="{6A222A9C-1BE9-4CFF-BF72-D69C0110133F}" type="pres">
      <dgm:prSet presAssocID="{ADF668AF-3E12-4B37-BBC6-0A6519A77140}" presName="compNode" presStyleCnt="0"/>
      <dgm:spPr/>
    </dgm:pt>
    <dgm:pt modelId="{9DCA24C9-AC31-443A-B417-F995E4531B81}" type="pres">
      <dgm:prSet presAssocID="{ADF668AF-3E12-4B37-BBC6-0A6519A77140}" presName="dummyConnPt" presStyleCnt="0"/>
      <dgm:spPr/>
    </dgm:pt>
    <dgm:pt modelId="{E035CB83-BBB4-4446-A112-13AF53CB77D8}" type="pres">
      <dgm:prSet presAssocID="{ADF668AF-3E12-4B37-BBC6-0A6519A77140}" presName="node" presStyleLbl="node1" presStyleIdx="6" presStyleCnt="22">
        <dgm:presLayoutVars>
          <dgm:bulletEnabled val="1"/>
        </dgm:presLayoutVars>
      </dgm:prSet>
      <dgm:spPr/>
      <dgm:t>
        <a:bodyPr/>
        <a:lstStyle/>
        <a:p>
          <a:endParaRPr lang="en-US"/>
        </a:p>
      </dgm:t>
    </dgm:pt>
    <dgm:pt modelId="{B630B3E9-C976-4814-8F94-C0C4A230ADBF}" type="pres">
      <dgm:prSet presAssocID="{588DFA08-AA0A-4B91-9359-5C2C4488A330}" presName="sibTrans" presStyleLbl="bgSibTrans2D1" presStyleIdx="6" presStyleCnt="21"/>
      <dgm:spPr/>
      <dgm:t>
        <a:bodyPr/>
        <a:lstStyle/>
        <a:p>
          <a:endParaRPr lang="en-US"/>
        </a:p>
      </dgm:t>
    </dgm:pt>
    <dgm:pt modelId="{A97FF797-8A3F-4914-893E-02097BE29E8A}" type="pres">
      <dgm:prSet presAssocID="{37FE08DE-1395-40CA-9A0B-525CD6B5E831}" presName="compNode" presStyleCnt="0"/>
      <dgm:spPr/>
    </dgm:pt>
    <dgm:pt modelId="{5A65044A-DFA8-4F7D-A6E0-956032BCAD27}" type="pres">
      <dgm:prSet presAssocID="{37FE08DE-1395-40CA-9A0B-525CD6B5E831}" presName="dummyConnPt" presStyleCnt="0"/>
      <dgm:spPr/>
    </dgm:pt>
    <dgm:pt modelId="{D9FD8211-2BCA-47BB-831A-240575A82F59}" type="pres">
      <dgm:prSet presAssocID="{37FE08DE-1395-40CA-9A0B-525CD6B5E831}" presName="node" presStyleLbl="node1" presStyleIdx="7" presStyleCnt="22">
        <dgm:presLayoutVars>
          <dgm:bulletEnabled val="1"/>
        </dgm:presLayoutVars>
      </dgm:prSet>
      <dgm:spPr/>
      <dgm:t>
        <a:bodyPr/>
        <a:lstStyle/>
        <a:p>
          <a:endParaRPr lang="en-US"/>
        </a:p>
      </dgm:t>
    </dgm:pt>
    <dgm:pt modelId="{102024F8-46FB-49EA-846C-1146B6011A6D}" type="pres">
      <dgm:prSet presAssocID="{57271963-C7A4-4669-BFA6-3618812B92AB}" presName="sibTrans" presStyleLbl="bgSibTrans2D1" presStyleIdx="7" presStyleCnt="21"/>
      <dgm:spPr/>
      <dgm:t>
        <a:bodyPr/>
        <a:lstStyle/>
        <a:p>
          <a:endParaRPr lang="en-US"/>
        </a:p>
      </dgm:t>
    </dgm:pt>
    <dgm:pt modelId="{A2E1DB04-E89C-43B1-B7EE-58212005BA3D}" type="pres">
      <dgm:prSet presAssocID="{3738A1B5-90CF-463A-8275-7F3A4F3727AB}" presName="compNode" presStyleCnt="0"/>
      <dgm:spPr/>
    </dgm:pt>
    <dgm:pt modelId="{C51202BA-B9DC-45F2-AD89-03FEC7060355}" type="pres">
      <dgm:prSet presAssocID="{3738A1B5-90CF-463A-8275-7F3A4F3727AB}" presName="dummyConnPt" presStyleCnt="0"/>
      <dgm:spPr/>
    </dgm:pt>
    <dgm:pt modelId="{5EA1F8C6-C86C-4503-BC0D-7BD03573E398}" type="pres">
      <dgm:prSet presAssocID="{3738A1B5-90CF-463A-8275-7F3A4F3727AB}" presName="node" presStyleLbl="node1" presStyleIdx="8" presStyleCnt="22">
        <dgm:presLayoutVars>
          <dgm:bulletEnabled val="1"/>
        </dgm:presLayoutVars>
      </dgm:prSet>
      <dgm:spPr/>
      <dgm:t>
        <a:bodyPr/>
        <a:lstStyle/>
        <a:p>
          <a:endParaRPr lang="en-US"/>
        </a:p>
      </dgm:t>
    </dgm:pt>
    <dgm:pt modelId="{26601E23-47AA-4256-A218-A825457954F3}" type="pres">
      <dgm:prSet presAssocID="{83DCAC2A-0010-44F2-ABC6-53BAD1DF01BB}" presName="sibTrans" presStyleLbl="bgSibTrans2D1" presStyleIdx="8" presStyleCnt="21"/>
      <dgm:spPr/>
      <dgm:t>
        <a:bodyPr/>
        <a:lstStyle/>
        <a:p>
          <a:endParaRPr lang="en-US"/>
        </a:p>
      </dgm:t>
    </dgm:pt>
    <dgm:pt modelId="{C23A43D7-A0F1-4C9A-B826-4C0CBDCEC267}" type="pres">
      <dgm:prSet presAssocID="{5F563FDF-68E0-4532-A238-F2B4F40D514C}" presName="compNode" presStyleCnt="0"/>
      <dgm:spPr/>
    </dgm:pt>
    <dgm:pt modelId="{8846A12C-1553-4F83-8C62-8EBCEA55074C}" type="pres">
      <dgm:prSet presAssocID="{5F563FDF-68E0-4532-A238-F2B4F40D514C}" presName="dummyConnPt" presStyleCnt="0"/>
      <dgm:spPr/>
    </dgm:pt>
    <dgm:pt modelId="{1B50BFC0-B4D6-4BC3-B5E4-CF59BDFABE2A}" type="pres">
      <dgm:prSet presAssocID="{5F563FDF-68E0-4532-A238-F2B4F40D514C}" presName="node" presStyleLbl="node1" presStyleIdx="9" presStyleCnt="22">
        <dgm:presLayoutVars>
          <dgm:bulletEnabled val="1"/>
        </dgm:presLayoutVars>
      </dgm:prSet>
      <dgm:spPr/>
      <dgm:t>
        <a:bodyPr/>
        <a:lstStyle/>
        <a:p>
          <a:endParaRPr lang="en-US"/>
        </a:p>
      </dgm:t>
    </dgm:pt>
    <dgm:pt modelId="{3C2DD09D-26A9-46AC-84EB-C215991B44BB}" type="pres">
      <dgm:prSet presAssocID="{2E6F1F50-D4EB-4BC1-8C05-7F4BB60E1095}" presName="sibTrans" presStyleLbl="bgSibTrans2D1" presStyleIdx="9" presStyleCnt="21"/>
      <dgm:spPr/>
      <dgm:t>
        <a:bodyPr/>
        <a:lstStyle/>
        <a:p>
          <a:endParaRPr lang="en-US"/>
        </a:p>
      </dgm:t>
    </dgm:pt>
    <dgm:pt modelId="{71078D0E-936B-46A5-9160-4F8666DDCB8F}" type="pres">
      <dgm:prSet presAssocID="{5A340EBB-0CD1-4298-95DA-27F72796D99F}" presName="compNode" presStyleCnt="0"/>
      <dgm:spPr/>
    </dgm:pt>
    <dgm:pt modelId="{21680056-C4D9-4771-912A-68D1D1FD5A4E}" type="pres">
      <dgm:prSet presAssocID="{5A340EBB-0CD1-4298-95DA-27F72796D99F}" presName="dummyConnPt" presStyleCnt="0"/>
      <dgm:spPr/>
    </dgm:pt>
    <dgm:pt modelId="{A68F451B-07D1-4CC8-8C09-0A6CFF49BCE8}" type="pres">
      <dgm:prSet presAssocID="{5A340EBB-0CD1-4298-95DA-27F72796D99F}" presName="node" presStyleLbl="node1" presStyleIdx="10" presStyleCnt="22">
        <dgm:presLayoutVars>
          <dgm:bulletEnabled val="1"/>
        </dgm:presLayoutVars>
      </dgm:prSet>
      <dgm:spPr/>
      <dgm:t>
        <a:bodyPr/>
        <a:lstStyle/>
        <a:p>
          <a:endParaRPr lang="en-US"/>
        </a:p>
      </dgm:t>
    </dgm:pt>
    <dgm:pt modelId="{EE1B6901-BA8E-4105-96F4-42FA568E72BE}" type="pres">
      <dgm:prSet presAssocID="{9605F4AE-7274-4589-894C-1B1A3A565BF5}" presName="sibTrans" presStyleLbl="bgSibTrans2D1" presStyleIdx="10" presStyleCnt="21"/>
      <dgm:spPr/>
      <dgm:t>
        <a:bodyPr/>
        <a:lstStyle/>
        <a:p>
          <a:endParaRPr lang="en-US"/>
        </a:p>
      </dgm:t>
    </dgm:pt>
    <dgm:pt modelId="{E1A51B93-D496-444F-A156-CAF74E809076}" type="pres">
      <dgm:prSet presAssocID="{239473F6-9DFA-4CBB-B80C-93A081707E6A}" presName="compNode" presStyleCnt="0"/>
      <dgm:spPr/>
    </dgm:pt>
    <dgm:pt modelId="{D95F7B6E-C843-4412-AD1C-14CA2FC5923C}" type="pres">
      <dgm:prSet presAssocID="{239473F6-9DFA-4CBB-B80C-93A081707E6A}" presName="dummyConnPt" presStyleCnt="0"/>
      <dgm:spPr/>
    </dgm:pt>
    <dgm:pt modelId="{1B96307D-B72E-46CA-99C3-DF4964887F61}" type="pres">
      <dgm:prSet presAssocID="{239473F6-9DFA-4CBB-B80C-93A081707E6A}" presName="node" presStyleLbl="node1" presStyleIdx="11" presStyleCnt="22">
        <dgm:presLayoutVars>
          <dgm:bulletEnabled val="1"/>
        </dgm:presLayoutVars>
      </dgm:prSet>
      <dgm:spPr/>
      <dgm:t>
        <a:bodyPr/>
        <a:lstStyle/>
        <a:p>
          <a:endParaRPr lang="en-US"/>
        </a:p>
      </dgm:t>
    </dgm:pt>
    <dgm:pt modelId="{6C96EEF3-BDD2-46B0-9775-DB0AD7122BCA}" type="pres">
      <dgm:prSet presAssocID="{CB3E1638-FD94-40EE-8343-708E939E8EA2}" presName="sibTrans" presStyleLbl="bgSibTrans2D1" presStyleIdx="11" presStyleCnt="21"/>
      <dgm:spPr/>
      <dgm:t>
        <a:bodyPr/>
        <a:lstStyle/>
        <a:p>
          <a:endParaRPr lang="en-US"/>
        </a:p>
      </dgm:t>
    </dgm:pt>
    <dgm:pt modelId="{6FBB79D9-3544-408E-8CD8-6C318341500A}" type="pres">
      <dgm:prSet presAssocID="{3341D280-779C-4D0C-A39C-F0051812E018}" presName="compNode" presStyleCnt="0"/>
      <dgm:spPr/>
    </dgm:pt>
    <dgm:pt modelId="{533E4288-8719-46AC-A924-EF3C8C5C8D40}" type="pres">
      <dgm:prSet presAssocID="{3341D280-779C-4D0C-A39C-F0051812E018}" presName="dummyConnPt" presStyleCnt="0"/>
      <dgm:spPr/>
    </dgm:pt>
    <dgm:pt modelId="{B428A3B2-862D-4B94-BDCF-12B1A0C11E4D}" type="pres">
      <dgm:prSet presAssocID="{3341D280-779C-4D0C-A39C-F0051812E018}" presName="node" presStyleLbl="node1" presStyleIdx="12" presStyleCnt="22">
        <dgm:presLayoutVars>
          <dgm:bulletEnabled val="1"/>
        </dgm:presLayoutVars>
      </dgm:prSet>
      <dgm:spPr/>
      <dgm:t>
        <a:bodyPr/>
        <a:lstStyle/>
        <a:p>
          <a:endParaRPr lang="en-US"/>
        </a:p>
      </dgm:t>
    </dgm:pt>
    <dgm:pt modelId="{F6FC2ECE-CFEF-4937-9FA9-7386B67A1865}" type="pres">
      <dgm:prSet presAssocID="{E446F138-EBED-4CF1-9103-188FE94E650D}" presName="sibTrans" presStyleLbl="bgSibTrans2D1" presStyleIdx="12" presStyleCnt="21"/>
      <dgm:spPr/>
      <dgm:t>
        <a:bodyPr/>
        <a:lstStyle/>
        <a:p>
          <a:endParaRPr lang="en-US"/>
        </a:p>
      </dgm:t>
    </dgm:pt>
    <dgm:pt modelId="{14F0E3BB-2CCD-448D-963D-3688A898D237}" type="pres">
      <dgm:prSet presAssocID="{126F406E-6F8A-49A3-979C-4B0D96D833E5}" presName="compNode" presStyleCnt="0"/>
      <dgm:spPr/>
    </dgm:pt>
    <dgm:pt modelId="{446B60AE-F23C-4035-881C-0AFE6A5756DC}" type="pres">
      <dgm:prSet presAssocID="{126F406E-6F8A-49A3-979C-4B0D96D833E5}" presName="dummyConnPt" presStyleCnt="0"/>
      <dgm:spPr/>
    </dgm:pt>
    <dgm:pt modelId="{D46D306B-4D14-46FF-9643-9239C46D8CAC}" type="pres">
      <dgm:prSet presAssocID="{126F406E-6F8A-49A3-979C-4B0D96D833E5}" presName="node" presStyleLbl="node1" presStyleIdx="13" presStyleCnt="22">
        <dgm:presLayoutVars>
          <dgm:bulletEnabled val="1"/>
        </dgm:presLayoutVars>
      </dgm:prSet>
      <dgm:spPr/>
      <dgm:t>
        <a:bodyPr/>
        <a:lstStyle/>
        <a:p>
          <a:endParaRPr lang="en-US"/>
        </a:p>
      </dgm:t>
    </dgm:pt>
    <dgm:pt modelId="{336F546F-1FDC-4E18-95BF-FE0101C6AA07}" type="pres">
      <dgm:prSet presAssocID="{958EC8D5-2E09-4E39-8BCC-89A628BFA8D6}" presName="sibTrans" presStyleLbl="bgSibTrans2D1" presStyleIdx="13" presStyleCnt="21"/>
      <dgm:spPr/>
      <dgm:t>
        <a:bodyPr/>
        <a:lstStyle/>
        <a:p>
          <a:endParaRPr lang="en-US"/>
        </a:p>
      </dgm:t>
    </dgm:pt>
    <dgm:pt modelId="{BD498463-E07A-435B-B5E6-4BAAA18A372E}" type="pres">
      <dgm:prSet presAssocID="{9E968A82-C2C9-4708-8C57-1EDF4EDF7FAA}" presName="compNode" presStyleCnt="0"/>
      <dgm:spPr/>
    </dgm:pt>
    <dgm:pt modelId="{355AAA7F-3BF3-4C38-BD80-872636B0FC73}" type="pres">
      <dgm:prSet presAssocID="{9E968A82-C2C9-4708-8C57-1EDF4EDF7FAA}" presName="dummyConnPt" presStyleCnt="0"/>
      <dgm:spPr/>
    </dgm:pt>
    <dgm:pt modelId="{865CC9CB-4D1A-4BBD-89CB-C6A0A3D909BD}" type="pres">
      <dgm:prSet presAssocID="{9E968A82-C2C9-4708-8C57-1EDF4EDF7FAA}" presName="node" presStyleLbl="node1" presStyleIdx="14" presStyleCnt="22">
        <dgm:presLayoutVars>
          <dgm:bulletEnabled val="1"/>
        </dgm:presLayoutVars>
      </dgm:prSet>
      <dgm:spPr/>
      <dgm:t>
        <a:bodyPr/>
        <a:lstStyle/>
        <a:p>
          <a:endParaRPr lang="en-US"/>
        </a:p>
      </dgm:t>
    </dgm:pt>
    <dgm:pt modelId="{71178B63-9DA7-4EB2-B893-CB8B1DDC5504}" type="pres">
      <dgm:prSet presAssocID="{1033E4E2-0E1D-4720-83E1-31115BA38D7F}" presName="sibTrans" presStyleLbl="bgSibTrans2D1" presStyleIdx="14" presStyleCnt="21"/>
      <dgm:spPr/>
      <dgm:t>
        <a:bodyPr/>
        <a:lstStyle/>
        <a:p>
          <a:endParaRPr lang="en-US"/>
        </a:p>
      </dgm:t>
    </dgm:pt>
    <dgm:pt modelId="{0743C31E-A2CB-493A-A8DF-8F51DA863E01}" type="pres">
      <dgm:prSet presAssocID="{4D86363D-FCDF-405A-A7D2-DF82B39338D2}" presName="compNode" presStyleCnt="0"/>
      <dgm:spPr/>
    </dgm:pt>
    <dgm:pt modelId="{045FEA87-D9C2-4D10-843C-930A5F98A373}" type="pres">
      <dgm:prSet presAssocID="{4D86363D-FCDF-405A-A7D2-DF82B39338D2}" presName="dummyConnPt" presStyleCnt="0"/>
      <dgm:spPr/>
    </dgm:pt>
    <dgm:pt modelId="{032526AA-CA4F-47A6-8833-CC4E299DB417}" type="pres">
      <dgm:prSet presAssocID="{4D86363D-FCDF-405A-A7D2-DF82B39338D2}" presName="node" presStyleLbl="node1" presStyleIdx="15" presStyleCnt="22">
        <dgm:presLayoutVars>
          <dgm:bulletEnabled val="1"/>
        </dgm:presLayoutVars>
      </dgm:prSet>
      <dgm:spPr/>
      <dgm:t>
        <a:bodyPr/>
        <a:lstStyle/>
        <a:p>
          <a:endParaRPr lang="en-US"/>
        </a:p>
      </dgm:t>
    </dgm:pt>
    <dgm:pt modelId="{9B25D534-E41D-4E66-9ABC-EB6CCB037EBF}" type="pres">
      <dgm:prSet presAssocID="{ECAFCB15-B4D1-453D-90E4-AA983B48832A}" presName="sibTrans" presStyleLbl="bgSibTrans2D1" presStyleIdx="15" presStyleCnt="21"/>
      <dgm:spPr/>
      <dgm:t>
        <a:bodyPr/>
        <a:lstStyle/>
        <a:p>
          <a:endParaRPr lang="en-US"/>
        </a:p>
      </dgm:t>
    </dgm:pt>
    <dgm:pt modelId="{CCC07B11-DE30-4D37-9E33-7B3F122D2E49}" type="pres">
      <dgm:prSet presAssocID="{9DD5A6BA-862F-4A08-93A2-7D63C651E05C}" presName="compNode" presStyleCnt="0"/>
      <dgm:spPr/>
    </dgm:pt>
    <dgm:pt modelId="{B1C23F8D-A0D2-465F-8A49-2D9214C7064B}" type="pres">
      <dgm:prSet presAssocID="{9DD5A6BA-862F-4A08-93A2-7D63C651E05C}" presName="dummyConnPt" presStyleCnt="0"/>
      <dgm:spPr/>
    </dgm:pt>
    <dgm:pt modelId="{E85740BD-7D7E-4766-A8DC-1A35B1C1FEC9}" type="pres">
      <dgm:prSet presAssocID="{9DD5A6BA-862F-4A08-93A2-7D63C651E05C}" presName="node" presStyleLbl="node1" presStyleIdx="16" presStyleCnt="22">
        <dgm:presLayoutVars>
          <dgm:bulletEnabled val="1"/>
        </dgm:presLayoutVars>
      </dgm:prSet>
      <dgm:spPr/>
      <dgm:t>
        <a:bodyPr/>
        <a:lstStyle/>
        <a:p>
          <a:endParaRPr lang="en-US"/>
        </a:p>
      </dgm:t>
    </dgm:pt>
    <dgm:pt modelId="{89D00D1F-943B-48DA-A8FD-AC043957EA6D}" type="pres">
      <dgm:prSet presAssocID="{30E84380-30DC-4FA7-8248-189A4FD5B85B}" presName="sibTrans" presStyleLbl="bgSibTrans2D1" presStyleIdx="16" presStyleCnt="21"/>
      <dgm:spPr/>
      <dgm:t>
        <a:bodyPr/>
        <a:lstStyle/>
        <a:p>
          <a:endParaRPr lang="en-US"/>
        </a:p>
      </dgm:t>
    </dgm:pt>
    <dgm:pt modelId="{DE01F387-6F26-481B-893B-A7B2038622EE}" type="pres">
      <dgm:prSet presAssocID="{B23BB066-8472-44EB-B86D-AA6CC44B4FC0}" presName="compNode" presStyleCnt="0"/>
      <dgm:spPr/>
    </dgm:pt>
    <dgm:pt modelId="{486799BC-36A2-4D59-815C-A49F4DD3A69C}" type="pres">
      <dgm:prSet presAssocID="{B23BB066-8472-44EB-B86D-AA6CC44B4FC0}" presName="dummyConnPt" presStyleCnt="0"/>
      <dgm:spPr/>
    </dgm:pt>
    <dgm:pt modelId="{37C0B14A-2A81-4DA6-A4DE-8B0C0FD97FC1}" type="pres">
      <dgm:prSet presAssocID="{B23BB066-8472-44EB-B86D-AA6CC44B4FC0}" presName="node" presStyleLbl="node1" presStyleIdx="17" presStyleCnt="22">
        <dgm:presLayoutVars>
          <dgm:bulletEnabled val="1"/>
        </dgm:presLayoutVars>
      </dgm:prSet>
      <dgm:spPr/>
      <dgm:t>
        <a:bodyPr/>
        <a:lstStyle/>
        <a:p>
          <a:endParaRPr lang="en-US"/>
        </a:p>
      </dgm:t>
    </dgm:pt>
    <dgm:pt modelId="{A1C00C4B-A7DA-42E9-8FF6-0516DAF3992D}" type="pres">
      <dgm:prSet presAssocID="{CB760776-D8BE-4281-B64D-797A4660DBCA}" presName="sibTrans" presStyleLbl="bgSibTrans2D1" presStyleIdx="17" presStyleCnt="21"/>
      <dgm:spPr/>
      <dgm:t>
        <a:bodyPr/>
        <a:lstStyle/>
        <a:p>
          <a:endParaRPr lang="en-US"/>
        </a:p>
      </dgm:t>
    </dgm:pt>
    <dgm:pt modelId="{E43C59BA-DBEA-4CF3-88EB-510F1480E057}" type="pres">
      <dgm:prSet presAssocID="{39DEF6C6-E8FB-4ECE-ACD4-2E49036603D1}" presName="compNode" presStyleCnt="0"/>
      <dgm:spPr/>
    </dgm:pt>
    <dgm:pt modelId="{CB540A9B-E176-4615-BEA3-3F0C4A4D176D}" type="pres">
      <dgm:prSet presAssocID="{39DEF6C6-E8FB-4ECE-ACD4-2E49036603D1}" presName="dummyConnPt" presStyleCnt="0"/>
      <dgm:spPr/>
    </dgm:pt>
    <dgm:pt modelId="{944E00CC-E210-4FBC-BC90-6DD58207E1A0}" type="pres">
      <dgm:prSet presAssocID="{39DEF6C6-E8FB-4ECE-ACD4-2E49036603D1}" presName="node" presStyleLbl="node1" presStyleIdx="18" presStyleCnt="22">
        <dgm:presLayoutVars>
          <dgm:bulletEnabled val="1"/>
        </dgm:presLayoutVars>
      </dgm:prSet>
      <dgm:spPr/>
      <dgm:t>
        <a:bodyPr/>
        <a:lstStyle/>
        <a:p>
          <a:endParaRPr lang="en-US"/>
        </a:p>
      </dgm:t>
    </dgm:pt>
    <dgm:pt modelId="{BB525EF4-11CA-4AF0-9D05-0890477F605B}" type="pres">
      <dgm:prSet presAssocID="{38CC07E6-E536-40AC-A8C1-C3B8006F5027}" presName="sibTrans" presStyleLbl="bgSibTrans2D1" presStyleIdx="18" presStyleCnt="21"/>
      <dgm:spPr/>
      <dgm:t>
        <a:bodyPr/>
        <a:lstStyle/>
        <a:p>
          <a:endParaRPr lang="en-US"/>
        </a:p>
      </dgm:t>
    </dgm:pt>
    <dgm:pt modelId="{CC1DC260-BE15-4F47-87F2-8C3EEC978AF9}" type="pres">
      <dgm:prSet presAssocID="{B0791259-9104-4F93-B8AD-DAEF5DF1EA80}" presName="compNode" presStyleCnt="0"/>
      <dgm:spPr/>
    </dgm:pt>
    <dgm:pt modelId="{47ED8017-C136-45AF-AB20-EBF3191025AD}" type="pres">
      <dgm:prSet presAssocID="{B0791259-9104-4F93-B8AD-DAEF5DF1EA80}" presName="dummyConnPt" presStyleCnt="0"/>
      <dgm:spPr/>
    </dgm:pt>
    <dgm:pt modelId="{AB49DBB2-8BF6-48D2-AD6B-E4C56A5DA215}" type="pres">
      <dgm:prSet presAssocID="{B0791259-9104-4F93-B8AD-DAEF5DF1EA80}" presName="node" presStyleLbl="node1" presStyleIdx="19" presStyleCnt="22">
        <dgm:presLayoutVars>
          <dgm:bulletEnabled val="1"/>
        </dgm:presLayoutVars>
      </dgm:prSet>
      <dgm:spPr/>
      <dgm:t>
        <a:bodyPr/>
        <a:lstStyle/>
        <a:p>
          <a:endParaRPr lang="en-US"/>
        </a:p>
      </dgm:t>
    </dgm:pt>
    <dgm:pt modelId="{8AEDD5ED-C456-404E-A0C1-9FCD061445C8}" type="pres">
      <dgm:prSet presAssocID="{32BFCE23-CACB-4BAC-9396-91B12F6DFBA7}" presName="sibTrans" presStyleLbl="bgSibTrans2D1" presStyleIdx="19" presStyleCnt="21"/>
      <dgm:spPr/>
      <dgm:t>
        <a:bodyPr/>
        <a:lstStyle/>
        <a:p>
          <a:endParaRPr lang="en-US"/>
        </a:p>
      </dgm:t>
    </dgm:pt>
    <dgm:pt modelId="{841806DD-7523-4B3F-AB4C-B3A82D8547BD}" type="pres">
      <dgm:prSet presAssocID="{F83289A8-9306-490E-B0CC-4C4053ADF858}" presName="compNode" presStyleCnt="0"/>
      <dgm:spPr/>
    </dgm:pt>
    <dgm:pt modelId="{36102350-1BEA-4C65-837B-1A66EC1B7B5D}" type="pres">
      <dgm:prSet presAssocID="{F83289A8-9306-490E-B0CC-4C4053ADF858}" presName="dummyConnPt" presStyleCnt="0"/>
      <dgm:spPr/>
    </dgm:pt>
    <dgm:pt modelId="{C50EEFDE-E4D4-43BF-B3E0-15EBCF9D5439}" type="pres">
      <dgm:prSet presAssocID="{F83289A8-9306-490E-B0CC-4C4053ADF858}" presName="node" presStyleLbl="node1" presStyleIdx="20" presStyleCnt="22">
        <dgm:presLayoutVars>
          <dgm:bulletEnabled val="1"/>
        </dgm:presLayoutVars>
      </dgm:prSet>
      <dgm:spPr/>
      <dgm:t>
        <a:bodyPr/>
        <a:lstStyle/>
        <a:p>
          <a:endParaRPr lang="en-US"/>
        </a:p>
      </dgm:t>
    </dgm:pt>
    <dgm:pt modelId="{FC461A49-6E8A-4765-BDC6-DF366118A9DB}" type="pres">
      <dgm:prSet presAssocID="{F6C80EDB-E3A4-45B5-B30F-984A993975C6}" presName="sibTrans" presStyleLbl="bgSibTrans2D1" presStyleIdx="20" presStyleCnt="21"/>
      <dgm:spPr/>
      <dgm:t>
        <a:bodyPr/>
        <a:lstStyle/>
        <a:p>
          <a:endParaRPr lang="en-US"/>
        </a:p>
      </dgm:t>
    </dgm:pt>
    <dgm:pt modelId="{A22ECE52-F2AE-43AB-9100-6F167B8A373B}" type="pres">
      <dgm:prSet presAssocID="{B55A334A-32D7-4815-BEAC-C5617F56BF7E}" presName="compNode" presStyleCnt="0"/>
      <dgm:spPr/>
    </dgm:pt>
    <dgm:pt modelId="{11463E47-5635-4402-9E35-D2128D49955F}" type="pres">
      <dgm:prSet presAssocID="{B55A334A-32D7-4815-BEAC-C5617F56BF7E}" presName="dummyConnPt" presStyleCnt="0"/>
      <dgm:spPr/>
    </dgm:pt>
    <dgm:pt modelId="{2847F226-AA4E-451E-8FA8-84F2FF69A214}" type="pres">
      <dgm:prSet presAssocID="{B55A334A-32D7-4815-BEAC-C5617F56BF7E}" presName="node" presStyleLbl="node1" presStyleIdx="21" presStyleCnt="22">
        <dgm:presLayoutVars>
          <dgm:bulletEnabled val="1"/>
        </dgm:presLayoutVars>
      </dgm:prSet>
      <dgm:spPr/>
      <dgm:t>
        <a:bodyPr/>
        <a:lstStyle/>
        <a:p>
          <a:endParaRPr lang="en-US"/>
        </a:p>
      </dgm:t>
    </dgm:pt>
  </dgm:ptLst>
  <dgm:cxnLst>
    <dgm:cxn modelId="{E036A73C-ACC6-48D5-B446-DD3B0833955B}" srcId="{80AF90E8-A1EA-4586-928D-0A2057E1CF18}" destId="{5F563FDF-68E0-4532-A238-F2B4F40D514C}" srcOrd="9" destOrd="0" parTransId="{07F5E03E-FE05-4817-9E56-E2A4F8CB0CAA}" sibTransId="{2E6F1F50-D4EB-4BC1-8C05-7F4BB60E1095}"/>
    <dgm:cxn modelId="{A2655D4B-B072-4BDF-AC3F-FE7FE9907197}" type="presOf" srcId="{E9F17FF9-84CB-4AA1-BBFD-68979FCDA9FF}" destId="{D8032C8F-07F8-49E7-971C-FCC8CFA0A309}" srcOrd="0" destOrd="0" presId="urn:microsoft.com/office/officeart/2005/8/layout/bProcess4"/>
    <dgm:cxn modelId="{5F6E4A05-A398-46E1-93E6-2AB004134746}" srcId="{80AF90E8-A1EA-4586-928D-0A2057E1CF18}" destId="{85779212-6661-4725-AB42-F7048CC39118}" srcOrd="1" destOrd="0" parTransId="{6F580CD6-77FB-49E7-AB68-F4756DCC3BC8}" sibTransId="{2215B2C2-F53F-48D4-AAEB-E3661D91D79C}"/>
    <dgm:cxn modelId="{0353A571-4EAC-4846-A2D7-C7D32E188DFB}" srcId="{80AF90E8-A1EA-4586-928D-0A2057E1CF18}" destId="{239473F6-9DFA-4CBB-B80C-93A081707E6A}" srcOrd="11" destOrd="0" parTransId="{43FB8A35-13BC-4F57-8130-ED887FC3598E}" sibTransId="{CB3E1638-FD94-40EE-8343-708E939E8EA2}"/>
    <dgm:cxn modelId="{07128F45-4F5A-447B-87E9-035D1B856A2D}" type="presOf" srcId="{4D86363D-FCDF-405A-A7D2-DF82B39338D2}" destId="{032526AA-CA4F-47A6-8833-CC4E299DB417}" srcOrd="0" destOrd="0" presId="urn:microsoft.com/office/officeart/2005/8/layout/bProcess4"/>
    <dgm:cxn modelId="{D1611C71-6ED6-4800-AFF2-54A7B349CDFD}" type="presOf" srcId="{3341D280-779C-4D0C-A39C-F0051812E018}" destId="{B428A3B2-862D-4B94-BDCF-12B1A0C11E4D}" srcOrd="0" destOrd="0" presId="urn:microsoft.com/office/officeart/2005/8/layout/bProcess4"/>
    <dgm:cxn modelId="{7556444B-E586-4C76-B57A-7A3A3DE9645D}" srcId="{80AF90E8-A1EA-4586-928D-0A2057E1CF18}" destId="{3930EB36-6FDA-44CB-ABCF-988A9BA436E3}" srcOrd="5" destOrd="0" parTransId="{A76573DD-7B52-434F-87C3-DD21C0CB5B23}" sibTransId="{F3DCA773-1244-4B9A-9ED9-C0FDC19BC45E}"/>
    <dgm:cxn modelId="{B5E552FF-79EB-4755-90F1-D3CA24C27474}" type="presOf" srcId="{1033E4E2-0E1D-4720-83E1-31115BA38D7F}" destId="{71178B63-9DA7-4EB2-B893-CB8B1DDC5504}" srcOrd="0" destOrd="0" presId="urn:microsoft.com/office/officeart/2005/8/layout/bProcess4"/>
    <dgm:cxn modelId="{5EF7E787-8E84-4838-9ED7-C275AAD4AF35}" type="presOf" srcId="{1BA9C312-3FC6-492C-A4A5-D1F5D3C47968}" destId="{4E9A9EE7-92C5-4699-8669-56116A772C24}" srcOrd="0" destOrd="0" presId="urn:microsoft.com/office/officeart/2005/8/layout/bProcess4"/>
    <dgm:cxn modelId="{6E22A1FD-D300-40B5-819F-9E90790E01DF}" type="presOf" srcId="{CC219B65-9C10-4B15-9620-A0F17B12EAEF}" destId="{A7934C21-ADF7-422F-B47B-B5A5A9ACA79D}" srcOrd="0" destOrd="0" presId="urn:microsoft.com/office/officeart/2005/8/layout/bProcess4"/>
    <dgm:cxn modelId="{8E2F635B-4747-43A5-9185-4AD3BA51060C}" srcId="{80AF90E8-A1EA-4586-928D-0A2057E1CF18}" destId="{9E968A82-C2C9-4708-8C57-1EDF4EDF7FAA}" srcOrd="14" destOrd="0" parTransId="{DDD34AAC-5BA3-4936-9F7A-826950BBBFBE}" sibTransId="{1033E4E2-0E1D-4720-83E1-31115BA38D7F}"/>
    <dgm:cxn modelId="{66BA5713-529E-49BC-9731-59D2FE88AED3}" type="presOf" srcId="{CB760776-D8BE-4281-B64D-797A4660DBCA}" destId="{A1C00C4B-A7DA-42E9-8FF6-0516DAF3992D}" srcOrd="0" destOrd="0" presId="urn:microsoft.com/office/officeart/2005/8/layout/bProcess4"/>
    <dgm:cxn modelId="{7D213385-4BB4-41F8-A2CD-6FBCDD16C446}" srcId="{80AF90E8-A1EA-4586-928D-0A2057E1CF18}" destId="{126F406E-6F8A-49A3-979C-4B0D96D833E5}" srcOrd="13" destOrd="0" parTransId="{C4478F16-E7D2-4394-AF82-5A2B6E0FA2DF}" sibTransId="{958EC8D5-2E09-4E39-8BCC-89A628BFA8D6}"/>
    <dgm:cxn modelId="{3322B252-840F-41F1-8A0C-0D572C8B8350}" srcId="{80AF90E8-A1EA-4586-928D-0A2057E1CF18}" destId="{849F1AF7-80F2-4D94-9C87-042462653019}" srcOrd="3" destOrd="0" parTransId="{FD7D8452-F8C4-444D-AF53-6B0291A0CCC0}" sibTransId="{7C2CE862-3CB4-48E1-8966-FEEE24307D57}"/>
    <dgm:cxn modelId="{E4DB4185-9DF4-435B-8968-A0AAB99B9C73}" srcId="{80AF90E8-A1EA-4586-928D-0A2057E1CF18}" destId="{37FE08DE-1395-40CA-9A0B-525CD6B5E831}" srcOrd="7" destOrd="0" parTransId="{5BEB020A-F5F5-4850-9980-5A4661CB3AD2}" sibTransId="{57271963-C7A4-4669-BFA6-3618812B92AB}"/>
    <dgm:cxn modelId="{F9D43F60-D878-4665-BFC2-C9E8A4A9CF1D}" type="presOf" srcId="{80AF90E8-A1EA-4586-928D-0A2057E1CF18}" destId="{43C8D023-4A08-46DB-AFBD-6200159D864A}" srcOrd="0" destOrd="0" presId="urn:microsoft.com/office/officeart/2005/8/layout/bProcess4"/>
    <dgm:cxn modelId="{EE70234D-A34F-4DDC-9699-28054FD3C080}" type="presOf" srcId="{2E6F1F50-D4EB-4BC1-8C05-7F4BB60E1095}" destId="{3C2DD09D-26A9-46AC-84EB-C215991B44BB}" srcOrd="0" destOrd="0" presId="urn:microsoft.com/office/officeart/2005/8/layout/bProcess4"/>
    <dgm:cxn modelId="{4B9F92D7-C68B-42E7-8919-D086F8FEB6FC}" type="presOf" srcId="{ADF668AF-3E12-4B37-BBC6-0A6519A77140}" destId="{E035CB83-BBB4-4446-A112-13AF53CB77D8}" srcOrd="0" destOrd="0" presId="urn:microsoft.com/office/officeart/2005/8/layout/bProcess4"/>
    <dgm:cxn modelId="{9B0C95C4-3D3B-4308-80BB-99704C073E48}" type="presOf" srcId="{3738A1B5-90CF-463A-8275-7F3A4F3727AB}" destId="{5EA1F8C6-C86C-4503-BC0D-7BD03573E398}" srcOrd="0" destOrd="0" presId="urn:microsoft.com/office/officeart/2005/8/layout/bProcess4"/>
    <dgm:cxn modelId="{245674ED-6B22-4C31-97D7-0FB63B7EB25C}" srcId="{80AF90E8-A1EA-4586-928D-0A2057E1CF18}" destId="{B0791259-9104-4F93-B8AD-DAEF5DF1EA80}" srcOrd="19" destOrd="0" parTransId="{1117126B-BFDF-432E-BA44-B7FDC3D8F145}" sibTransId="{32BFCE23-CACB-4BAC-9396-91B12F6DFBA7}"/>
    <dgm:cxn modelId="{32A49BFC-A3EA-4549-844A-F84528076B00}" srcId="{80AF90E8-A1EA-4586-928D-0A2057E1CF18}" destId="{3738A1B5-90CF-463A-8275-7F3A4F3727AB}" srcOrd="8" destOrd="0" parTransId="{62E7C633-B086-48CB-B985-A62A961F08C3}" sibTransId="{83DCAC2A-0010-44F2-ABC6-53BAD1DF01BB}"/>
    <dgm:cxn modelId="{C8653068-C0CF-438E-BC28-8B8FDBADFFE5}" type="presOf" srcId="{5F563FDF-68E0-4532-A238-F2B4F40D514C}" destId="{1B50BFC0-B4D6-4BC3-B5E4-CF59BDFABE2A}" srcOrd="0" destOrd="0" presId="urn:microsoft.com/office/officeart/2005/8/layout/bProcess4"/>
    <dgm:cxn modelId="{6F33BF99-9683-413D-9F89-CBB3697AE0D6}" type="presOf" srcId="{32BFCE23-CACB-4BAC-9396-91B12F6DFBA7}" destId="{8AEDD5ED-C456-404E-A0C1-9FCD061445C8}" srcOrd="0" destOrd="0" presId="urn:microsoft.com/office/officeart/2005/8/layout/bProcess4"/>
    <dgm:cxn modelId="{F960A199-D1F8-4E7B-96E2-49F2A8F69B55}" srcId="{80AF90E8-A1EA-4586-928D-0A2057E1CF18}" destId="{5A340EBB-0CD1-4298-95DA-27F72796D99F}" srcOrd="10" destOrd="0" parTransId="{363361E4-A48B-4E35-A16F-3EA81F494ADD}" sibTransId="{9605F4AE-7274-4589-894C-1B1A3A565BF5}"/>
    <dgm:cxn modelId="{51E2A66D-CDA3-4A9C-A09F-4803B7ECFEEF}" type="presOf" srcId="{588DFA08-AA0A-4B91-9359-5C2C4488A330}" destId="{B630B3E9-C976-4814-8F94-C0C4A230ADBF}" srcOrd="0" destOrd="0" presId="urn:microsoft.com/office/officeart/2005/8/layout/bProcess4"/>
    <dgm:cxn modelId="{23982AE6-8C75-4966-859E-515291E886BE}" type="presOf" srcId="{30E84380-30DC-4FA7-8248-189A4FD5B85B}" destId="{89D00D1F-943B-48DA-A8FD-AC043957EA6D}" srcOrd="0" destOrd="0" presId="urn:microsoft.com/office/officeart/2005/8/layout/bProcess4"/>
    <dgm:cxn modelId="{35D90AA5-A97B-4370-B278-E9458FFB9BA6}" srcId="{80AF90E8-A1EA-4586-928D-0A2057E1CF18}" destId="{1BA9C312-3FC6-492C-A4A5-D1F5D3C47968}" srcOrd="4" destOrd="0" parTransId="{A713E7FF-1CAD-4740-B3E0-EB45F4AAC7BE}" sibTransId="{DFF57308-0DD1-475E-B2FA-E31BBB6A0860}"/>
    <dgm:cxn modelId="{F4C3BD52-5ED8-4E52-8082-8A5DD3B7E5EC}" type="presOf" srcId="{9E968A82-C2C9-4708-8C57-1EDF4EDF7FAA}" destId="{865CC9CB-4D1A-4BBD-89CB-C6A0A3D909BD}" srcOrd="0" destOrd="0" presId="urn:microsoft.com/office/officeart/2005/8/layout/bProcess4"/>
    <dgm:cxn modelId="{C9AFB386-382E-4180-B7E7-CF4884CB8E5F}" srcId="{80AF90E8-A1EA-4586-928D-0A2057E1CF18}" destId="{B23BB066-8472-44EB-B86D-AA6CC44B4FC0}" srcOrd="17" destOrd="0" parTransId="{BE4DD27B-62D9-435E-A8B1-FD632B88B8F0}" sibTransId="{CB760776-D8BE-4281-B64D-797A4660DBCA}"/>
    <dgm:cxn modelId="{F661BFA5-BC0F-4A67-8E96-3A60F10DE4FF}" type="presOf" srcId="{85779212-6661-4725-AB42-F7048CC39118}" destId="{D3A94AF2-A702-4098-BBF8-E78BBA5F1D6D}" srcOrd="0" destOrd="0" presId="urn:microsoft.com/office/officeart/2005/8/layout/bProcess4"/>
    <dgm:cxn modelId="{BA0C192D-B8CE-441B-94AD-6BCC3952084D}" type="presOf" srcId="{7C2CE862-3CB4-48E1-8966-FEEE24307D57}" destId="{D5FA8DAC-FD33-47B2-AF30-E334B817887F}" srcOrd="0" destOrd="0" presId="urn:microsoft.com/office/officeart/2005/8/layout/bProcess4"/>
    <dgm:cxn modelId="{12C38970-588C-4266-BC4F-4FFFA540375A}" type="presOf" srcId="{3930EB36-6FDA-44CB-ABCF-988A9BA436E3}" destId="{4857B1DA-2507-499A-A5D5-C0764C8CAA3E}" srcOrd="0" destOrd="0" presId="urn:microsoft.com/office/officeart/2005/8/layout/bProcess4"/>
    <dgm:cxn modelId="{1FA8E38A-4CB4-440C-B79C-4932B77201E9}" type="presOf" srcId="{9DD5A6BA-862F-4A08-93A2-7D63C651E05C}" destId="{E85740BD-7D7E-4766-A8DC-1A35B1C1FEC9}" srcOrd="0" destOrd="0" presId="urn:microsoft.com/office/officeart/2005/8/layout/bProcess4"/>
    <dgm:cxn modelId="{8FBDDE40-977C-4144-A5A4-D71DD8E16C12}" type="presOf" srcId="{ECAFCB15-B4D1-453D-90E4-AA983B48832A}" destId="{9B25D534-E41D-4E66-9ABC-EB6CCB037EBF}" srcOrd="0" destOrd="0" presId="urn:microsoft.com/office/officeart/2005/8/layout/bProcess4"/>
    <dgm:cxn modelId="{EB1B099C-8696-4893-B689-7D5F4845071B}" type="presOf" srcId="{F83289A8-9306-490E-B0CC-4C4053ADF858}" destId="{C50EEFDE-E4D4-43BF-B3E0-15EBCF9D5439}" srcOrd="0" destOrd="0" presId="urn:microsoft.com/office/officeart/2005/8/layout/bProcess4"/>
    <dgm:cxn modelId="{4C50BB38-1C4D-4116-8DF5-44D1587EDA3E}" type="presOf" srcId="{B0791259-9104-4F93-B8AD-DAEF5DF1EA80}" destId="{AB49DBB2-8BF6-48D2-AD6B-E4C56A5DA215}" srcOrd="0" destOrd="0" presId="urn:microsoft.com/office/officeart/2005/8/layout/bProcess4"/>
    <dgm:cxn modelId="{402E7BE7-09FD-4117-8A11-E14DAF96F16D}" srcId="{80AF90E8-A1EA-4586-928D-0A2057E1CF18}" destId="{B55A334A-32D7-4815-BEAC-C5617F56BF7E}" srcOrd="21" destOrd="0" parTransId="{195971A1-7E37-4C83-A020-1379109DAEB1}" sibTransId="{7FF30CD9-FB12-4C43-A294-99F48E60C536}"/>
    <dgm:cxn modelId="{14558B9C-2401-4D28-A396-C3B1FB3EEA52}" type="presOf" srcId="{958EC8D5-2E09-4E39-8BCC-89A628BFA8D6}" destId="{336F546F-1FDC-4E18-95BF-FE0101C6AA07}" srcOrd="0" destOrd="0" presId="urn:microsoft.com/office/officeart/2005/8/layout/bProcess4"/>
    <dgm:cxn modelId="{3EC5E5B6-5FD2-4834-90D3-D2C1FB6FA5C1}" srcId="{80AF90E8-A1EA-4586-928D-0A2057E1CF18}" destId="{CC219B65-9C10-4B15-9620-A0F17B12EAEF}" srcOrd="2" destOrd="0" parTransId="{A6E99459-E0B4-41A3-9891-91D01B67ADC5}" sibTransId="{FDA29CFD-5F1F-43BC-A078-6D753895F6EC}"/>
    <dgm:cxn modelId="{8C92B236-4636-4F9C-83F5-0F5B2DE7B2EB}" type="presOf" srcId="{39DEF6C6-E8FB-4ECE-ACD4-2E49036603D1}" destId="{944E00CC-E210-4FBC-BC90-6DD58207E1A0}" srcOrd="0" destOrd="0" presId="urn:microsoft.com/office/officeart/2005/8/layout/bProcess4"/>
    <dgm:cxn modelId="{795763E9-4225-4BC6-B9EC-AB6874E2B24C}" srcId="{80AF90E8-A1EA-4586-928D-0A2057E1CF18}" destId="{39DEF6C6-E8FB-4ECE-ACD4-2E49036603D1}" srcOrd="18" destOrd="0" parTransId="{9B69F6C1-27C2-480B-B0BE-3D826ADE007D}" sibTransId="{38CC07E6-E536-40AC-A8C1-C3B8006F5027}"/>
    <dgm:cxn modelId="{2EEDB686-B4E4-4FB5-A409-4DD0B2A25372}" type="presOf" srcId="{57271963-C7A4-4669-BFA6-3618812B92AB}" destId="{102024F8-46FB-49EA-846C-1146B6011A6D}" srcOrd="0" destOrd="0" presId="urn:microsoft.com/office/officeart/2005/8/layout/bProcess4"/>
    <dgm:cxn modelId="{52A8CA28-B741-4D34-9589-6E498E64E742}" srcId="{80AF90E8-A1EA-4586-928D-0A2057E1CF18}" destId="{F83289A8-9306-490E-B0CC-4C4053ADF858}" srcOrd="20" destOrd="0" parTransId="{0D525162-730F-47CA-A7E4-BD772A86EEE9}" sibTransId="{F6C80EDB-E3A4-45B5-B30F-984A993975C6}"/>
    <dgm:cxn modelId="{80E5D109-269E-42CA-8604-3E1820E15F7A}" type="presOf" srcId="{FDA29CFD-5F1F-43BC-A078-6D753895F6EC}" destId="{57E7BDAE-DCE6-47E5-8E9C-B8C08ABA3F38}" srcOrd="0" destOrd="0" presId="urn:microsoft.com/office/officeart/2005/8/layout/bProcess4"/>
    <dgm:cxn modelId="{2EC1412F-D7EE-44B9-BC07-9AA1A6BF2112}" type="presOf" srcId="{849F1AF7-80F2-4D94-9C87-042462653019}" destId="{25792AB4-3AFD-4F68-897D-F8B7E034032A}" srcOrd="0" destOrd="0" presId="urn:microsoft.com/office/officeart/2005/8/layout/bProcess4"/>
    <dgm:cxn modelId="{13402670-86D0-47E3-804D-8591AC743D57}" type="presOf" srcId="{F6C80EDB-E3A4-45B5-B30F-984A993975C6}" destId="{FC461A49-6E8A-4765-BDC6-DF366118A9DB}" srcOrd="0" destOrd="0" presId="urn:microsoft.com/office/officeart/2005/8/layout/bProcess4"/>
    <dgm:cxn modelId="{D6A6B8FD-7152-49EE-8B4D-558D2109E9C5}" type="presOf" srcId="{37FE08DE-1395-40CA-9A0B-525CD6B5E831}" destId="{D9FD8211-2BCA-47BB-831A-240575A82F59}" srcOrd="0" destOrd="0" presId="urn:microsoft.com/office/officeart/2005/8/layout/bProcess4"/>
    <dgm:cxn modelId="{E64199BD-7D6B-4795-ACD2-270A2F173F5B}" type="presOf" srcId="{38CC07E6-E536-40AC-A8C1-C3B8006F5027}" destId="{BB525EF4-11CA-4AF0-9D05-0890477F605B}" srcOrd="0" destOrd="0" presId="urn:microsoft.com/office/officeart/2005/8/layout/bProcess4"/>
    <dgm:cxn modelId="{0D19982F-0F85-4A97-BCFA-6E65A7C00129}" srcId="{80AF90E8-A1EA-4586-928D-0A2057E1CF18}" destId="{3341D280-779C-4D0C-A39C-F0051812E018}" srcOrd="12" destOrd="0" parTransId="{F4752A0A-B395-446A-A9AB-3D77A4ED6267}" sibTransId="{E446F138-EBED-4CF1-9103-188FE94E650D}"/>
    <dgm:cxn modelId="{21D8CC83-DBDA-4724-A583-9B46B319AACE}" srcId="{80AF90E8-A1EA-4586-928D-0A2057E1CF18}" destId="{4D86363D-FCDF-405A-A7D2-DF82B39338D2}" srcOrd="15" destOrd="0" parTransId="{319D7107-C98F-4A2E-8239-05A3900CF85D}" sibTransId="{ECAFCB15-B4D1-453D-90E4-AA983B48832A}"/>
    <dgm:cxn modelId="{10C10951-F977-4EFC-8ECD-13875A766D4B}" srcId="{80AF90E8-A1EA-4586-928D-0A2057E1CF18}" destId="{9DD5A6BA-862F-4A08-93A2-7D63C651E05C}" srcOrd="16" destOrd="0" parTransId="{2F63AA87-74B1-49C8-9AE0-9B4065810AD2}" sibTransId="{30E84380-30DC-4FA7-8248-189A4FD5B85B}"/>
    <dgm:cxn modelId="{B767BFDD-C434-4ACE-9ACC-45092C12DF91}" type="presOf" srcId="{5A340EBB-0CD1-4298-95DA-27F72796D99F}" destId="{A68F451B-07D1-4CC8-8C09-0A6CFF49BCE8}" srcOrd="0" destOrd="0" presId="urn:microsoft.com/office/officeart/2005/8/layout/bProcess4"/>
    <dgm:cxn modelId="{C9F4C74B-3D32-4169-8FE8-FDD347C5C429}" type="presOf" srcId="{DFF57308-0DD1-475E-B2FA-E31BBB6A0860}" destId="{F524A3C2-2F47-4EC7-9192-FF87140744A2}" srcOrd="0" destOrd="0" presId="urn:microsoft.com/office/officeart/2005/8/layout/bProcess4"/>
    <dgm:cxn modelId="{BB81F147-BE00-4E7B-BC67-FEBCF96AA745}" type="presOf" srcId="{8CF5CB1E-B594-4492-81DF-BD90AD0D6918}" destId="{E9E1769E-B168-4CD8-BE69-23AD7E310373}" srcOrd="0" destOrd="0" presId="urn:microsoft.com/office/officeart/2005/8/layout/bProcess4"/>
    <dgm:cxn modelId="{A110BB5B-C1A3-497E-9126-E8F9657D20F5}" type="presOf" srcId="{2215B2C2-F53F-48D4-AAEB-E3661D91D79C}" destId="{1C87ED88-6481-4D07-9F24-87B0AE319D5F}" srcOrd="0" destOrd="0" presId="urn:microsoft.com/office/officeart/2005/8/layout/bProcess4"/>
    <dgm:cxn modelId="{7162CFA0-3C00-43EE-8883-DBA98DC6885B}" type="presOf" srcId="{CB3E1638-FD94-40EE-8343-708E939E8EA2}" destId="{6C96EEF3-BDD2-46B0-9775-DB0AD7122BCA}" srcOrd="0" destOrd="0" presId="urn:microsoft.com/office/officeart/2005/8/layout/bProcess4"/>
    <dgm:cxn modelId="{050E1695-CAEC-4568-94ED-CE3689A19923}" type="presOf" srcId="{9605F4AE-7274-4589-894C-1B1A3A565BF5}" destId="{EE1B6901-BA8E-4105-96F4-42FA568E72BE}" srcOrd="0" destOrd="0" presId="urn:microsoft.com/office/officeart/2005/8/layout/bProcess4"/>
    <dgm:cxn modelId="{761C177E-215D-4A79-8B76-3D94A4903A5A}" type="presOf" srcId="{83DCAC2A-0010-44F2-ABC6-53BAD1DF01BB}" destId="{26601E23-47AA-4256-A218-A825457954F3}" srcOrd="0" destOrd="0" presId="urn:microsoft.com/office/officeart/2005/8/layout/bProcess4"/>
    <dgm:cxn modelId="{622E2253-BC4A-428F-9507-8B5E818264C6}" type="presOf" srcId="{F3DCA773-1244-4B9A-9ED9-C0FDC19BC45E}" destId="{49E3A27E-2060-4282-930E-AB4FCEE55EDC}" srcOrd="0" destOrd="0" presId="urn:microsoft.com/office/officeart/2005/8/layout/bProcess4"/>
    <dgm:cxn modelId="{B16DEB27-96D6-4358-A383-83FF61A1507A}" srcId="{80AF90E8-A1EA-4586-928D-0A2057E1CF18}" destId="{ADF668AF-3E12-4B37-BBC6-0A6519A77140}" srcOrd="6" destOrd="0" parTransId="{CC484BE2-A604-4608-8FEA-5A49472B3C2C}" sibTransId="{588DFA08-AA0A-4B91-9359-5C2C4488A330}"/>
    <dgm:cxn modelId="{B4DC79E4-7F86-4354-8E2A-10FA4E535688}" type="presOf" srcId="{239473F6-9DFA-4CBB-B80C-93A081707E6A}" destId="{1B96307D-B72E-46CA-99C3-DF4964887F61}" srcOrd="0" destOrd="0" presId="urn:microsoft.com/office/officeart/2005/8/layout/bProcess4"/>
    <dgm:cxn modelId="{F41CD0E4-B6FF-4632-8F59-C57B49EE6EB8}" type="presOf" srcId="{E446F138-EBED-4CF1-9103-188FE94E650D}" destId="{F6FC2ECE-CFEF-4937-9FA9-7386B67A1865}" srcOrd="0" destOrd="0" presId="urn:microsoft.com/office/officeart/2005/8/layout/bProcess4"/>
    <dgm:cxn modelId="{F2236A60-2DCA-4561-9420-6C84C69FB0B1}" type="presOf" srcId="{126F406E-6F8A-49A3-979C-4B0D96D833E5}" destId="{D46D306B-4D14-46FF-9643-9239C46D8CAC}" srcOrd="0" destOrd="0" presId="urn:microsoft.com/office/officeart/2005/8/layout/bProcess4"/>
    <dgm:cxn modelId="{24CEA582-609E-4985-88DD-C85EE0320C6F}" type="presOf" srcId="{B23BB066-8472-44EB-B86D-AA6CC44B4FC0}" destId="{37C0B14A-2A81-4DA6-A4DE-8B0C0FD97FC1}" srcOrd="0" destOrd="0" presId="urn:microsoft.com/office/officeart/2005/8/layout/bProcess4"/>
    <dgm:cxn modelId="{526D87E6-10D0-4BD9-B67C-ADCE4EAB36B2}" type="presOf" srcId="{B55A334A-32D7-4815-BEAC-C5617F56BF7E}" destId="{2847F226-AA4E-451E-8FA8-84F2FF69A214}" srcOrd="0" destOrd="0" presId="urn:microsoft.com/office/officeart/2005/8/layout/bProcess4"/>
    <dgm:cxn modelId="{101CE67B-E2B2-4A3D-A0DF-799E64986E46}" srcId="{80AF90E8-A1EA-4586-928D-0A2057E1CF18}" destId="{E9F17FF9-84CB-4AA1-BBFD-68979FCDA9FF}" srcOrd="0" destOrd="0" parTransId="{C6B99BCA-809E-4DD8-9720-C996C7A9F8B2}" sibTransId="{8CF5CB1E-B594-4492-81DF-BD90AD0D6918}"/>
    <dgm:cxn modelId="{FD42738D-7C72-4E13-8B88-2876EAC219EF}" type="presParOf" srcId="{43C8D023-4A08-46DB-AFBD-6200159D864A}" destId="{7CF6DC72-9EB1-4CE1-8062-055148110538}" srcOrd="0" destOrd="0" presId="urn:microsoft.com/office/officeart/2005/8/layout/bProcess4"/>
    <dgm:cxn modelId="{3D6D17B9-C255-450E-BFA9-1CEDAA2A88C6}" type="presParOf" srcId="{7CF6DC72-9EB1-4CE1-8062-055148110538}" destId="{AD9E0B91-5ADB-4817-A7F5-254540FCE215}" srcOrd="0" destOrd="0" presId="urn:microsoft.com/office/officeart/2005/8/layout/bProcess4"/>
    <dgm:cxn modelId="{109A6DB1-A45A-4B56-BA93-83B07C35EFA5}" type="presParOf" srcId="{7CF6DC72-9EB1-4CE1-8062-055148110538}" destId="{D8032C8F-07F8-49E7-971C-FCC8CFA0A309}" srcOrd="1" destOrd="0" presId="urn:microsoft.com/office/officeart/2005/8/layout/bProcess4"/>
    <dgm:cxn modelId="{A09A9760-3E28-4166-88B5-D1253111CD1F}" type="presParOf" srcId="{43C8D023-4A08-46DB-AFBD-6200159D864A}" destId="{E9E1769E-B168-4CD8-BE69-23AD7E310373}" srcOrd="1" destOrd="0" presId="urn:microsoft.com/office/officeart/2005/8/layout/bProcess4"/>
    <dgm:cxn modelId="{C1774135-844E-436C-B511-5BF09D67304B}" type="presParOf" srcId="{43C8D023-4A08-46DB-AFBD-6200159D864A}" destId="{E793C0DA-AA69-48FD-9E70-F056E6010C5E}" srcOrd="2" destOrd="0" presId="urn:microsoft.com/office/officeart/2005/8/layout/bProcess4"/>
    <dgm:cxn modelId="{2A00385A-524F-4892-B16C-25D7A9925E12}" type="presParOf" srcId="{E793C0DA-AA69-48FD-9E70-F056E6010C5E}" destId="{B6FE7EB7-DA67-4353-9A8C-616C8E809188}" srcOrd="0" destOrd="0" presId="urn:microsoft.com/office/officeart/2005/8/layout/bProcess4"/>
    <dgm:cxn modelId="{46043A2C-4741-42C6-B338-BE0E8DBD7ACB}" type="presParOf" srcId="{E793C0DA-AA69-48FD-9E70-F056E6010C5E}" destId="{D3A94AF2-A702-4098-BBF8-E78BBA5F1D6D}" srcOrd="1" destOrd="0" presId="urn:microsoft.com/office/officeart/2005/8/layout/bProcess4"/>
    <dgm:cxn modelId="{79F3AD48-4EB5-428D-BA36-DD48A25BABFD}" type="presParOf" srcId="{43C8D023-4A08-46DB-AFBD-6200159D864A}" destId="{1C87ED88-6481-4D07-9F24-87B0AE319D5F}" srcOrd="3" destOrd="0" presId="urn:microsoft.com/office/officeart/2005/8/layout/bProcess4"/>
    <dgm:cxn modelId="{7B7C648D-3F41-42D7-9666-B17A13DC7242}" type="presParOf" srcId="{43C8D023-4A08-46DB-AFBD-6200159D864A}" destId="{72ADED6A-C79C-460A-B9BC-0E47F81582D7}" srcOrd="4" destOrd="0" presId="urn:microsoft.com/office/officeart/2005/8/layout/bProcess4"/>
    <dgm:cxn modelId="{B9CA2A64-EB8A-4E3B-A89A-5DB73AF4EDCE}" type="presParOf" srcId="{72ADED6A-C79C-460A-B9BC-0E47F81582D7}" destId="{4C5AD02E-C3B9-49AC-A50B-79696A885476}" srcOrd="0" destOrd="0" presId="urn:microsoft.com/office/officeart/2005/8/layout/bProcess4"/>
    <dgm:cxn modelId="{FBECE801-1755-4AC7-A62B-8C53C182B750}" type="presParOf" srcId="{72ADED6A-C79C-460A-B9BC-0E47F81582D7}" destId="{A7934C21-ADF7-422F-B47B-B5A5A9ACA79D}" srcOrd="1" destOrd="0" presId="urn:microsoft.com/office/officeart/2005/8/layout/bProcess4"/>
    <dgm:cxn modelId="{1EA6FCBE-D642-4630-89BA-5C12CFA17091}" type="presParOf" srcId="{43C8D023-4A08-46DB-AFBD-6200159D864A}" destId="{57E7BDAE-DCE6-47E5-8E9C-B8C08ABA3F38}" srcOrd="5" destOrd="0" presId="urn:microsoft.com/office/officeart/2005/8/layout/bProcess4"/>
    <dgm:cxn modelId="{BF5A6794-302B-4B8A-B495-324AD1BF9D48}" type="presParOf" srcId="{43C8D023-4A08-46DB-AFBD-6200159D864A}" destId="{6C5397E5-F3BE-4F32-B8C6-7C663A7DA65C}" srcOrd="6" destOrd="0" presId="urn:microsoft.com/office/officeart/2005/8/layout/bProcess4"/>
    <dgm:cxn modelId="{833D68C4-9550-4DE8-9D39-71919D24443D}" type="presParOf" srcId="{6C5397E5-F3BE-4F32-B8C6-7C663A7DA65C}" destId="{87C329B3-7004-4E96-9B2D-E12FBD2E3381}" srcOrd="0" destOrd="0" presId="urn:microsoft.com/office/officeart/2005/8/layout/bProcess4"/>
    <dgm:cxn modelId="{E8829E57-189D-4C21-9FE1-4D9D627B980E}" type="presParOf" srcId="{6C5397E5-F3BE-4F32-B8C6-7C663A7DA65C}" destId="{25792AB4-3AFD-4F68-897D-F8B7E034032A}" srcOrd="1" destOrd="0" presId="urn:microsoft.com/office/officeart/2005/8/layout/bProcess4"/>
    <dgm:cxn modelId="{A46F7AD3-EE8D-486E-AC66-A6F3E2326D0B}" type="presParOf" srcId="{43C8D023-4A08-46DB-AFBD-6200159D864A}" destId="{D5FA8DAC-FD33-47B2-AF30-E334B817887F}" srcOrd="7" destOrd="0" presId="urn:microsoft.com/office/officeart/2005/8/layout/bProcess4"/>
    <dgm:cxn modelId="{270E36D6-87E5-4BDB-986E-ECD28328E360}" type="presParOf" srcId="{43C8D023-4A08-46DB-AFBD-6200159D864A}" destId="{6122CEF0-EDE3-4782-957B-1C2FA1576804}" srcOrd="8" destOrd="0" presId="urn:microsoft.com/office/officeart/2005/8/layout/bProcess4"/>
    <dgm:cxn modelId="{49CD1EE0-E0CC-4B93-A7AD-C703D2FBBB62}" type="presParOf" srcId="{6122CEF0-EDE3-4782-957B-1C2FA1576804}" destId="{C8C5E3A7-3FBD-4B24-BDDB-61B9A92D124D}" srcOrd="0" destOrd="0" presId="urn:microsoft.com/office/officeart/2005/8/layout/bProcess4"/>
    <dgm:cxn modelId="{7F5CDC9B-1996-4F33-A9E4-C9ACEB04D308}" type="presParOf" srcId="{6122CEF0-EDE3-4782-957B-1C2FA1576804}" destId="{4E9A9EE7-92C5-4699-8669-56116A772C24}" srcOrd="1" destOrd="0" presId="urn:microsoft.com/office/officeart/2005/8/layout/bProcess4"/>
    <dgm:cxn modelId="{CF15E9DC-2875-425D-85D6-61C3B084584B}" type="presParOf" srcId="{43C8D023-4A08-46DB-AFBD-6200159D864A}" destId="{F524A3C2-2F47-4EC7-9192-FF87140744A2}" srcOrd="9" destOrd="0" presId="urn:microsoft.com/office/officeart/2005/8/layout/bProcess4"/>
    <dgm:cxn modelId="{C40CF18A-C7A9-47A8-B825-64C8798BC334}" type="presParOf" srcId="{43C8D023-4A08-46DB-AFBD-6200159D864A}" destId="{391FC91B-3709-4F26-A4A5-BD05E57ACFA2}" srcOrd="10" destOrd="0" presId="urn:microsoft.com/office/officeart/2005/8/layout/bProcess4"/>
    <dgm:cxn modelId="{E5AB0424-C110-45C8-AEDE-1FB5E022F7C2}" type="presParOf" srcId="{391FC91B-3709-4F26-A4A5-BD05E57ACFA2}" destId="{C3F51335-5D30-4D81-A83F-639D9F307E07}" srcOrd="0" destOrd="0" presId="urn:microsoft.com/office/officeart/2005/8/layout/bProcess4"/>
    <dgm:cxn modelId="{5E17734E-B213-4D55-AD0F-2A51D2D36DD8}" type="presParOf" srcId="{391FC91B-3709-4F26-A4A5-BD05E57ACFA2}" destId="{4857B1DA-2507-499A-A5D5-C0764C8CAA3E}" srcOrd="1" destOrd="0" presId="urn:microsoft.com/office/officeart/2005/8/layout/bProcess4"/>
    <dgm:cxn modelId="{E462403E-D543-409D-9010-3BD5240446C9}" type="presParOf" srcId="{43C8D023-4A08-46DB-AFBD-6200159D864A}" destId="{49E3A27E-2060-4282-930E-AB4FCEE55EDC}" srcOrd="11" destOrd="0" presId="urn:microsoft.com/office/officeart/2005/8/layout/bProcess4"/>
    <dgm:cxn modelId="{21E75157-8E7D-4477-8B0F-CAA17277E1B8}" type="presParOf" srcId="{43C8D023-4A08-46DB-AFBD-6200159D864A}" destId="{6A222A9C-1BE9-4CFF-BF72-D69C0110133F}" srcOrd="12" destOrd="0" presId="urn:microsoft.com/office/officeart/2005/8/layout/bProcess4"/>
    <dgm:cxn modelId="{2D539DBD-8C8C-48AD-84BF-B8737B732020}" type="presParOf" srcId="{6A222A9C-1BE9-4CFF-BF72-D69C0110133F}" destId="{9DCA24C9-AC31-443A-B417-F995E4531B81}" srcOrd="0" destOrd="0" presId="urn:microsoft.com/office/officeart/2005/8/layout/bProcess4"/>
    <dgm:cxn modelId="{013BB205-1A5C-4405-9DBA-A30FDABA12CA}" type="presParOf" srcId="{6A222A9C-1BE9-4CFF-BF72-D69C0110133F}" destId="{E035CB83-BBB4-4446-A112-13AF53CB77D8}" srcOrd="1" destOrd="0" presId="urn:microsoft.com/office/officeart/2005/8/layout/bProcess4"/>
    <dgm:cxn modelId="{52BD8D73-8DDF-4BF3-960C-5C9072417A1D}" type="presParOf" srcId="{43C8D023-4A08-46DB-AFBD-6200159D864A}" destId="{B630B3E9-C976-4814-8F94-C0C4A230ADBF}" srcOrd="13" destOrd="0" presId="urn:microsoft.com/office/officeart/2005/8/layout/bProcess4"/>
    <dgm:cxn modelId="{BA04593C-48B9-41A9-B803-07FFC9FBE98E}" type="presParOf" srcId="{43C8D023-4A08-46DB-AFBD-6200159D864A}" destId="{A97FF797-8A3F-4914-893E-02097BE29E8A}" srcOrd="14" destOrd="0" presId="urn:microsoft.com/office/officeart/2005/8/layout/bProcess4"/>
    <dgm:cxn modelId="{5D8E2DD2-468F-482B-8124-2713CD187B85}" type="presParOf" srcId="{A97FF797-8A3F-4914-893E-02097BE29E8A}" destId="{5A65044A-DFA8-4F7D-A6E0-956032BCAD27}" srcOrd="0" destOrd="0" presId="urn:microsoft.com/office/officeart/2005/8/layout/bProcess4"/>
    <dgm:cxn modelId="{46DEE6E6-C7B4-480B-9C89-421001EB32F7}" type="presParOf" srcId="{A97FF797-8A3F-4914-893E-02097BE29E8A}" destId="{D9FD8211-2BCA-47BB-831A-240575A82F59}" srcOrd="1" destOrd="0" presId="urn:microsoft.com/office/officeart/2005/8/layout/bProcess4"/>
    <dgm:cxn modelId="{3A043584-C50C-467E-9249-271BAF464568}" type="presParOf" srcId="{43C8D023-4A08-46DB-AFBD-6200159D864A}" destId="{102024F8-46FB-49EA-846C-1146B6011A6D}" srcOrd="15" destOrd="0" presId="urn:microsoft.com/office/officeart/2005/8/layout/bProcess4"/>
    <dgm:cxn modelId="{9FFC87AD-34AA-4345-9788-0041BEF2A891}" type="presParOf" srcId="{43C8D023-4A08-46DB-AFBD-6200159D864A}" destId="{A2E1DB04-E89C-43B1-B7EE-58212005BA3D}" srcOrd="16" destOrd="0" presId="urn:microsoft.com/office/officeart/2005/8/layout/bProcess4"/>
    <dgm:cxn modelId="{02AB7C82-B980-4D7E-8F1C-17ABDEE11084}" type="presParOf" srcId="{A2E1DB04-E89C-43B1-B7EE-58212005BA3D}" destId="{C51202BA-B9DC-45F2-AD89-03FEC7060355}" srcOrd="0" destOrd="0" presId="urn:microsoft.com/office/officeart/2005/8/layout/bProcess4"/>
    <dgm:cxn modelId="{966E791B-0F6C-4765-8815-516AA96B5D52}" type="presParOf" srcId="{A2E1DB04-E89C-43B1-B7EE-58212005BA3D}" destId="{5EA1F8C6-C86C-4503-BC0D-7BD03573E398}" srcOrd="1" destOrd="0" presId="urn:microsoft.com/office/officeart/2005/8/layout/bProcess4"/>
    <dgm:cxn modelId="{1F7E637E-E097-40B1-AB43-6F11603E2CB4}" type="presParOf" srcId="{43C8D023-4A08-46DB-AFBD-6200159D864A}" destId="{26601E23-47AA-4256-A218-A825457954F3}" srcOrd="17" destOrd="0" presId="urn:microsoft.com/office/officeart/2005/8/layout/bProcess4"/>
    <dgm:cxn modelId="{9F1689E9-1786-4EF1-90E4-A3F4BC7F963A}" type="presParOf" srcId="{43C8D023-4A08-46DB-AFBD-6200159D864A}" destId="{C23A43D7-A0F1-4C9A-B826-4C0CBDCEC267}" srcOrd="18" destOrd="0" presId="urn:microsoft.com/office/officeart/2005/8/layout/bProcess4"/>
    <dgm:cxn modelId="{FABD073F-402F-4DB9-89A3-76AF20BF36A4}" type="presParOf" srcId="{C23A43D7-A0F1-4C9A-B826-4C0CBDCEC267}" destId="{8846A12C-1553-4F83-8C62-8EBCEA55074C}" srcOrd="0" destOrd="0" presId="urn:microsoft.com/office/officeart/2005/8/layout/bProcess4"/>
    <dgm:cxn modelId="{6827D778-9381-462C-B307-BC094630CFCE}" type="presParOf" srcId="{C23A43D7-A0F1-4C9A-B826-4C0CBDCEC267}" destId="{1B50BFC0-B4D6-4BC3-B5E4-CF59BDFABE2A}" srcOrd="1" destOrd="0" presId="urn:microsoft.com/office/officeart/2005/8/layout/bProcess4"/>
    <dgm:cxn modelId="{55A0C134-476D-48E6-B2CA-1A8E92B44127}" type="presParOf" srcId="{43C8D023-4A08-46DB-AFBD-6200159D864A}" destId="{3C2DD09D-26A9-46AC-84EB-C215991B44BB}" srcOrd="19" destOrd="0" presId="urn:microsoft.com/office/officeart/2005/8/layout/bProcess4"/>
    <dgm:cxn modelId="{D3C6A04A-0F43-4844-8F0F-5DE92BC2B493}" type="presParOf" srcId="{43C8D023-4A08-46DB-AFBD-6200159D864A}" destId="{71078D0E-936B-46A5-9160-4F8666DDCB8F}" srcOrd="20" destOrd="0" presId="urn:microsoft.com/office/officeart/2005/8/layout/bProcess4"/>
    <dgm:cxn modelId="{7E059D29-8133-4C38-8827-4DDB6108BD85}" type="presParOf" srcId="{71078D0E-936B-46A5-9160-4F8666DDCB8F}" destId="{21680056-C4D9-4771-912A-68D1D1FD5A4E}" srcOrd="0" destOrd="0" presId="urn:microsoft.com/office/officeart/2005/8/layout/bProcess4"/>
    <dgm:cxn modelId="{D8A7621E-415B-4DA3-82D0-D579763D14D4}" type="presParOf" srcId="{71078D0E-936B-46A5-9160-4F8666DDCB8F}" destId="{A68F451B-07D1-4CC8-8C09-0A6CFF49BCE8}" srcOrd="1" destOrd="0" presId="urn:microsoft.com/office/officeart/2005/8/layout/bProcess4"/>
    <dgm:cxn modelId="{CD3BA994-9A41-42EF-87A4-8788D04D0D85}" type="presParOf" srcId="{43C8D023-4A08-46DB-AFBD-6200159D864A}" destId="{EE1B6901-BA8E-4105-96F4-42FA568E72BE}" srcOrd="21" destOrd="0" presId="urn:microsoft.com/office/officeart/2005/8/layout/bProcess4"/>
    <dgm:cxn modelId="{593FC280-D966-4EF1-A4E0-7802C69AC5A4}" type="presParOf" srcId="{43C8D023-4A08-46DB-AFBD-6200159D864A}" destId="{E1A51B93-D496-444F-A156-CAF74E809076}" srcOrd="22" destOrd="0" presId="urn:microsoft.com/office/officeart/2005/8/layout/bProcess4"/>
    <dgm:cxn modelId="{FB692A72-726F-41DC-A5F2-8B8AFC0850C0}" type="presParOf" srcId="{E1A51B93-D496-444F-A156-CAF74E809076}" destId="{D95F7B6E-C843-4412-AD1C-14CA2FC5923C}" srcOrd="0" destOrd="0" presId="urn:microsoft.com/office/officeart/2005/8/layout/bProcess4"/>
    <dgm:cxn modelId="{4FE7E9F8-66A9-4B45-8852-E4D5E282F1F3}" type="presParOf" srcId="{E1A51B93-D496-444F-A156-CAF74E809076}" destId="{1B96307D-B72E-46CA-99C3-DF4964887F61}" srcOrd="1" destOrd="0" presId="urn:microsoft.com/office/officeart/2005/8/layout/bProcess4"/>
    <dgm:cxn modelId="{8CD86AB0-E0B3-4044-AF54-BCD761C9E279}" type="presParOf" srcId="{43C8D023-4A08-46DB-AFBD-6200159D864A}" destId="{6C96EEF3-BDD2-46B0-9775-DB0AD7122BCA}" srcOrd="23" destOrd="0" presId="urn:microsoft.com/office/officeart/2005/8/layout/bProcess4"/>
    <dgm:cxn modelId="{8ADEB93B-DE51-4FD8-B518-9EA2FAEF1A10}" type="presParOf" srcId="{43C8D023-4A08-46DB-AFBD-6200159D864A}" destId="{6FBB79D9-3544-408E-8CD8-6C318341500A}" srcOrd="24" destOrd="0" presId="urn:microsoft.com/office/officeart/2005/8/layout/bProcess4"/>
    <dgm:cxn modelId="{3E3EAB1D-F416-45C0-856D-EBA3F5C364D3}" type="presParOf" srcId="{6FBB79D9-3544-408E-8CD8-6C318341500A}" destId="{533E4288-8719-46AC-A924-EF3C8C5C8D40}" srcOrd="0" destOrd="0" presId="urn:microsoft.com/office/officeart/2005/8/layout/bProcess4"/>
    <dgm:cxn modelId="{E7576987-8739-4703-AFE7-4027ECE45A02}" type="presParOf" srcId="{6FBB79D9-3544-408E-8CD8-6C318341500A}" destId="{B428A3B2-862D-4B94-BDCF-12B1A0C11E4D}" srcOrd="1" destOrd="0" presId="urn:microsoft.com/office/officeart/2005/8/layout/bProcess4"/>
    <dgm:cxn modelId="{D0BAD908-CC1F-4861-9BF9-F63F82026370}" type="presParOf" srcId="{43C8D023-4A08-46DB-AFBD-6200159D864A}" destId="{F6FC2ECE-CFEF-4937-9FA9-7386B67A1865}" srcOrd="25" destOrd="0" presId="urn:microsoft.com/office/officeart/2005/8/layout/bProcess4"/>
    <dgm:cxn modelId="{EB4EB3FD-C468-44A4-8FB6-4ABBBB24B837}" type="presParOf" srcId="{43C8D023-4A08-46DB-AFBD-6200159D864A}" destId="{14F0E3BB-2CCD-448D-963D-3688A898D237}" srcOrd="26" destOrd="0" presId="urn:microsoft.com/office/officeart/2005/8/layout/bProcess4"/>
    <dgm:cxn modelId="{B6AD02BC-C296-4DC2-AC91-70388D0D02E7}" type="presParOf" srcId="{14F0E3BB-2CCD-448D-963D-3688A898D237}" destId="{446B60AE-F23C-4035-881C-0AFE6A5756DC}" srcOrd="0" destOrd="0" presId="urn:microsoft.com/office/officeart/2005/8/layout/bProcess4"/>
    <dgm:cxn modelId="{40B49429-300E-4D8A-BD0D-78D81695BFCB}" type="presParOf" srcId="{14F0E3BB-2CCD-448D-963D-3688A898D237}" destId="{D46D306B-4D14-46FF-9643-9239C46D8CAC}" srcOrd="1" destOrd="0" presId="urn:microsoft.com/office/officeart/2005/8/layout/bProcess4"/>
    <dgm:cxn modelId="{C27186C5-8BE0-497B-858C-A3233F341D85}" type="presParOf" srcId="{43C8D023-4A08-46DB-AFBD-6200159D864A}" destId="{336F546F-1FDC-4E18-95BF-FE0101C6AA07}" srcOrd="27" destOrd="0" presId="urn:microsoft.com/office/officeart/2005/8/layout/bProcess4"/>
    <dgm:cxn modelId="{A9BB6FD1-0817-469F-B56E-95023CB4DB52}" type="presParOf" srcId="{43C8D023-4A08-46DB-AFBD-6200159D864A}" destId="{BD498463-E07A-435B-B5E6-4BAAA18A372E}" srcOrd="28" destOrd="0" presId="urn:microsoft.com/office/officeart/2005/8/layout/bProcess4"/>
    <dgm:cxn modelId="{0A299C58-B65C-4F16-A663-E43AD35BF4CE}" type="presParOf" srcId="{BD498463-E07A-435B-B5E6-4BAAA18A372E}" destId="{355AAA7F-3BF3-4C38-BD80-872636B0FC73}" srcOrd="0" destOrd="0" presId="urn:microsoft.com/office/officeart/2005/8/layout/bProcess4"/>
    <dgm:cxn modelId="{98868615-E49D-4D96-9EE4-AD7409D940B0}" type="presParOf" srcId="{BD498463-E07A-435B-B5E6-4BAAA18A372E}" destId="{865CC9CB-4D1A-4BBD-89CB-C6A0A3D909BD}" srcOrd="1" destOrd="0" presId="urn:microsoft.com/office/officeart/2005/8/layout/bProcess4"/>
    <dgm:cxn modelId="{E63A7A84-57CE-4A80-870F-CBFDF9339602}" type="presParOf" srcId="{43C8D023-4A08-46DB-AFBD-6200159D864A}" destId="{71178B63-9DA7-4EB2-B893-CB8B1DDC5504}" srcOrd="29" destOrd="0" presId="urn:microsoft.com/office/officeart/2005/8/layout/bProcess4"/>
    <dgm:cxn modelId="{B534F625-63E8-4E55-9A98-D1DF5A628F0E}" type="presParOf" srcId="{43C8D023-4A08-46DB-AFBD-6200159D864A}" destId="{0743C31E-A2CB-493A-A8DF-8F51DA863E01}" srcOrd="30" destOrd="0" presId="urn:microsoft.com/office/officeart/2005/8/layout/bProcess4"/>
    <dgm:cxn modelId="{1F2E2EF5-995C-452F-822E-36B730C91D53}" type="presParOf" srcId="{0743C31E-A2CB-493A-A8DF-8F51DA863E01}" destId="{045FEA87-D9C2-4D10-843C-930A5F98A373}" srcOrd="0" destOrd="0" presId="urn:microsoft.com/office/officeart/2005/8/layout/bProcess4"/>
    <dgm:cxn modelId="{4D880A57-847C-4220-8DC1-AF64AC0007FA}" type="presParOf" srcId="{0743C31E-A2CB-493A-A8DF-8F51DA863E01}" destId="{032526AA-CA4F-47A6-8833-CC4E299DB417}" srcOrd="1" destOrd="0" presId="urn:microsoft.com/office/officeart/2005/8/layout/bProcess4"/>
    <dgm:cxn modelId="{6D8E8631-3032-4C61-9001-6883EA1C7382}" type="presParOf" srcId="{43C8D023-4A08-46DB-AFBD-6200159D864A}" destId="{9B25D534-E41D-4E66-9ABC-EB6CCB037EBF}" srcOrd="31" destOrd="0" presId="urn:microsoft.com/office/officeart/2005/8/layout/bProcess4"/>
    <dgm:cxn modelId="{C05990C0-8C13-43F0-BF37-A916DD6B9076}" type="presParOf" srcId="{43C8D023-4A08-46DB-AFBD-6200159D864A}" destId="{CCC07B11-DE30-4D37-9E33-7B3F122D2E49}" srcOrd="32" destOrd="0" presId="urn:microsoft.com/office/officeart/2005/8/layout/bProcess4"/>
    <dgm:cxn modelId="{99FB2DD9-6C61-43F5-A5E0-E2E5E076BA89}" type="presParOf" srcId="{CCC07B11-DE30-4D37-9E33-7B3F122D2E49}" destId="{B1C23F8D-A0D2-465F-8A49-2D9214C7064B}" srcOrd="0" destOrd="0" presId="urn:microsoft.com/office/officeart/2005/8/layout/bProcess4"/>
    <dgm:cxn modelId="{9777019A-AB6D-4292-AC20-CB893C07B3AB}" type="presParOf" srcId="{CCC07B11-DE30-4D37-9E33-7B3F122D2E49}" destId="{E85740BD-7D7E-4766-A8DC-1A35B1C1FEC9}" srcOrd="1" destOrd="0" presId="urn:microsoft.com/office/officeart/2005/8/layout/bProcess4"/>
    <dgm:cxn modelId="{674325F3-0BF3-4138-9D23-D11D09BEBECE}" type="presParOf" srcId="{43C8D023-4A08-46DB-AFBD-6200159D864A}" destId="{89D00D1F-943B-48DA-A8FD-AC043957EA6D}" srcOrd="33" destOrd="0" presId="urn:microsoft.com/office/officeart/2005/8/layout/bProcess4"/>
    <dgm:cxn modelId="{9EF66B4A-D571-4EE6-A82E-E98558190A4D}" type="presParOf" srcId="{43C8D023-4A08-46DB-AFBD-6200159D864A}" destId="{DE01F387-6F26-481B-893B-A7B2038622EE}" srcOrd="34" destOrd="0" presId="urn:microsoft.com/office/officeart/2005/8/layout/bProcess4"/>
    <dgm:cxn modelId="{B0534DBD-938D-474F-888F-84F9B8AC6EA4}" type="presParOf" srcId="{DE01F387-6F26-481B-893B-A7B2038622EE}" destId="{486799BC-36A2-4D59-815C-A49F4DD3A69C}" srcOrd="0" destOrd="0" presId="urn:microsoft.com/office/officeart/2005/8/layout/bProcess4"/>
    <dgm:cxn modelId="{B66AE52C-D85D-43D3-938F-812BDF2EBD73}" type="presParOf" srcId="{DE01F387-6F26-481B-893B-A7B2038622EE}" destId="{37C0B14A-2A81-4DA6-A4DE-8B0C0FD97FC1}" srcOrd="1" destOrd="0" presId="urn:microsoft.com/office/officeart/2005/8/layout/bProcess4"/>
    <dgm:cxn modelId="{64ED8DBA-8F5C-43C4-8599-B30AB9026985}" type="presParOf" srcId="{43C8D023-4A08-46DB-AFBD-6200159D864A}" destId="{A1C00C4B-A7DA-42E9-8FF6-0516DAF3992D}" srcOrd="35" destOrd="0" presId="urn:microsoft.com/office/officeart/2005/8/layout/bProcess4"/>
    <dgm:cxn modelId="{9FE6443F-8526-4267-A7AD-312F3BC1E617}" type="presParOf" srcId="{43C8D023-4A08-46DB-AFBD-6200159D864A}" destId="{E43C59BA-DBEA-4CF3-88EB-510F1480E057}" srcOrd="36" destOrd="0" presId="urn:microsoft.com/office/officeart/2005/8/layout/bProcess4"/>
    <dgm:cxn modelId="{4CD97FF9-E35E-41FB-AE39-39FF75D3A3FA}" type="presParOf" srcId="{E43C59BA-DBEA-4CF3-88EB-510F1480E057}" destId="{CB540A9B-E176-4615-BEA3-3F0C4A4D176D}" srcOrd="0" destOrd="0" presId="urn:microsoft.com/office/officeart/2005/8/layout/bProcess4"/>
    <dgm:cxn modelId="{B052DD16-C183-4A8F-8149-C435B46A9C6D}" type="presParOf" srcId="{E43C59BA-DBEA-4CF3-88EB-510F1480E057}" destId="{944E00CC-E210-4FBC-BC90-6DD58207E1A0}" srcOrd="1" destOrd="0" presId="urn:microsoft.com/office/officeart/2005/8/layout/bProcess4"/>
    <dgm:cxn modelId="{ACF6D916-6075-4AC4-91F9-73B1E1EE00DB}" type="presParOf" srcId="{43C8D023-4A08-46DB-AFBD-6200159D864A}" destId="{BB525EF4-11CA-4AF0-9D05-0890477F605B}" srcOrd="37" destOrd="0" presId="urn:microsoft.com/office/officeart/2005/8/layout/bProcess4"/>
    <dgm:cxn modelId="{A8DB486F-A3E1-494F-9F91-72A1797D8C9A}" type="presParOf" srcId="{43C8D023-4A08-46DB-AFBD-6200159D864A}" destId="{CC1DC260-BE15-4F47-87F2-8C3EEC978AF9}" srcOrd="38" destOrd="0" presId="urn:microsoft.com/office/officeart/2005/8/layout/bProcess4"/>
    <dgm:cxn modelId="{BCE45DCB-4CF2-4881-9EB5-940A65C68B8F}" type="presParOf" srcId="{CC1DC260-BE15-4F47-87F2-8C3EEC978AF9}" destId="{47ED8017-C136-45AF-AB20-EBF3191025AD}" srcOrd="0" destOrd="0" presId="urn:microsoft.com/office/officeart/2005/8/layout/bProcess4"/>
    <dgm:cxn modelId="{863793E7-7A48-4B99-8FC8-9291C3E34778}" type="presParOf" srcId="{CC1DC260-BE15-4F47-87F2-8C3EEC978AF9}" destId="{AB49DBB2-8BF6-48D2-AD6B-E4C56A5DA215}" srcOrd="1" destOrd="0" presId="urn:microsoft.com/office/officeart/2005/8/layout/bProcess4"/>
    <dgm:cxn modelId="{BA311D2D-BCB4-4F4F-9B0A-6CF410B6CF33}" type="presParOf" srcId="{43C8D023-4A08-46DB-AFBD-6200159D864A}" destId="{8AEDD5ED-C456-404E-A0C1-9FCD061445C8}" srcOrd="39" destOrd="0" presId="urn:microsoft.com/office/officeart/2005/8/layout/bProcess4"/>
    <dgm:cxn modelId="{2303B620-9C58-44D2-B217-A3A7F853C2EC}" type="presParOf" srcId="{43C8D023-4A08-46DB-AFBD-6200159D864A}" destId="{841806DD-7523-4B3F-AB4C-B3A82D8547BD}" srcOrd="40" destOrd="0" presId="urn:microsoft.com/office/officeart/2005/8/layout/bProcess4"/>
    <dgm:cxn modelId="{62A9A6AE-7320-475F-879E-B38EBA57A103}" type="presParOf" srcId="{841806DD-7523-4B3F-AB4C-B3A82D8547BD}" destId="{36102350-1BEA-4C65-837B-1A66EC1B7B5D}" srcOrd="0" destOrd="0" presId="urn:microsoft.com/office/officeart/2005/8/layout/bProcess4"/>
    <dgm:cxn modelId="{9468FBAE-0128-468E-96B1-4EFD109EBF11}" type="presParOf" srcId="{841806DD-7523-4B3F-AB4C-B3A82D8547BD}" destId="{C50EEFDE-E4D4-43BF-B3E0-15EBCF9D5439}" srcOrd="1" destOrd="0" presId="urn:microsoft.com/office/officeart/2005/8/layout/bProcess4"/>
    <dgm:cxn modelId="{B8BC89B4-5052-4CB1-87B3-35F82D53D995}" type="presParOf" srcId="{43C8D023-4A08-46DB-AFBD-6200159D864A}" destId="{FC461A49-6E8A-4765-BDC6-DF366118A9DB}" srcOrd="41" destOrd="0" presId="urn:microsoft.com/office/officeart/2005/8/layout/bProcess4"/>
    <dgm:cxn modelId="{16EC9A55-0E21-4F6A-8585-1DD06D62A7C8}" type="presParOf" srcId="{43C8D023-4A08-46DB-AFBD-6200159D864A}" destId="{A22ECE52-F2AE-43AB-9100-6F167B8A373B}" srcOrd="42" destOrd="0" presId="urn:microsoft.com/office/officeart/2005/8/layout/bProcess4"/>
    <dgm:cxn modelId="{A9C23F5D-9A5B-46FF-90F5-4E020E34F746}" type="presParOf" srcId="{A22ECE52-F2AE-43AB-9100-6F167B8A373B}" destId="{11463E47-5635-4402-9E35-D2128D49955F}" srcOrd="0" destOrd="0" presId="urn:microsoft.com/office/officeart/2005/8/layout/bProcess4"/>
    <dgm:cxn modelId="{DD2C8CC1-F974-4B1A-B20B-EBABC5CAA40F}" type="presParOf" srcId="{A22ECE52-F2AE-43AB-9100-6F167B8A373B}" destId="{2847F226-AA4E-451E-8FA8-84F2FF69A214}" srcOrd="1" destOrd="0" presId="urn:microsoft.com/office/officeart/2005/8/layout/bProcess4"/>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0AF90E8-A1EA-4586-928D-0A2057E1CF18}"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E9F17FF9-84CB-4AA1-BBFD-68979FCDA9FF}">
      <dgm:prSet phldrT="[Text]" custT="1"/>
      <dgm:spPr>
        <a:solidFill>
          <a:schemeClr val="accent4"/>
        </a:solidFill>
        <a:ln>
          <a:noFill/>
        </a:ln>
      </dgm:spPr>
      <dgm:t>
        <a:bodyPr/>
        <a:lstStyle/>
        <a:p>
          <a:r>
            <a:rPr lang="en-US" sz="900" dirty="0" smtClean="0"/>
            <a:t>Release Management</a:t>
          </a:r>
          <a:endParaRPr lang="en-US" sz="900" dirty="0"/>
        </a:p>
      </dgm:t>
    </dgm:pt>
    <dgm:pt modelId="{C6B99BCA-809E-4DD8-9720-C996C7A9F8B2}" type="parTrans" cxnId="{101CE67B-E2B2-4A3D-A0DF-799E64986E46}">
      <dgm:prSet/>
      <dgm:spPr/>
      <dgm:t>
        <a:bodyPr/>
        <a:lstStyle/>
        <a:p>
          <a:endParaRPr lang="en-US"/>
        </a:p>
      </dgm:t>
    </dgm:pt>
    <dgm:pt modelId="{8CF5CB1E-B594-4492-81DF-BD90AD0D6918}" type="sibTrans" cxnId="{101CE67B-E2B2-4A3D-A0DF-799E64986E46}">
      <dgm:prSet/>
      <dgm:spPr>
        <a:solidFill>
          <a:schemeClr val="tx1">
            <a:lumMod val="50000"/>
            <a:lumOff val="50000"/>
          </a:schemeClr>
        </a:solidFill>
      </dgm:spPr>
      <dgm:t>
        <a:bodyPr/>
        <a:lstStyle/>
        <a:p>
          <a:endParaRPr lang="en-US"/>
        </a:p>
      </dgm:t>
    </dgm:pt>
    <dgm:pt modelId="{85779212-6661-4725-AB42-F7048CC39118}">
      <dgm:prSet phldrT="[Text]" custT="1"/>
      <dgm:spPr>
        <a:solidFill>
          <a:schemeClr val="bg2"/>
        </a:solidFill>
        <a:ln>
          <a:noFill/>
        </a:ln>
      </dgm:spPr>
      <dgm:t>
        <a:bodyPr/>
        <a:lstStyle/>
        <a:p>
          <a:r>
            <a:rPr lang="en-US" sz="900" dirty="0" smtClean="0"/>
            <a:t>Collaboration</a:t>
          </a:r>
          <a:endParaRPr lang="en-US" sz="900" dirty="0"/>
        </a:p>
      </dgm:t>
    </dgm:pt>
    <dgm:pt modelId="{6F580CD6-77FB-49E7-AB68-F4756DCC3BC8}" type="parTrans" cxnId="{5F6E4A05-A398-46E1-93E6-2AB004134746}">
      <dgm:prSet/>
      <dgm:spPr/>
      <dgm:t>
        <a:bodyPr/>
        <a:lstStyle/>
        <a:p>
          <a:endParaRPr lang="en-US"/>
        </a:p>
      </dgm:t>
    </dgm:pt>
    <dgm:pt modelId="{2215B2C2-F53F-48D4-AAEB-E3661D91D79C}" type="sibTrans" cxnId="{5F6E4A05-A398-46E1-93E6-2AB004134746}">
      <dgm:prSet/>
      <dgm:spPr>
        <a:solidFill>
          <a:schemeClr val="tx1">
            <a:lumMod val="50000"/>
            <a:lumOff val="50000"/>
          </a:schemeClr>
        </a:solidFill>
      </dgm:spPr>
      <dgm:t>
        <a:bodyPr/>
        <a:lstStyle/>
        <a:p>
          <a:endParaRPr lang="en-US"/>
        </a:p>
      </dgm:t>
    </dgm:pt>
    <dgm:pt modelId="{849F1AF7-80F2-4D94-9C87-042462653019}">
      <dgm:prSet phldrT="[Text]" custT="1"/>
      <dgm:spPr>
        <a:solidFill>
          <a:schemeClr val="bg2"/>
        </a:solidFill>
        <a:ln>
          <a:noFill/>
        </a:ln>
      </dgm:spPr>
      <dgm:t>
        <a:bodyPr/>
        <a:lstStyle/>
        <a:p>
          <a:r>
            <a:rPr lang="en-US" sz="900" dirty="0" smtClean="0"/>
            <a:t>Code Checkout</a:t>
          </a:r>
          <a:endParaRPr lang="en-US" sz="900" dirty="0"/>
        </a:p>
      </dgm:t>
    </dgm:pt>
    <dgm:pt modelId="{FD7D8452-F8C4-444D-AF53-6B0291A0CCC0}" type="parTrans" cxnId="{3322B252-840F-41F1-8A0C-0D572C8B8350}">
      <dgm:prSet/>
      <dgm:spPr/>
      <dgm:t>
        <a:bodyPr/>
        <a:lstStyle/>
        <a:p>
          <a:endParaRPr lang="en-US"/>
        </a:p>
      </dgm:t>
    </dgm:pt>
    <dgm:pt modelId="{7C2CE862-3CB4-48E1-8966-FEEE24307D57}" type="sibTrans" cxnId="{3322B252-840F-41F1-8A0C-0D572C8B8350}">
      <dgm:prSet/>
      <dgm:spPr>
        <a:solidFill>
          <a:schemeClr val="tx1">
            <a:lumMod val="50000"/>
            <a:lumOff val="50000"/>
          </a:schemeClr>
        </a:solidFill>
      </dgm:spPr>
      <dgm:t>
        <a:bodyPr/>
        <a:lstStyle/>
        <a:p>
          <a:endParaRPr lang="en-US"/>
        </a:p>
      </dgm:t>
    </dgm:pt>
    <dgm:pt modelId="{1BA9C312-3FC6-492C-A4A5-D1F5D3C47968}">
      <dgm:prSet phldrT="[Text]" custT="1"/>
      <dgm:spPr>
        <a:solidFill>
          <a:schemeClr val="bg2"/>
        </a:solidFill>
        <a:ln>
          <a:noFill/>
        </a:ln>
      </dgm:spPr>
      <dgm:t>
        <a:bodyPr/>
        <a:lstStyle/>
        <a:p>
          <a:r>
            <a:rPr lang="en-US" sz="900" dirty="0" smtClean="0"/>
            <a:t>Code Construction</a:t>
          </a:r>
          <a:endParaRPr lang="en-US" sz="900" dirty="0"/>
        </a:p>
      </dgm:t>
    </dgm:pt>
    <dgm:pt modelId="{A713E7FF-1CAD-4740-B3E0-EB45F4AAC7BE}" type="parTrans" cxnId="{35D90AA5-A97B-4370-B278-E9458FFB9BA6}">
      <dgm:prSet/>
      <dgm:spPr/>
      <dgm:t>
        <a:bodyPr/>
        <a:lstStyle/>
        <a:p>
          <a:endParaRPr lang="en-US"/>
        </a:p>
      </dgm:t>
    </dgm:pt>
    <dgm:pt modelId="{DFF57308-0DD1-475E-B2FA-E31BBB6A0860}" type="sibTrans" cxnId="{35D90AA5-A97B-4370-B278-E9458FFB9BA6}">
      <dgm:prSet/>
      <dgm:spPr>
        <a:solidFill>
          <a:schemeClr val="tx1">
            <a:lumMod val="50000"/>
            <a:lumOff val="50000"/>
          </a:schemeClr>
        </a:solidFill>
      </dgm:spPr>
      <dgm:t>
        <a:bodyPr/>
        <a:lstStyle/>
        <a:p>
          <a:endParaRPr lang="en-US"/>
        </a:p>
      </dgm:t>
    </dgm:pt>
    <dgm:pt modelId="{3930EB36-6FDA-44CB-ABCF-988A9BA436E3}">
      <dgm:prSet phldrT="[Text]" custT="1"/>
      <dgm:spPr>
        <a:solidFill>
          <a:schemeClr val="bg2"/>
        </a:solidFill>
        <a:ln>
          <a:noFill/>
        </a:ln>
      </dgm:spPr>
      <dgm:t>
        <a:bodyPr/>
        <a:lstStyle/>
        <a:p>
          <a:r>
            <a:rPr lang="en-US" sz="900" dirty="0" smtClean="0"/>
            <a:t>Unit Testing</a:t>
          </a:r>
          <a:endParaRPr lang="en-US" sz="900" dirty="0"/>
        </a:p>
      </dgm:t>
    </dgm:pt>
    <dgm:pt modelId="{A76573DD-7B52-434F-87C3-DD21C0CB5B23}" type="parTrans" cxnId="{7556444B-E586-4C76-B57A-7A3A3DE9645D}">
      <dgm:prSet/>
      <dgm:spPr/>
      <dgm:t>
        <a:bodyPr/>
        <a:lstStyle/>
        <a:p>
          <a:endParaRPr lang="en-US"/>
        </a:p>
      </dgm:t>
    </dgm:pt>
    <dgm:pt modelId="{F3DCA773-1244-4B9A-9ED9-C0FDC19BC45E}" type="sibTrans" cxnId="{7556444B-E586-4C76-B57A-7A3A3DE9645D}">
      <dgm:prSet/>
      <dgm:spPr>
        <a:solidFill>
          <a:schemeClr val="tx1">
            <a:lumMod val="50000"/>
            <a:lumOff val="50000"/>
          </a:schemeClr>
        </a:solidFill>
      </dgm:spPr>
      <dgm:t>
        <a:bodyPr/>
        <a:lstStyle/>
        <a:p>
          <a:endParaRPr lang="en-US"/>
        </a:p>
      </dgm:t>
    </dgm:pt>
    <dgm:pt modelId="{ADF668AF-3E12-4B37-BBC6-0A6519A77140}">
      <dgm:prSet phldrT="[Text]" custT="1"/>
      <dgm:spPr>
        <a:solidFill>
          <a:schemeClr val="bg2"/>
        </a:solidFill>
        <a:ln>
          <a:noFill/>
        </a:ln>
      </dgm:spPr>
      <dgm:t>
        <a:bodyPr/>
        <a:lstStyle/>
        <a:p>
          <a:r>
            <a:rPr lang="en-US" sz="900" dirty="0" smtClean="0"/>
            <a:t>Code Review</a:t>
          </a:r>
          <a:endParaRPr lang="en-US" sz="900" dirty="0"/>
        </a:p>
      </dgm:t>
    </dgm:pt>
    <dgm:pt modelId="{CC484BE2-A604-4608-8FEA-5A49472B3C2C}" type="parTrans" cxnId="{B16DEB27-96D6-4358-A383-83FF61A1507A}">
      <dgm:prSet/>
      <dgm:spPr/>
      <dgm:t>
        <a:bodyPr/>
        <a:lstStyle/>
        <a:p>
          <a:endParaRPr lang="en-US"/>
        </a:p>
      </dgm:t>
    </dgm:pt>
    <dgm:pt modelId="{588DFA08-AA0A-4B91-9359-5C2C4488A330}" type="sibTrans" cxnId="{B16DEB27-96D6-4358-A383-83FF61A1507A}">
      <dgm:prSet/>
      <dgm:spPr>
        <a:solidFill>
          <a:schemeClr val="tx1">
            <a:lumMod val="50000"/>
            <a:lumOff val="50000"/>
          </a:schemeClr>
        </a:solidFill>
      </dgm:spPr>
      <dgm:t>
        <a:bodyPr/>
        <a:lstStyle/>
        <a:p>
          <a:endParaRPr lang="en-US"/>
        </a:p>
      </dgm:t>
    </dgm:pt>
    <dgm:pt modelId="{37FE08DE-1395-40CA-9A0B-525CD6B5E831}">
      <dgm:prSet phldrT="[Text]" custT="1"/>
      <dgm:spPr>
        <a:solidFill>
          <a:schemeClr val="bg2"/>
        </a:solidFill>
        <a:ln>
          <a:noFill/>
        </a:ln>
      </dgm:spPr>
      <dgm:t>
        <a:bodyPr/>
        <a:lstStyle/>
        <a:p>
          <a:r>
            <a:rPr lang="en-US" sz="900" dirty="0" smtClean="0"/>
            <a:t>Code Conflict Management</a:t>
          </a:r>
          <a:endParaRPr lang="en-US" sz="900" dirty="0"/>
        </a:p>
      </dgm:t>
    </dgm:pt>
    <dgm:pt modelId="{5BEB020A-F5F5-4850-9980-5A4661CB3AD2}" type="parTrans" cxnId="{E4DB4185-9DF4-435B-8968-A0AAB99B9C73}">
      <dgm:prSet/>
      <dgm:spPr/>
      <dgm:t>
        <a:bodyPr/>
        <a:lstStyle/>
        <a:p>
          <a:endParaRPr lang="en-US"/>
        </a:p>
      </dgm:t>
    </dgm:pt>
    <dgm:pt modelId="{57271963-C7A4-4669-BFA6-3618812B92AB}" type="sibTrans" cxnId="{E4DB4185-9DF4-435B-8968-A0AAB99B9C73}">
      <dgm:prSet/>
      <dgm:spPr>
        <a:solidFill>
          <a:schemeClr val="tx1">
            <a:lumMod val="50000"/>
            <a:lumOff val="50000"/>
          </a:schemeClr>
        </a:solidFill>
      </dgm:spPr>
      <dgm:t>
        <a:bodyPr/>
        <a:lstStyle/>
        <a:p>
          <a:endParaRPr lang="en-US"/>
        </a:p>
      </dgm:t>
    </dgm:pt>
    <dgm:pt modelId="{3738A1B5-90CF-463A-8275-7F3A4F3727AB}">
      <dgm:prSet phldrT="[Text]" custT="1"/>
      <dgm:spPr>
        <a:solidFill>
          <a:schemeClr val="bg2"/>
        </a:solidFill>
        <a:ln>
          <a:noFill/>
        </a:ln>
      </dgm:spPr>
      <dgm:t>
        <a:bodyPr/>
        <a:lstStyle/>
        <a:p>
          <a:r>
            <a:rPr lang="en-US" sz="900" dirty="0" smtClean="0"/>
            <a:t>Version Management</a:t>
          </a:r>
          <a:endParaRPr lang="en-US" sz="900" dirty="0"/>
        </a:p>
      </dgm:t>
    </dgm:pt>
    <dgm:pt modelId="{62E7C633-B086-48CB-B985-A62A961F08C3}" type="parTrans" cxnId="{32A49BFC-A3EA-4549-844A-F84528076B00}">
      <dgm:prSet/>
      <dgm:spPr/>
      <dgm:t>
        <a:bodyPr/>
        <a:lstStyle/>
        <a:p>
          <a:endParaRPr lang="en-US"/>
        </a:p>
      </dgm:t>
    </dgm:pt>
    <dgm:pt modelId="{83DCAC2A-0010-44F2-ABC6-53BAD1DF01BB}" type="sibTrans" cxnId="{32A49BFC-A3EA-4549-844A-F84528076B00}">
      <dgm:prSet/>
      <dgm:spPr>
        <a:solidFill>
          <a:schemeClr val="tx1">
            <a:lumMod val="50000"/>
            <a:lumOff val="50000"/>
          </a:schemeClr>
        </a:solidFill>
      </dgm:spPr>
      <dgm:t>
        <a:bodyPr/>
        <a:lstStyle/>
        <a:p>
          <a:endParaRPr lang="en-US"/>
        </a:p>
      </dgm:t>
    </dgm:pt>
    <dgm:pt modelId="{5F563FDF-68E0-4532-A238-F2B4F40D514C}">
      <dgm:prSet phldrT="[Text]" custT="1"/>
      <dgm:spPr>
        <a:solidFill>
          <a:schemeClr val="bg2"/>
        </a:solidFill>
        <a:ln>
          <a:noFill/>
        </a:ln>
      </dgm:spPr>
      <dgm:t>
        <a:bodyPr/>
        <a:lstStyle/>
        <a:p>
          <a:r>
            <a:rPr lang="en-US" sz="900" dirty="0" smtClean="0"/>
            <a:t>Build</a:t>
          </a:r>
          <a:endParaRPr lang="en-US" sz="900" dirty="0"/>
        </a:p>
      </dgm:t>
    </dgm:pt>
    <dgm:pt modelId="{07F5E03E-FE05-4817-9E56-E2A4F8CB0CAA}" type="parTrans" cxnId="{E036A73C-ACC6-48D5-B446-DD3B0833955B}">
      <dgm:prSet/>
      <dgm:spPr/>
      <dgm:t>
        <a:bodyPr/>
        <a:lstStyle/>
        <a:p>
          <a:endParaRPr lang="en-US"/>
        </a:p>
      </dgm:t>
    </dgm:pt>
    <dgm:pt modelId="{2E6F1F50-D4EB-4BC1-8C05-7F4BB60E1095}" type="sibTrans" cxnId="{E036A73C-ACC6-48D5-B446-DD3B0833955B}">
      <dgm:prSet/>
      <dgm:spPr>
        <a:solidFill>
          <a:schemeClr val="tx1">
            <a:lumMod val="50000"/>
            <a:lumOff val="50000"/>
          </a:schemeClr>
        </a:solidFill>
      </dgm:spPr>
      <dgm:t>
        <a:bodyPr/>
        <a:lstStyle/>
        <a:p>
          <a:endParaRPr lang="en-US"/>
        </a:p>
      </dgm:t>
    </dgm:pt>
    <dgm:pt modelId="{9E968A82-C2C9-4708-8C57-1EDF4EDF7FAA}">
      <dgm:prSet phldrT="[Text]" custT="1"/>
      <dgm:spPr>
        <a:solidFill>
          <a:schemeClr val="bg2"/>
        </a:solidFill>
        <a:ln>
          <a:noFill/>
        </a:ln>
      </dgm:spPr>
      <dgm:t>
        <a:bodyPr/>
        <a:lstStyle/>
        <a:p>
          <a:r>
            <a:rPr lang="en-US" sz="900" dirty="0" smtClean="0">
              <a:solidFill>
                <a:schemeClr val="bg1"/>
              </a:solidFill>
            </a:rPr>
            <a:t>Functional Testing</a:t>
          </a:r>
          <a:endParaRPr lang="en-US" sz="900" dirty="0">
            <a:solidFill>
              <a:schemeClr val="bg1"/>
            </a:solidFill>
          </a:endParaRPr>
        </a:p>
      </dgm:t>
    </dgm:pt>
    <dgm:pt modelId="{DDD34AAC-5BA3-4936-9F7A-826950BBBFBE}" type="parTrans" cxnId="{8E2F635B-4747-43A5-9185-4AD3BA51060C}">
      <dgm:prSet/>
      <dgm:spPr/>
      <dgm:t>
        <a:bodyPr/>
        <a:lstStyle/>
        <a:p>
          <a:endParaRPr lang="en-US"/>
        </a:p>
      </dgm:t>
    </dgm:pt>
    <dgm:pt modelId="{1033E4E2-0E1D-4720-83E1-31115BA38D7F}" type="sibTrans" cxnId="{8E2F635B-4747-43A5-9185-4AD3BA51060C}">
      <dgm:prSet/>
      <dgm:spPr>
        <a:solidFill>
          <a:schemeClr val="tx1">
            <a:lumMod val="50000"/>
            <a:lumOff val="50000"/>
          </a:schemeClr>
        </a:solidFill>
      </dgm:spPr>
      <dgm:t>
        <a:bodyPr/>
        <a:lstStyle/>
        <a:p>
          <a:endParaRPr lang="en-US"/>
        </a:p>
      </dgm:t>
    </dgm:pt>
    <dgm:pt modelId="{126F406E-6F8A-49A3-979C-4B0D96D833E5}">
      <dgm:prSet phldrT="[Text]" custT="1"/>
      <dgm:spPr>
        <a:solidFill>
          <a:schemeClr val="accent4"/>
        </a:solidFill>
        <a:ln>
          <a:noFill/>
        </a:ln>
      </dgm:spPr>
      <dgm:t>
        <a:bodyPr/>
        <a:lstStyle/>
        <a:p>
          <a:r>
            <a:rPr lang="en-US" sz="900" dirty="0" smtClean="0"/>
            <a:t>Deployment – QA/SIT/UAT</a:t>
          </a:r>
          <a:endParaRPr lang="en-US" sz="900" dirty="0"/>
        </a:p>
      </dgm:t>
    </dgm:pt>
    <dgm:pt modelId="{C4478F16-E7D2-4394-AF82-5A2B6E0FA2DF}" type="parTrans" cxnId="{7D213385-4BB4-41F8-A2CD-6FBCDD16C446}">
      <dgm:prSet/>
      <dgm:spPr/>
      <dgm:t>
        <a:bodyPr/>
        <a:lstStyle/>
        <a:p>
          <a:endParaRPr lang="en-US"/>
        </a:p>
      </dgm:t>
    </dgm:pt>
    <dgm:pt modelId="{958EC8D5-2E09-4E39-8BCC-89A628BFA8D6}" type="sibTrans" cxnId="{7D213385-4BB4-41F8-A2CD-6FBCDD16C446}">
      <dgm:prSet/>
      <dgm:spPr>
        <a:solidFill>
          <a:schemeClr val="tx1">
            <a:lumMod val="50000"/>
            <a:lumOff val="50000"/>
          </a:schemeClr>
        </a:solidFill>
      </dgm:spPr>
      <dgm:t>
        <a:bodyPr/>
        <a:lstStyle/>
        <a:p>
          <a:endParaRPr lang="en-US"/>
        </a:p>
      </dgm:t>
    </dgm:pt>
    <dgm:pt modelId="{3341D280-779C-4D0C-A39C-F0051812E018}">
      <dgm:prSet phldrT="[Text]" custT="1"/>
      <dgm:spPr>
        <a:solidFill>
          <a:schemeClr val="bg2"/>
        </a:solidFill>
        <a:ln>
          <a:noFill/>
        </a:ln>
      </dgm:spPr>
      <dgm:t>
        <a:bodyPr/>
        <a:lstStyle/>
        <a:p>
          <a:r>
            <a:rPr lang="en-US" sz="900" dirty="0" smtClean="0"/>
            <a:t>Package and Artifact </a:t>
          </a:r>
          <a:r>
            <a:rPr lang="en-US" sz="900" dirty="0" err="1" smtClean="0"/>
            <a:t>Mngt</a:t>
          </a:r>
          <a:r>
            <a:rPr lang="en-US" sz="900" dirty="0" smtClean="0"/>
            <a:t>.</a:t>
          </a:r>
          <a:endParaRPr lang="en-US" sz="900" dirty="0"/>
        </a:p>
      </dgm:t>
    </dgm:pt>
    <dgm:pt modelId="{F4752A0A-B395-446A-A9AB-3D77A4ED6267}" type="parTrans" cxnId="{0D19982F-0F85-4A97-BCFA-6E65A7C00129}">
      <dgm:prSet/>
      <dgm:spPr/>
      <dgm:t>
        <a:bodyPr/>
        <a:lstStyle/>
        <a:p>
          <a:endParaRPr lang="en-US"/>
        </a:p>
      </dgm:t>
    </dgm:pt>
    <dgm:pt modelId="{E446F138-EBED-4CF1-9103-188FE94E650D}" type="sibTrans" cxnId="{0D19982F-0F85-4A97-BCFA-6E65A7C00129}">
      <dgm:prSet/>
      <dgm:spPr>
        <a:solidFill>
          <a:schemeClr val="tx1">
            <a:lumMod val="50000"/>
            <a:lumOff val="50000"/>
          </a:schemeClr>
        </a:solidFill>
      </dgm:spPr>
      <dgm:t>
        <a:bodyPr/>
        <a:lstStyle/>
        <a:p>
          <a:endParaRPr lang="en-US"/>
        </a:p>
      </dgm:t>
    </dgm:pt>
    <dgm:pt modelId="{239473F6-9DFA-4CBB-B80C-93A081707E6A}">
      <dgm:prSet phldrT="[Text]" custT="1"/>
      <dgm:spPr>
        <a:solidFill>
          <a:schemeClr val="bg2"/>
        </a:solidFill>
        <a:ln>
          <a:noFill/>
        </a:ln>
      </dgm:spPr>
      <dgm:t>
        <a:bodyPr/>
        <a:lstStyle/>
        <a:p>
          <a:r>
            <a:rPr lang="en-US" sz="900" dirty="0" smtClean="0"/>
            <a:t>Tag Release</a:t>
          </a:r>
          <a:endParaRPr lang="en-US" sz="900" dirty="0"/>
        </a:p>
      </dgm:t>
    </dgm:pt>
    <dgm:pt modelId="{43FB8A35-13BC-4F57-8130-ED887FC3598E}" type="parTrans" cxnId="{0353A571-4EAC-4846-A2D7-C7D32E188DFB}">
      <dgm:prSet/>
      <dgm:spPr/>
      <dgm:t>
        <a:bodyPr/>
        <a:lstStyle/>
        <a:p>
          <a:endParaRPr lang="en-US"/>
        </a:p>
      </dgm:t>
    </dgm:pt>
    <dgm:pt modelId="{CB3E1638-FD94-40EE-8343-708E939E8EA2}" type="sibTrans" cxnId="{0353A571-4EAC-4846-A2D7-C7D32E188DFB}">
      <dgm:prSet/>
      <dgm:spPr>
        <a:solidFill>
          <a:schemeClr val="tx1">
            <a:lumMod val="50000"/>
            <a:lumOff val="50000"/>
          </a:schemeClr>
        </a:solidFill>
      </dgm:spPr>
      <dgm:t>
        <a:bodyPr/>
        <a:lstStyle/>
        <a:p>
          <a:endParaRPr lang="en-US"/>
        </a:p>
      </dgm:t>
    </dgm:pt>
    <dgm:pt modelId="{5A340EBB-0CD1-4298-95DA-27F72796D99F}">
      <dgm:prSet phldrT="[Text]" custT="1"/>
      <dgm:spPr>
        <a:solidFill>
          <a:schemeClr val="bg2"/>
        </a:solidFill>
        <a:ln>
          <a:noFill/>
        </a:ln>
      </dgm:spPr>
      <dgm:t>
        <a:bodyPr/>
        <a:lstStyle/>
        <a:p>
          <a:r>
            <a:rPr lang="en-US" sz="900" dirty="0" smtClean="0"/>
            <a:t>Static/Dynamic Code Analysis</a:t>
          </a:r>
          <a:endParaRPr lang="en-US" sz="900" dirty="0"/>
        </a:p>
      </dgm:t>
    </dgm:pt>
    <dgm:pt modelId="{363361E4-A48B-4E35-A16F-3EA81F494ADD}" type="parTrans" cxnId="{F960A199-D1F8-4E7B-96E2-49F2A8F69B55}">
      <dgm:prSet/>
      <dgm:spPr/>
      <dgm:t>
        <a:bodyPr/>
        <a:lstStyle/>
        <a:p>
          <a:endParaRPr lang="en-US"/>
        </a:p>
      </dgm:t>
    </dgm:pt>
    <dgm:pt modelId="{9605F4AE-7274-4589-894C-1B1A3A565BF5}" type="sibTrans" cxnId="{F960A199-D1F8-4E7B-96E2-49F2A8F69B55}">
      <dgm:prSet/>
      <dgm:spPr>
        <a:solidFill>
          <a:schemeClr val="tx1">
            <a:lumMod val="50000"/>
            <a:lumOff val="50000"/>
          </a:schemeClr>
        </a:solidFill>
      </dgm:spPr>
      <dgm:t>
        <a:bodyPr/>
        <a:lstStyle/>
        <a:p>
          <a:endParaRPr lang="en-US"/>
        </a:p>
      </dgm:t>
    </dgm:pt>
    <dgm:pt modelId="{4D86363D-FCDF-405A-A7D2-DF82B39338D2}">
      <dgm:prSet phldrT="[Text]" custT="1"/>
      <dgm:spPr>
        <a:solidFill>
          <a:schemeClr val="accent4"/>
        </a:solidFill>
        <a:ln>
          <a:noFill/>
        </a:ln>
      </dgm:spPr>
      <dgm:t>
        <a:bodyPr/>
        <a:lstStyle/>
        <a:p>
          <a:r>
            <a:rPr lang="en-US" sz="900" dirty="0" smtClean="0"/>
            <a:t>Integration Testing</a:t>
          </a:r>
          <a:endParaRPr lang="en-US" sz="900" dirty="0"/>
        </a:p>
      </dgm:t>
    </dgm:pt>
    <dgm:pt modelId="{319D7107-C98F-4A2E-8239-05A3900CF85D}" type="parTrans" cxnId="{21D8CC83-DBDA-4724-A583-9B46B319AACE}">
      <dgm:prSet/>
      <dgm:spPr/>
      <dgm:t>
        <a:bodyPr/>
        <a:lstStyle/>
        <a:p>
          <a:endParaRPr lang="en-US"/>
        </a:p>
      </dgm:t>
    </dgm:pt>
    <dgm:pt modelId="{ECAFCB15-B4D1-453D-90E4-AA983B48832A}" type="sibTrans" cxnId="{21D8CC83-DBDA-4724-A583-9B46B319AACE}">
      <dgm:prSet/>
      <dgm:spPr>
        <a:solidFill>
          <a:schemeClr val="tx1">
            <a:lumMod val="50000"/>
            <a:lumOff val="50000"/>
          </a:schemeClr>
        </a:solidFill>
      </dgm:spPr>
      <dgm:t>
        <a:bodyPr/>
        <a:lstStyle/>
        <a:p>
          <a:endParaRPr lang="en-US"/>
        </a:p>
      </dgm:t>
    </dgm:pt>
    <dgm:pt modelId="{9DD5A6BA-862F-4A08-93A2-7D63C651E05C}">
      <dgm:prSet phldrT="[Text]" custT="1"/>
      <dgm:spPr>
        <a:solidFill>
          <a:schemeClr val="accent4"/>
        </a:solidFill>
        <a:ln>
          <a:noFill/>
        </a:ln>
      </dgm:spPr>
      <dgm:t>
        <a:bodyPr/>
        <a:lstStyle/>
        <a:p>
          <a:r>
            <a:rPr lang="en-US" sz="900" dirty="0" smtClean="0"/>
            <a:t>Security Testing</a:t>
          </a:r>
          <a:endParaRPr lang="en-US" sz="900" dirty="0"/>
        </a:p>
      </dgm:t>
    </dgm:pt>
    <dgm:pt modelId="{2F63AA87-74B1-49C8-9AE0-9B4065810AD2}" type="parTrans" cxnId="{10C10951-F977-4EFC-8ECD-13875A766D4B}">
      <dgm:prSet/>
      <dgm:spPr/>
      <dgm:t>
        <a:bodyPr/>
        <a:lstStyle/>
        <a:p>
          <a:endParaRPr lang="en-US"/>
        </a:p>
      </dgm:t>
    </dgm:pt>
    <dgm:pt modelId="{30E84380-30DC-4FA7-8248-189A4FD5B85B}" type="sibTrans" cxnId="{10C10951-F977-4EFC-8ECD-13875A766D4B}">
      <dgm:prSet/>
      <dgm:spPr>
        <a:solidFill>
          <a:schemeClr val="tx1">
            <a:lumMod val="50000"/>
            <a:lumOff val="50000"/>
          </a:schemeClr>
        </a:solidFill>
      </dgm:spPr>
      <dgm:t>
        <a:bodyPr/>
        <a:lstStyle/>
        <a:p>
          <a:endParaRPr lang="en-US"/>
        </a:p>
      </dgm:t>
    </dgm:pt>
    <dgm:pt modelId="{B23BB066-8472-44EB-B86D-AA6CC44B4FC0}">
      <dgm:prSet phldrT="[Text]" custT="1"/>
      <dgm:spPr>
        <a:solidFill>
          <a:schemeClr val="accent4"/>
        </a:solidFill>
        <a:ln>
          <a:noFill/>
        </a:ln>
      </dgm:spPr>
      <dgm:t>
        <a:bodyPr/>
        <a:lstStyle/>
        <a:p>
          <a:r>
            <a:rPr lang="en-US" sz="900" dirty="0" smtClean="0"/>
            <a:t>Performance Testing</a:t>
          </a:r>
          <a:endParaRPr lang="en-US" sz="900" dirty="0"/>
        </a:p>
      </dgm:t>
    </dgm:pt>
    <dgm:pt modelId="{BE4DD27B-62D9-435E-A8B1-FD632B88B8F0}" type="parTrans" cxnId="{C9AFB386-382E-4180-B7E7-CF4884CB8E5F}">
      <dgm:prSet/>
      <dgm:spPr/>
      <dgm:t>
        <a:bodyPr/>
        <a:lstStyle/>
        <a:p>
          <a:endParaRPr lang="en-US"/>
        </a:p>
      </dgm:t>
    </dgm:pt>
    <dgm:pt modelId="{CB760776-D8BE-4281-B64D-797A4660DBCA}" type="sibTrans" cxnId="{C9AFB386-382E-4180-B7E7-CF4884CB8E5F}">
      <dgm:prSet/>
      <dgm:spPr>
        <a:solidFill>
          <a:schemeClr val="tx1">
            <a:lumMod val="50000"/>
            <a:lumOff val="50000"/>
          </a:schemeClr>
        </a:solidFill>
      </dgm:spPr>
      <dgm:t>
        <a:bodyPr/>
        <a:lstStyle/>
        <a:p>
          <a:endParaRPr lang="en-US"/>
        </a:p>
      </dgm:t>
    </dgm:pt>
    <dgm:pt modelId="{39DEF6C6-E8FB-4ECE-ACD4-2E49036603D1}">
      <dgm:prSet phldrT="[Text]" custT="1"/>
      <dgm:spPr>
        <a:solidFill>
          <a:schemeClr val="accent4"/>
        </a:solidFill>
        <a:ln>
          <a:noFill/>
        </a:ln>
      </dgm:spPr>
      <dgm:t>
        <a:bodyPr/>
        <a:lstStyle/>
        <a:p>
          <a:r>
            <a:rPr lang="en-US" sz="900" dirty="0" smtClean="0"/>
            <a:t>User Acceptance Testing</a:t>
          </a:r>
          <a:endParaRPr lang="en-US" sz="900" dirty="0"/>
        </a:p>
      </dgm:t>
    </dgm:pt>
    <dgm:pt modelId="{9B69F6C1-27C2-480B-B0BE-3D826ADE007D}" type="parTrans" cxnId="{795763E9-4225-4BC6-B9EC-AB6874E2B24C}">
      <dgm:prSet/>
      <dgm:spPr/>
      <dgm:t>
        <a:bodyPr/>
        <a:lstStyle/>
        <a:p>
          <a:endParaRPr lang="en-US"/>
        </a:p>
      </dgm:t>
    </dgm:pt>
    <dgm:pt modelId="{38CC07E6-E536-40AC-A8C1-C3B8006F5027}" type="sibTrans" cxnId="{795763E9-4225-4BC6-B9EC-AB6874E2B24C}">
      <dgm:prSet/>
      <dgm:spPr>
        <a:solidFill>
          <a:schemeClr val="tx1">
            <a:lumMod val="50000"/>
            <a:lumOff val="50000"/>
          </a:schemeClr>
        </a:solidFill>
      </dgm:spPr>
      <dgm:t>
        <a:bodyPr/>
        <a:lstStyle/>
        <a:p>
          <a:endParaRPr lang="en-US"/>
        </a:p>
      </dgm:t>
    </dgm:pt>
    <dgm:pt modelId="{B0791259-9104-4F93-B8AD-DAEF5DF1EA80}">
      <dgm:prSet phldrT="[Text]" custT="1"/>
      <dgm:spPr>
        <a:solidFill>
          <a:schemeClr val="bg2"/>
        </a:solidFill>
        <a:ln>
          <a:noFill/>
        </a:ln>
      </dgm:spPr>
      <dgm:t>
        <a:bodyPr/>
        <a:lstStyle/>
        <a:p>
          <a:r>
            <a:rPr lang="en-US" sz="900" dirty="0" smtClean="0"/>
            <a:t>Service Management</a:t>
          </a:r>
          <a:endParaRPr lang="en-US" sz="900" dirty="0"/>
        </a:p>
      </dgm:t>
    </dgm:pt>
    <dgm:pt modelId="{1117126B-BFDF-432E-BA44-B7FDC3D8F145}" type="parTrans" cxnId="{245674ED-6B22-4C31-97D7-0FB63B7EB25C}">
      <dgm:prSet/>
      <dgm:spPr/>
      <dgm:t>
        <a:bodyPr/>
        <a:lstStyle/>
        <a:p>
          <a:endParaRPr lang="en-US"/>
        </a:p>
      </dgm:t>
    </dgm:pt>
    <dgm:pt modelId="{32BFCE23-CACB-4BAC-9396-91B12F6DFBA7}" type="sibTrans" cxnId="{245674ED-6B22-4C31-97D7-0FB63B7EB25C}">
      <dgm:prSet/>
      <dgm:spPr>
        <a:solidFill>
          <a:schemeClr val="tx1">
            <a:lumMod val="50000"/>
            <a:lumOff val="50000"/>
          </a:schemeClr>
        </a:solidFill>
      </dgm:spPr>
      <dgm:t>
        <a:bodyPr/>
        <a:lstStyle/>
        <a:p>
          <a:endParaRPr lang="en-US"/>
        </a:p>
      </dgm:t>
    </dgm:pt>
    <dgm:pt modelId="{F83289A8-9306-490E-B0CC-4C4053ADF858}">
      <dgm:prSet phldrT="[Text]" custT="1"/>
      <dgm:spPr>
        <a:solidFill>
          <a:schemeClr val="accent4"/>
        </a:solidFill>
        <a:ln>
          <a:noFill/>
        </a:ln>
      </dgm:spPr>
      <dgm:t>
        <a:bodyPr/>
        <a:lstStyle/>
        <a:p>
          <a:r>
            <a:rPr lang="en-US" sz="900" dirty="0" smtClean="0"/>
            <a:t>Deployment – Production</a:t>
          </a:r>
          <a:endParaRPr lang="en-US" sz="900" dirty="0"/>
        </a:p>
      </dgm:t>
    </dgm:pt>
    <dgm:pt modelId="{0D525162-730F-47CA-A7E4-BD772A86EEE9}" type="parTrans" cxnId="{52A8CA28-B741-4D34-9589-6E498E64E742}">
      <dgm:prSet/>
      <dgm:spPr/>
      <dgm:t>
        <a:bodyPr/>
        <a:lstStyle/>
        <a:p>
          <a:endParaRPr lang="en-US"/>
        </a:p>
      </dgm:t>
    </dgm:pt>
    <dgm:pt modelId="{F6C80EDB-E3A4-45B5-B30F-984A993975C6}" type="sibTrans" cxnId="{52A8CA28-B741-4D34-9589-6E498E64E742}">
      <dgm:prSet/>
      <dgm:spPr>
        <a:solidFill>
          <a:schemeClr val="tx1">
            <a:lumMod val="50000"/>
            <a:lumOff val="50000"/>
          </a:schemeClr>
        </a:solidFill>
      </dgm:spPr>
      <dgm:t>
        <a:bodyPr/>
        <a:lstStyle/>
        <a:p>
          <a:endParaRPr lang="en-US"/>
        </a:p>
      </dgm:t>
    </dgm:pt>
    <dgm:pt modelId="{B55A334A-32D7-4815-BEAC-C5617F56BF7E}">
      <dgm:prSet phldrT="[Text]" custT="1"/>
      <dgm:spPr>
        <a:solidFill>
          <a:schemeClr val="bg2"/>
        </a:solidFill>
        <a:ln>
          <a:noFill/>
        </a:ln>
      </dgm:spPr>
      <dgm:t>
        <a:bodyPr/>
        <a:lstStyle/>
        <a:p>
          <a:r>
            <a:rPr lang="en-US" sz="900" dirty="0" smtClean="0"/>
            <a:t>Monitoring</a:t>
          </a:r>
          <a:endParaRPr lang="en-US" sz="900" dirty="0"/>
        </a:p>
      </dgm:t>
    </dgm:pt>
    <dgm:pt modelId="{195971A1-7E37-4C83-A020-1379109DAEB1}" type="parTrans" cxnId="{402E7BE7-09FD-4117-8A11-E14DAF96F16D}">
      <dgm:prSet/>
      <dgm:spPr/>
      <dgm:t>
        <a:bodyPr/>
        <a:lstStyle/>
        <a:p>
          <a:endParaRPr lang="en-US"/>
        </a:p>
      </dgm:t>
    </dgm:pt>
    <dgm:pt modelId="{7FF30CD9-FB12-4C43-A294-99F48E60C536}" type="sibTrans" cxnId="{402E7BE7-09FD-4117-8A11-E14DAF96F16D}">
      <dgm:prSet/>
      <dgm:spPr/>
      <dgm:t>
        <a:bodyPr/>
        <a:lstStyle/>
        <a:p>
          <a:endParaRPr lang="en-US"/>
        </a:p>
      </dgm:t>
    </dgm:pt>
    <dgm:pt modelId="{CC219B65-9C10-4B15-9620-A0F17B12EAEF}">
      <dgm:prSet phldrT="[Text]" custT="1"/>
      <dgm:spPr>
        <a:solidFill>
          <a:schemeClr val="accent4"/>
        </a:solidFill>
        <a:ln>
          <a:noFill/>
        </a:ln>
      </dgm:spPr>
      <dgm:t>
        <a:bodyPr/>
        <a:lstStyle/>
        <a:p>
          <a:r>
            <a:rPr lang="en-US" sz="900" dirty="0" smtClean="0"/>
            <a:t>Requirement Management</a:t>
          </a:r>
          <a:endParaRPr lang="en-US" sz="900" dirty="0"/>
        </a:p>
      </dgm:t>
    </dgm:pt>
    <dgm:pt modelId="{A6E99459-E0B4-41A3-9891-91D01B67ADC5}" type="parTrans" cxnId="{3EC5E5B6-5FD2-4834-90D3-D2C1FB6FA5C1}">
      <dgm:prSet/>
      <dgm:spPr/>
      <dgm:t>
        <a:bodyPr/>
        <a:lstStyle/>
        <a:p>
          <a:endParaRPr lang="en-US"/>
        </a:p>
      </dgm:t>
    </dgm:pt>
    <dgm:pt modelId="{FDA29CFD-5F1F-43BC-A078-6D753895F6EC}" type="sibTrans" cxnId="{3EC5E5B6-5FD2-4834-90D3-D2C1FB6FA5C1}">
      <dgm:prSet/>
      <dgm:spPr>
        <a:solidFill>
          <a:schemeClr val="tx1">
            <a:lumMod val="50000"/>
            <a:lumOff val="50000"/>
          </a:schemeClr>
        </a:solidFill>
      </dgm:spPr>
      <dgm:t>
        <a:bodyPr/>
        <a:lstStyle/>
        <a:p>
          <a:endParaRPr lang="en-US"/>
        </a:p>
      </dgm:t>
    </dgm:pt>
    <dgm:pt modelId="{43C8D023-4A08-46DB-AFBD-6200159D864A}" type="pres">
      <dgm:prSet presAssocID="{80AF90E8-A1EA-4586-928D-0A2057E1CF18}" presName="Name0" presStyleCnt="0">
        <dgm:presLayoutVars>
          <dgm:dir/>
          <dgm:resizeHandles/>
        </dgm:presLayoutVars>
      </dgm:prSet>
      <dgm:spPr/>
      <dgm:t>
        <a:bodyPr/>
        <a:lstStyle/>
        <a:p>
          <a:endParaRPr lang="en-US"/>
        </a:p>
      </dgm:t>
    </dgm:pt>
    <dgm:pt modelId="{7CF6DC72-9EB1-4CE1-8062-055148110538}" type="pres">
      <dgm:prSet presAssocID="{E9F17FF9-84CB-4AA1-BBFD-68979FCDA9FF}" presName="compNode" presStyleCnt="0"/>
      <dgm:spPr/>
    </dgm:pt>
    <dgm:pt modelId="{AD9E0B91-5ADB-4817-A7F5-254540FCE215}" type="pres">
      <dgm:prSet presAssocID="{E9F17FF9-84CB-4AA1-BBFD-68979FCDA9FF}" presName="dummyConnPt" presStyleCnt="0"/>
      <dgm:spPr/>
    </dgm:pt>
    <dgm:pt modelId="{D8032C8F-07F8-49E7-971C-FCC8CFA0A309}" type="pres">
      <dgm:prSet presAssocID="{E9F17FF9-84CB-4AA1-BBFD-68979FCDA9FF}" presName="node" presStyleLbl="node1" presStyleIdx="0" presStyleCnt="22">
        <dgm:presLayoutVars>
          <dgm:bulletEnabled val="1"/>
        </dgm:presLayoutVars>
      </dgm:prSet>
      <dgm:spPr/>
      <dgm:t>
        <a:bodyPr/>
        <a:lstStyle/>
        <a:p>
          <a:endParaRPr lang="en-US"/>
        </a:p>
      </dgm:t>
    </dgm:pt>
    <dgm:pt modelId="{E9E1769E-B168-4CD8-BE69-23AD7E310373}" type="pres">
      <dgm:prSet presAssocID="{8CF5CB1E-B594-4492-81DF-BD90AD0D6918}" presName="sibTrans" presStyleLbl="bgSibTrans2D1" presStyleIdx="0" presStyleCnt="21"/>
      <dgm:spPr/>
      <dgm:t>
        <a:bodyPr/>
        <a:lstStyle/>
        <a:p>
          <a:endParaRPr lang="en-US"/>
        </a:p>
      </dgm:t>
    </dgm:pt>
    <dgm:pt modelId="{E793C0DA-AA69-48FD-9E70-F056E6010C5E}" type="pres">
      <dgm:prSet presAssocID="{85779212-6661-4725-AB42-F7048CC39118}" presName="compNode" presStyleCnt="0"/>
      <dgm:spPr/>
    </dgm:pt>
    <dgm:pt modelId="{B6FE7EB7-DA67-4353-9A8C-616C8E809188}" type="pres">
      <dgm:prSet presAssocID="{85779212-6661-4725-AB42-F7048CC39118}" presName="dummyConnPt" presStyleCnt="0"/>
      <dgm:spPr/>
    </dgm:pt>
    <dgm:pt modelId="{D3A94AF2-A702-4098-BBF8-E78BBA5F1D6D}" type="pres">
      <dgm:prSet presAssocID="{85779212-6661-4725-AB42-F7048CC39118}" presName="node" presStyleLbl="node1" presStyleIdx="1" presStyleCnt="22">
        <dgm:presLayoutVars>
          <dgm:bulletEnabled val="1"/>
        </dgm:presLayoutVars>
      </dgm:prSet>
      <dgm:spPr/>
      <dgm:t>
        <a:bodyPr/>
        <a:lstStyle/>
        <a:p>
          <a:endParaRPr lang="en-US"/>
        </a:p>
      </dgm:t>
    </dgm:pt>
    <dgm:pt modelId="{1C87ED88-6481-4D07-9F24-87B0AE319D5F}" type="pres">
      <dgm:prSet presAssocID="{2215B2C2-F53F-48D4-AAEB-E3661D91D79C}" presName="sibTrans" presStyleLbl="bgSibTrans2D1" presStyleIdx="1" presStyleCnt="21"/>
      <dgm:spPr/>
      <dgm:t>
        <a:bodyPr/>
        <a:lstStyle/>
        <a:p>
          <a:endParaRPr lang="en-US"/>
        </a:p>
      </dgm:t>
    </dgm:pt>
    <dgm:pt modelId="{72ADED6A-C79C-460A-B9BC-0E47F81582D7}" type="pres">
      <dgm:prSet presAssocID="{CC219B65-9C10-4B15-9620-A0F17B12EAEF}" presName="compNode" presStyleCnt="0"/>
      <dgm:spPr/>
    </dgm:pt>
    <dgm:pt modelId="{4C5AD02E-C3B9-49AC-A50B-79696A885476}" type="pres">
      <dgm:prSet presAssocID="{CC219B65-9C10-4B15-9620-A0F17B12EAEF}" presName="dummyConnPt" presStyleCnt="0"/>
      <dgm:spPr/>
    </dgm:pt>
    <dgm:pt modelId="{A7934C21-ADF7-422F-B47B-B5A5A9ACA79D}" type="pres">
      <dgm:prSet presAssocID="{CC219B65-9C10-4B15-9620-A0F17B12EAEF}" presName="node" presStyleLbl="node1" presStyleIdx="2" presStyleCnt="22">
        <dgm:presLayoutVars>
          <dgm:bulletEnabled val="1"/>
        </dgm:presLayoutVars>
      </dgm:prSet>
      <dgm:spPr/>
      <dgm:t>
        <a:bodyPr/>
        <a:lstStyle/>
        <a:p>
          <a:endParaRPr lang="en-US"/>
        </a:p>
      </dgm:t>
    </dgm:pt>
    <dgm:pt modelId="{57E7BDAE-DCE6-47E5-8E9C-B8C08ABA3F38}" type="pres">
      <dgm:prSet presAssocID="{FDA29CFD-5F1F-43BC-A078-6D753895F6EC}" presName="sibTrans" presStyleLbl="bgSibTrans2D1" presStyleIdx="2" presStyleCnt="21"/>
      <dgm:spPr/>
      <dgm:t>
        <a:bodyPr/>
        <a:lstStyle/>
        <a:p>
          <a:endParaRPr lang="en-US"/>
        </a:p>
      </dgm:t>
    </dgm:pt>
    <dgm:pt modelId="{6C5397E5-F3BE-4F32-B8C6-7C663A7DA65C}" type="pres">
      <dgm:prSet presAssocID="{849F1AF7-80F2-4D94-9C87-042462653019}" presName="compNode" presStyleCnt="0"/>
      <dgm:spPr/>
    </dgm:pt>
    <dgm:pt modelId="{87C329B3-7004-4E96-9B2D-E12FBD2E3381}" type="pres">
      <dgm:prSet presAssocID="{849F1AF7-80F2-4D94-9C87-042462653019}" presName="dummyConnPt" presStyleCnt="0"/>
      <dgm:spPr/>
    </dgm:pt>
    <dgm:pt modelId="{25792AB4-3AFD-4F68-897D-F8B7E034032A}" type="pres">
      <dgm:prSet presAssocID="{849F1AF7-80F2-4D94-9C87-042462653019}" presName="node" presStyleLbl="node1" presStyleIdx="3" presStyleCnt="22">
        <dgm:presLayoutVars>
          <dgm:bulletEnabled val="1"/>
        </dgm:presLayoutVars>
      </dgm:prSet>
      <dgm:spPr/>
      <dgm:t>
        <a:bodyPr/>
        <a:lstStyle/>
        <a:p>
          <a:endParaRPr lang="en-US"/>
        </a:p>
      </dgm:t>
    </dgm:pt>
    <dgm:pt modelId="{D5FA8DAC-FD33-47B2-AF30-E334B817887F}" type="pres">
      <dgm:prSet presAssocID="{7C2CE862-3CB4-48E1-8966-FEEE24307D57}" presName="sibTrans" presStyleLbl="bgSibTrans2D1" presStyleIdx="3" presStyleCnt="21"/>
      <dgm:spPr/>
      <dgm:t>
        <a:bodyPr/>
        <a:lstStyle/>
        <a:p>
          <a:endParaRPr lang="en-US"/>
        </a:p>
      </dgm:t>
    </dgm:pt>
    <dgm:pt modelId="{6122CEF0-EDE3-4782-957B-1C2FA1576804}" type="pres">
      <dgm:prSet presAssocID="{1BA9C312-3FC6-492C-A4A5-D1F5D3C47968}" presName="compNode" presStyleCnt="0"/>
      <dgm:spPr/>
    </dgm:pt>
    <dgm:pt modelId="{C8C5E3A7-3FBD-4B24-BDDB-61B9A92D124D}" type="pres">
      <dgm:prSet presAssocID="{1BA9C312-3FC6-492C-A4A5-D1F5D3C47968}" presName="dummyConnPt" presStyleCnt="0"/>
      <dgm:spPr/>
    </dgm:pt>
    <dgm:pt modelId="{4E9A9EE7-92C5-4699-8669-56116A772C24}" type="pres">
      <dgm:prSet presAssocID="{1BA9C312-3FC6-492C-A4A5-D1F5D3C47968}" presName="node" presStyleLbl="node1" presStyleIdx="4" presStyleCnt="22">
        <dgm:presLayoutVars>
          <dgm:bulletEnabled val="1"/>
        </dgm:presLayoutVars>
      </dgm:prSet>
      <dgm:spPr/>
      <dgm:t>
        <a:bodyPr/>
        <a:lstStyle/>
        <a:p>
          <a:endParaRPr lang="en-US"/>
        </a:p>
      </dgm:t>
    </dgm:pt>
    <dgm:pt modelId="{F524A3C2-2F47-4EC7-9192-FF87140744A2}" type="pres">
      <dgm:prSet presAssocID="{DFF57308-0DD1-475E-B2FA-E31BBB6A0860}" presName="sibTrans" presStyleLbl="bgSibTrans2D1" presStyleIdx="4" presStyleCnt="21"/>
      <dgm:spPr/>
      <dgm:t>
        <a:bodyPr/>
        <a:lstStyle/>
        <a:p>
          <a:endParaRPr lang="en-US"/>
        </a:p>
      </dgm:t>
    </dgm:pt>
    <dgm:pt modelId="{391FC91B-3709-4F26-A4A5-BD05E57ACFA2}" type="pres">
      <dgm:prSet presAssocID="{3930EB36-6FDA-44CB-ABCF-988A9BA436E3}" presName="compNode" presStyleCnt="0"/>
      <dgm:spPr/>
    </dgm:pt>
    <dgm:pt modelId="{C3F51335-5D30-4D81-A83F-639D9F307E07}" type="pres">
      <dgm:prSet presAssocID="{3930EB36-6FDA-44CB-ABCF-988A9BA436E3}" presName="dummyConnPt" presStyleCnt="0"/>
      <dgm:spPr/>
    </dgm:pt>
    <dgm:pt modelId="{4857B1DA-2507-499A-A5D5-C0764C8CAA3E}" type="pres">
      <dgm:prSet presAssocID="{3930EB36-6FDA-44CB-ABCF-988A9BA436E3}" presName="node" presStyleLbl="node1" presStyleIdx="5" presStyleCnt="22">
        <dgm:presLayoutVars>
          <dgm:bulletEnabled val="1"/>
        </dgm:presLayoutVars>
      </dgm:prSet>
      <dgm:spPr/>
      <dgm:t>
        <a:bodyPr/>
        <a:lstStyle/>
        <a:p>
          <a:endParaRPr lang="en-US"/>
        </a:p>
      </dgm:t>
    </dgm:pt>
    <dgm:pt modelId="{49E3A27E-2060-4282-930E-AB4FCEE55EDC}" type="pres">
      <dgm:prSet presAssocID="{F3DCA773-1244-4B9A-9ED9-C0FDC19BC45E}" presName="sibTrans" presStyleLbl="bgSibTrans2D1" presStyleIdx="5" presStyleCnt="21"/>
      <dgm:spPr/>
      <dgm:t>
        <a:bodyPr/>
        <a:lstStyle/>
        <a:p>
          <a:endParaRPr lang="en-US"/>
        </a:p>
      </dgm:t>
    </dgm:pt>
    <dgm:pt modelId="{6A222A9C-1BE9-4CFF-BF72-D69C0110133F}" type="pres">
      <dgm:prSet presAssocID="{ADF668AF-3E12-4B37-BBC6-0A6519A77140}" presName="compNode" presStyleCnt="0"/>
      <dgm:spPr/>
    </dgm:pt>
    <dgm:pt modelId="{9DCA24C9-AC31-443A-B417-F995E4531B81}" type="pres">
      <dgm:prSet presAssocID="{ADF668AF-3E12-4B37-BBC6-0A6519A77140}" presName="dummyConnPt" presStyleCnt="0"/>
      <dgm:spPr/>
    </dgm:pt>
    <dgm:pt modelId="{E035CB83-BBB4-4446-A112-13AF53CB77D8}" type="pres">
      <dgm:prSet presAssocID="{ADF668AF-3E12-4B37-BBC6-0A6519A77140}" presName="node" presStyleLbl="node1" presStyleIdx="6" presStyleCnt="22">
        <dgm:presLayoutVars>
          <dgm:bulletEnabled val="1"/>
        </dgm:presLayoutVars>
      </dgm:prSet>
      <dgm:spPr/>
      <dgm:t>
        <a:bodyPr/>
        <a:lstStyle/>
        <a:p>
          <a:endParaRPr lang="en-US"/>
        </a:p>
      </dgm:t>
    </dgm:pt>
    <dgm:pt modelId="{B630B3E9-C976-4814-8F94-C0C4A230ADBF}" type="pres">
      <dgm:prSet presAssocID="{588DFA08-AA0A-4B91-9359-5C2C4488A330}" presName="sibTrans" presStyleLbl="bgSibTrans2D1" presStyleIdx="6" presStyleCnt="21"/>
      <dgm:spPr/>
      <dgm:t>
        <a:bodyPr/>
        <a:lstStyle/>
        <a:p>
          <a:endParaRPr lang="en-US"/>
        </a:p>
      </dgm:t>
    </dgm:pt>
    <dgm:pt modelId="{A97FF797-8A3F-4914-893E-02097BE29E8A}" type="pres">
      <dgm:prSet presAssocID="{37FE08DE-1395-40CA-9A0B-525CD6B5E831}" presName="compNode" presStyleCnt="0"/>
      <dgm:spPr/>
    </dgm:pt>
    <dgm:pt modelId="{5A65044A-DFA8-4F7D-A6E0-956032BCAD27}" type="pres">
      <dgm:prSet presAssocID="{37FE08DE-1395-40CA-9A0B-525CD6B5E831}" presName="dummyConnPt" presStyleCnt="0"/>
      <dgm:spPr/>
    </dgm:pt>
    <dgm:pt modelId="{D9FD8211-2BCA-47BB-831A-240575A82F59}" type="pres">
      <dgm:prSet presAssocID="{37FE08DE-1395-40CA-9A0B-525CD6B5E831}" presName="node" presStyleLbl="node1" presStyleIdx="7" presStyleCnt="22">
        <dgm:presLayoutVars>
          <dgm:bulletEnabled val="1"/>
        </dgm:presLayoutVars>
      </dgm:prSet>
      <dgm:spPr/>
      <dgm:t>
        <a:bodyPr/>
        <a:lstStyle/>
        <a:p>
          <a:endParaRPr lang="en-US"/>
        </a:p>
      </dgm:t>
    </dgm:pt>
    <dgm:pt modelId="{102024F8-46FB-49EA-846C-1146B6011A6D}" type="pres">
      <dgm:prSet presAssocID="{57271963-C7A4-4669-BFA6-3618812B92AB}" presName="sibTrans" presStyleLbl="bgSibTrans2D1" presStyleIdx="7" presStyleCnt="21"/>
      <dgm:spPr/>
      <dgm:t>
        <a:bodyPr/>
        <a:lstStyle/>
        <a:p>
          <a:endParaRPr lang="en-US"/>
        </a:p>
      </dgm:t>
    </dgm:pt>
    <dgm:pt modelId="{A2E1DB04-E89C-43B1-B7EE-58212005BA3D}" type="pres">
      <dgm:prSet presAssocID="{3738A1B5-90CF-463A-8275-7F3A4F3727AB}" presName="compNode" presStyleCnt="0"/>
      <dgm:spPr/>
    </dgm:pt>
    <dgm:pt modelId="{C51202BA-B9DC-45F2-AD89-03FEC7060355}" type="pres">
      <dgm:prSet presAssocID="{3738A1B5-90CF-463A-8275-7F3A4F3727AB}" presName="dummyConnPt" presStyleCnt="0"/>
      <dgm:spPr/>
    </dgm:pt>
    <dgm:pt modelId="{5EA1F8C6-C86C-4503-BC0D-7BD03573E398}" type="pres">
      <dgm:prSet presAssocID="{3738A1B5-90CF-463A-8275-7F3A4F3727AB}" presName="node" presStyleLbl="node1" presStyleIdx="8" presStyleCnt="22">
        <dgm:presLayoutVars>
          <dgm:bulletEnabled val="1"/>
        </dgm:presLayoutVars>
      </dgm:prSet>
      <dgm:spPr/>
      <dgm:t>
        <a:bodyPr/>
        <a:lstStyle/>
        <a:p>
          <a:endParaRPr lang="en-US"/>
        </a:p>
      </dgm:t>
    </dgm:pt>
    <dgm:pt modelId="{26601E23-47AA-4256-A218-A825457954F3}" type="pres">
      <dgm:prSet presAssocID="{83DCAC2A-0010-44F2-ABC6-53BAD1DF01BB}" presName="sibTrans" presStyleLbl="bgSibTrans2D1" presStyleIdx="8" presStyleCnt="21"/>
      <dgm:spPr/>
      <dgm:t>
        <a:bodyPr/>
        <a:lstStyle/>
        <a:p>
          <a:endParaRPr lang="en-US"/>
        </a:p>
      </dgm:t>
    </dgm:pt>
    <dgm:pt modelId="{C23A43D7-A0F1-4C9A-B826-4C0CBDCEC267}" type="pres">
      <dgm:prSet presAssocID="{5F563FDF-68E0-4532-A238-F2B4F40D514C}" presName="compNode" presStyleCnt="0"/>
      <dgm:spPr/>
    </dgm:pt>
    <dgm:pt modelId="{8846A12C-1553-4F83-8C62-8EBCEA55074C}" type="pres">
      <dgm:prSet presAssocID="{5F563FDF-68E0-4532-A238-F2B4F40D514C}" presName="dummyConnPt" presStyleCnt="0"/>
      <dgm:spPr/>
    </dgm:pt>
    <dgm:pt modelId="{1B50BFC0-B4D6-4BC3-B5E4-CF59BDFABE2A}" type="pres">
      <dgm:prSet presAssocID="{5F563FDF-68E0-4532-A238-F2B4F40D514C}" presName="node" presStyleLbl="node1" presStyleIdx="9" presStyleCnt="22">
        <dgm:presLayoutVars>
          <dgm:bulletEnabled val="1"/>
        </dgm:presLayoutVars>
      </dgm:prSet>
      <dgm:spPr/>
      <dgm:t>
        <a:bodyPr/>
        <a:lstStyle/>
        <a:p>
          <a:endParaRPr lang="en-US"/>
        </a:p>
      </dgm:t>
    </dgm:pt>
    <dgm:pt modelId="{3C2DD09D-26A9-46AC-84EB-C215991B44BB}" type="pres">
      <dgm:prSet presAssocID="{2E6F1F50-D4EB-4BC1-8C05-7F4BB60E1095}" presName="sibTrans" presStyleLbl="bgSibTrans2D1" presStyleIdx="9" presStyleCnt="21"/>
      <dgm:spPr/>
      <dgm:t>
        <a:bodyPr/>
        <a:lstStyle/>
        <a:p>
          <a:endParaRPr lang="en-US"/>
        </a:p>
      </dgm:t>
    </dgm:pt>
    <dgm:pt modelId="{71078D0E-936B-46A5-9160-4F8666DDCB8F}" type="pres">
      <dgm:prSet presAssocID="{5A340EBB-0CD1-4298-95DA-27F72796D99F}" presName="compNode" presStyleCnt="0"/>
      <dgm:spPr/>
    </dgm:pt>
    <dgm:pt modelId="{21680056-C4D9-4771-912A-68D1D1FD5A4E}" type="pres">
      <dgm:prSet presAssocID="{5A340EBB-0CD1-4298-95DA-27F72796D99F}" presName="dummyConnPt" presStyleCnt="0"/>
      <dgm:spPr/>
    </dgm:pt>
    <dgm:pt modelId="{A68F451B-07D1-4CC8-8C09-0A6CFF49BCE8}" type="pres">
      <dgm:prSet presAssocID="{5A340EBB-0CD1-4298-95DA-27F72796D99F}" presName="node" presStyleLbl="node1" presStyleIdx="10" presStyleCnt="22">
        <dgm:presLayoutVars>
          <dgm:bulletEnabled val="1"/>
        </dgm:presLayoutVars>
      </dgm:prSet>
      <dgm:spPr/>
      <dgm:t>
        <a:bodyPr/>
        <a:lstStyle/>
        <a:p>
          <a:endParaRPr lang="en-US"/>
        </a:p>
      </dgm:t>
    </dgm:pt>
    <dgm:pt modelId="{EE1B6901-BA8E-4105-96F4-42FA568E72BE}" type="pres">
      <dgm:prSet presAssocID="{9605F4AE-7274-4589-894C-1B1A3A565BF5}" presName="sibTrans" presStyleLbl="bgSibTrans2D1" presStyleIdx="10" presStyleCnt="21"/>
      <dgm:spPr/>
      <dgm:t>
        <a:bodyPr/>
        <a:lstStyle/>
        <a:p>
          <a:endParaRPr lang="en-US"/>
        </a:p>
      </dgm:t>
    </dgm:pt>
    <dgm:pt modelId="{E1A51B93-D496-444F-A156-CAF74E809076}" type="pres">
      <dgm:prSet presAssocID="{239473F6-9DFA-4CBB-B80C-93A081707E6A}" presName="compNode" presStyleCnt="0"/>
      <dgm:spPr/>
    </dgm:pt>
    <dgm:pt modelId="{D95F7B6E-C843-4412-AD1C-14CA2FC5923C}" type="pres">
      <dgm:prSet presAssocID="{239473F6-9DFA-4CBB-B80C-93A081707E6A}" presName="dummyConnPt" presStyleCnt="0"/>
      <dgm:spPr/>
    </dgm:pt>
    <dgm:pt modelId="{1B96307D-B72E-46CA-99C3-DF4964887F61}" type="pres">
      <dgm:prSet presAssocID="{239473F6-9DFA-4CBB-B80C-93A081707E6A}" presName="node" presStyleLbl="node1" presStyleIdx="11" presStyleCnt="22">
        <dgm:presLayoutVars>
          <dgm:bulletEnabled val="1"/>
        </dgm:presLayoutVars>
      </dgm:prSet>
      <dgm:spPr/>
      <dgm:t>
        <a:bodyPr/>
        <a:lstStyle/>
        <a:p>
          <a:endParaRPr lang="en-US"/>
        </a:p>
      </dgm:t>
    </dgm:pt>
    <dgm:pt modelId="{6C96EEF3-BDD2-46B0-9775-DB0AD7122BCA}" type="pres">
      <dgm:prSet presAssocID="{CB3E1638-FD94-40EE-8343-708E939E8EA2}" presName="sibTrans" presStyleLbl="bgSibTrans2D1" presStyleIdx="11" presStyleCnt="21"/>
      <dgm:spPr/>
      <dgm:t>
        <a:bodyPr/>
        <a:lstStyle/>
        <a:p>
          <a:endParaRPr lang="en-US"/>
        </a:p>
      </dgm:t>
    </dgm:pt>
    <dgm:pt modelId="{6FBB79D9-3544-408E-8CD8-6C318341500A}" type="pres">
      <dgm:prSet presAssocID="{3341D280-779C-4D0C-A39C-F0051812E018}" presName="compNode" presStyleCnt="0"/>
      <dgm:spPr/>
    </dgm:pt>
    <dgm:pt modelId="{533E4288-8719-46AC-A924-EF3C8C5C8D40}" type="pres">
      <dgm:prSet presAssocID="{3341D280-779C-4D0C-A39C-F0051812E018}" presName="dummyConnPt" presStyleCnt="0"/>
      <dgm:spPr/>
    </dgm:pt>
    <dgm:pt modelId="{B428A3B2-862D-4B94-BDCF-12B1A0C11E4D}" type="pres">
      <dgm:prSet presAssocID="{3341D280-779C-4D0C-A39C-F0051812E018}" presName="node" presStyleLbl="node1" presStyleIdx="12" presStyleCnt="22">
        <dgm:presLayoutVars>
          <dgm:bulletEnabled val="1"/>
        </dgm:presLayoutVars>
      </dgm:prSet>
      <dgm:spPr/>
      <dgm:t>
        <a:bodyPr/>
        <a:lstStyle/>
        <a:p>
          <a:endParaRPr lang="en-US"/>
        </a:p>
      </dgm:t>
    </dgm:pt>
    <dgm:pt modelId="{F6FC2ECE-CFEF-4937-9FA9-7386B67A1865}" type="pres">
      <dgm:prSet presAssocID="{E446F138-EBED-4CF1-9103-188FE94E650D}" presName="sibTrans" presStyleLbl="bgSibTrans2D1" presStyleIdx="12" presStyleCnt="21"/>
      <dgm:spPr/>
      <dgm:t>
        <a:bodyPr/>
        <a:lstStyle/>
        <a:p>
          <a:endParaRPr lang="en-US"/>
        </a:p>
      </dgm:t>
    </dgm:pt>
    <dgm:pt modelId="{14F0E3BB-2CCD-448D-963D-3688A898D237}" type="pres">
      <dgm:prSet presAssocID="{126F406E-6F8A-49A3-979C-4B0D96D833E5}" presName="compNode" presStyleCnt="0"/>
      <dgm:spPr/>
    </dgm:pt>
    <dgm:pt modelId="{446B60AE-F23C-4035-881C-0AFE6A5756DC}" type="pres">
      <dgm:prSet presAssocID="{126F406E-6F8A-49A3-979C-4B0D96D833E5}" presName="dummyConnPt" presStyleCnt="0"/>
      <dgm:spPr/>
    </dgm:pt>
    <dgm:pt modelId="{D46D306B-4D14-46FF-9643-9239C46D8CAC}" type="pres">
      <dgm:prSet presAssocID="{126F406E-6F8A-49A3-979C-4B0D96D833E5}" presName="node" presStyleLbl="node1" presStyleIdx="13" presStyleCnt="22">
        <dgm:presLayoutVars>
          <dgm:bulletEnabled val="1"/>
        </dgm:presLayoutVars>
      </dgm:prSet>
      <dgm:spPr/>
      <dgm:t>
        <a:bodyPr/>
        <a:lstStyle/>
        <a:p>
          <a:endParaRPr lang="en-US"/>
        </a:p>
      </dgm:t>
    </dgm:pt>
    <dgm:pt modelId="{336F546F-1FDC-4E18-95BF-FE0101C6AA07}" type="pres">
      <dgm:prSet presAssocID="{958EC8D5-2E09-4E39-8BCC-89A628BFA8D6}" presName="sibTrans" presStyleLbl="bgSibTrans2D1" presStyleIdx="13" presStyleCnt="21"/>
      <dgm:spPr/>
      <dgm:t>
        <a:bodyPr/>
        <a:lstStyle/>
        <a:p>
          <a:endParaRPr lang="en-US"/>
        </a:p>
      </dgm:t>
    </dgm:pt>
    <dgm:pt modelId="{BD498463-E07A-435B-B5E6-4BAAA18A372E}" type="pres">
      <dgm:prSet presAssocID="{9E968A82-C2C9-4708-8C57-1EDF4EDF7FAA}" presName="compNode" presStyleCnt="0"/>
      <dgm:spPr/>
    </dgm:pt>
    <dgm:pt modelId="{355AAA7F-3BF3-4C38-BD80-872636B0FC73}" type="pres">
      <dgm:prSet presAssocID="{9E968A82-C2C9-4708-8C57-1EDF4EDF7FAA}" presName="dummyConnPt" presStyleCnt="0"/>
      <dgm:spPr/>
    </dgm:pt>
    <dgm:pt modelId="{865CC9CB-4D1A-4BBD-89CB-C6A0A3D909BD}" type="pres">
      <dgm:prSet presAssocID="{9E968A82-C2C9-4708-8C57-1EDF4EDF7FAA}" presName="node" presStyleLbl="node1" presStyleIdx="14" presStyleCnt="22">
        <dgm:presLayoutVars>
          <dgm:bulletEnabled val="1"/>
        </dgm:presLayoutVars>
      </dgm:prSet>
      <dgm:spPr/>
      <dgm:t>
        <a:bodyPr/>
        <a:lstStyle/>
        <a:p>
          <a:endParaRPr lang="en-US"/>
        </a:p>
      </dgm:t>
    </dgm:pt>
    <dgm:pt modelId="{71178B63-9DA7-4EB2-B893-CB8B1DDC5504}" type="pres">
      <dgm:prSet presAssocID="{1033E4E2-0E1D-4720-83E1-31115BA38D7F}" presName="sibTrans" presStyleLbl="bgSibTrans2D1" presStyleIdx="14" presStyleCnt="21"/>
      <dgm:spPr/>
      <dgm:t>
        <a:bodyPr/>
        <a:lstStyle/>
        <a:p>
          <a:endParaRPr lang="en-US"/>
        </a:p>
      </dgm:t>
    </dgm:pt>
    <dgm:pt modelId="{0743C31E-A2CB-493A-A8DF-8F51DA863E01}" type="pres">
      <dgm:prSet presAssocID="{4D86363D-FCDF-405A-A7D2-DF82B39338D2}" presName="compNode" presStyleCnt="0"/>
      <dgm:spPr/>
    </dgm:pt>
    <dgm:pt modelId="{045FEA87-D9C2-4D10-843C-930A5F98A373}" type="pres">
      <dgm:prSet presAssocID="{4D86363D-FCDF-405A-A7D2-DF82B39338D2}" presName="dummyConnPt" presStyleCnt="0"/>
      <dgm:spPr/>
    </dgm:pt>
    <dgm:pt modelId="{032526AA-CA4F-47A6-8833-CC4E299DB417}" type="pres">
      <dgm:prSet presAssocID="{4D86363D-FCDF-405A-A7D2-DF82B39338D2}" presName="node" presStyleLbl="node1" presStyleIdx="15" presStyleCnt="22">
        <dgm:presLayoutVars>
          <dgm:bulletEnabled val="1"/>
        </dgm:presLayoutVars>
      </dgm:prSet>
      <dgm:spPr/>
      <dgm:t>
        <a:bodyPr/>
        <a:lstStyle/>
        <a:p>
          <a:endParaRPr lang="en-US"/>
        </a:p>
      </dgm:t>
    </dgm:pt>
    <dgm:pt modelId="{9B25D534-E41D-4E66-9ABC-EB6CCB037EBF}" type="pres">
      <dgm:prSet presAssocID="{ECAFCB15-B4D1-453D-90E4-AA983B48832A}" presName="sibTrans" presStyleLbl="bgSibTrans2D1" presStyleIdx="15" presStyleCnt="21"/>
      <dgm:spPr/>
      <dgm:t>
        <a:bodyPr/>
        <a:lstStyle/>
        <a:p>
          <a:endParaRPr lang="en-US"/>
        </a:p>
      </dgm:t>
    </dgm:pt>
    <dgm:pt modelId="{CCC07B11-DE30-4D37-9E33-7B3F122D2E49}" type="pres">
      <dgm:prSet presAssocID="{9DD5A6BA-862F-4A08-93A2-7D63C651E05C}" presName="compNode" presStyleCnt="0"/>
      <dgm:spPr/>
    </dgm:pt>
    <dgm:pt modelId="{B1C23F8D-A0D2-465F-8A49-2D9214C7064B}" type="pres">
      <dgm:prSet presAssocID="{9DD5A6BA-862F-4A08-93A2-7D63C651E05C}" presName="dummyConnPt" presStyleCnt="0"/>
      <dgm:spPr/>
    </dgm:pt>
    <dgm:pt modelId="{E85740BD-7D7E-4766-A8DC-1A35B1C1FEC9}" type="pres">
      <dgm:prSet presAssocID="{9DD5A6BA-862F-4A08-93A2-7D63C651E05C}" presName="node" presStyleLbl="node1" presStyleIdx="16" presStyleCnt="22">
        <dgm:presLayoutVars>
          <dgm:bulletEnabled val="1"/>
        </dgm:presLayoutVars>
      </dgm:prSet>
      <dgm:spPr/>
      <dgm:t>
        <a:bodyPr/>
        <a:lstStyle/>
        <a:p>
          <a:endParaRPr lang="en-US"/>
        </a:p>
      </dgm:t>
    </dgm:pt>
    <dgm:pt modelId="{89D00D1F-943B-48DA-A8FD-AC043957EA6D}" type="pres">
      <dgm:prSet presAssocID="{30E84380-30DC-4FA7-8248-189A4FD5B85B}" presName="sibTrans" presStyleLbl="bgSibTrans2D1" presStyleIdx="16" presStyleCnt="21"/>
      <dgm:spPr/>
      <dgm:t>
        <a:bodyPr/>
        <a:lstStyle/>
        <a:p>
          <a:endParaRPr lang="en-US"/>
        </a:p>
      </dgm:t>
    </dgm:pt>
    <dgm:pt modelId="{DE01F387-6F26-481B-893B-A7B2038622EE}" type="pres">
      <dgm:prSet presAssocID="{B23BB066-8472-44EB-B86D-AA6CC44B4FC0}" presName="compNode" presStyleCnt="0"/>
      <dgm:spPr/>
    </dgm:pt>
    <dgm:pt modelId="{486799BC-36A2-4D59-815C-A49F4DD3A69C}" type="pres">
      <dgm:prSet presAssocID="{B23BB066-8472-44EB-B86D-AA6CC44B4FC0}" presName="dummyConnPt" presStyleCnt="0"/>
      <dgm:spPr/>
    </dgm:pt>
    <dgm:pt modelId="{37C0B14A-2A81-4DA6-A4DE-8B0C0FD97FC1}" type="pres">
      <dgm:prSet presAssocID="{B23BB066-8472-44EB-B86D-AA6CC44B4FC0}" presName="node" presStyleLbl="node1" presStyleIdx="17" presStyleCnt="22">
        <dgm:presLayoutVars>
          <dgm:bulletEnabled val="1"/>
        </dgm:presLayoutVars>
      </dgm:prSet>
      <dgm:spPr/>
      <dgm:t>
        <a:bodyPr/>
        <a:lstStyle/>
        <a:p>
          <a:endParaRPr lang="en-US"/>
        </a:p>
      </dgm:t>
    </dgm:pt>
    <dgm:pt modelId="{A1C00C4B-A7DA-42E9-8FF6-0516DAF3992D}" type="pres">
      <dgm:prSet presAssocID="{CB760776-D8BE-4281-B64D-797A4660DBCA}" presName="sibTrans" presStyleLbl="bgSibTrans2D1" presStyleIdx="17" presStyleCnt="21"/>
      <dgm:spPr/>
      <dgm:t>
        <a:bodyPr/>
        <a:lstStyle/>
        <a:p>
          <a:endParaRPr lang="en-US"/>
        </a:p>
      </dgm:t>
    </dgm:pt>
    <dgm:pt modelId="{E43C59BA-DBEA-4CF3-88EB-510F1480E057}" type="pres">
      <dgm:prSet presAssocID="{39DEF6C6-E8FB-4ECE-ACD4-2E49036603D1}" presName="compNode" presStyleCnt="0"/>
      <dgm:spPr/>
    </dgm:pt>
    <dgm:pt modelId="{CB540A9B-E176-4615-BEA3-3F0C4A4D176D}" type="pres">
      <dgm:prSet presAssocID="{39DEF6C6-E8FB-4ECE-ACD4-2E49036603D1}" presName="dummyConnPt" presStyleCnt="0"/>
      <dgm:spPr/>
    </dgm:pt>
    <dgm:pt modelId="{944E00CC-E210-4FBC-BC90-6DD58207E1A0}" type="pres">
      <dgm:prSet presAssocID="{39DEF6C6-E8FB-4ECE-ACD4-2E49036603D1}" presName="node" presStyleLbl="node1" presStyleIdx="18" presStyleCnt="22">
        <dgm:presLayoutVars>
          <dgm:bulletEnabled val="1"/>
        </dgm:presLayoutVars>
      </dgm:prSet>
      <dgm:spPr/>
      <dgm:t>
        <a:bodyPr/>
        <a:lstStyle/>
        <a:p>
          <a:endParaRPr lang="en-US"/>
        </a:p>
      </dgm:t>
    </dgm:pt>
    <dgm:pt modelId="{BB525EF4-11CA-4AF0-9D05-0890477F605B}" type="pres">
      <dgm:prSet presAssocID="{38CC07E6-E536-40AC-A8C1-C3B8006F5027}" presName="sibTrans" presStyleLbl="bgSibTrans2D1" presStyleIdx="18" presStyleCnt="21"/>
      <dgm:spPr/>
      <dgm:t>
        <a:bodyPr/>
        <a:lstStyle/>
        <a:p>
          <a:endParaRPr lang="en-US"/>
        </a:p>
      </dgm:t>
    </dgm:pt>
    <dgm:pt modelId="{CC1DC260-BE15-4F47-87F2-8C3EEC978AF9}" type="pres">
      <dgm:prSet presAssocID="{B0791259-9104-4F93-B8AD-DAEF5DF1EA80}" presName="compNode" presStyleCnt="0"/>
      <dgm:spPr/>
    </dgm:pt>
    <dgm:pt modelId="{47ED8017-C136-45AF-AB20-EBF3191025AD}" type="pres">
      <dgm:prSet presAssocID="{B0791259-9104-4F93-B8AD-DAEF5DF1EA80}" presName="dummyConnPt" presStyleCnt="0"/>
      <dgm:spPr/>
    </dgm:pt>
    <dgm:pt modelId="{AB49DBB2-8BF6-48D2-AD6B-E4C56A5DA215}" type="pres">
      <dgm:prSet presAssocID="{B0791259-9104-4F93-B8AD-DAEF5DF1EA80}" presName="node" presStyleLbl="node1" presStyleIdx="19" presStyleCnt="22">
        <dgm:presLayoutVars>
          <dgm:bulletEnabled val="1"/>
        </dgm:presLayoutVars>
      </dgm:prSet>
      <dgm:spPr/>
      <dgm:t>
        <a:bodyPr/>
        <a:lstStyle/>
        <a:p>
          <a:endParaRPr lang="en-US"/>
        </a:p>
      </dgm:t>
    </dgm:pt>
    <dgm:pt modelId="{8AEDD5ED-C456-404E-A0C1-9FCD061445C8}" type="pres">
      <dgm:prSet presAssocID="{32BFCE23-CACB-4BAC-9396-91B12F6DFBA7}" presName="sibTrans" presStyleLbl="bgSibTrans2D1" presStyleIdx="19" presStyleCnt="21"/>
      <dgm:spPr/>
      <dgm:t>
        <a:bodyPr/>
        <a:lstStyle/>
        <a:p>
          <a:endParaRPr lang="en-US"/>
        </a:p>
      </dgm:t>
    </dgm:pt>
    <dgm:pt modelId="{841806DD-7523-4B3F-AB4C-B3A82D8547BD}" type="pres">
      <dgm:prSet presAssocID="{F83289A8-9306-490E-B0CC-4C4053ADF858}" presName="compNode" presStyleCnt="0"/>
      <dgm:spPr/>
    </dgm:pt>
    <dgm:pt modelId="{36102350-1BEA-4C65-837B-1A66EC1B7B5D}" type="pres">
      <dgm:prSet presAssocID="{F83289A8-9306-490E-B0CC-4C4053ADF858}" presName="dummyConnPt" presStyleCnt="0"/>
      <dgm:spPr/>
    </dgm:pt>
    <dgm:pt modelId="{C50EEFDE-E4D4-43BF-B3E0-15EBCF9D5439}" type="pres">
      <dgm:prSet presAssocID="{F83289A8-9306-490E-B0CC-4C4053ADF858}" presName="node" presStyleLbl="node1" presStyleIdx="20" presStyleCnt="22">
        <dgm:presLayoutVars>
          <dgm:bulletEnabled val="1"/>
        </dgm:presLayoutVars>
      </dgm:prSet>
      <dgm:spPr/>
      <dgm:t>
        <a:bodyPr/>
        <a:lstStyle/>
        <a:p>
          <a:endParaRPr lang="en-US"/>
        </a:p>
      </dgm:t>
    </dgm:pt>
    <dgm:pt modelId="{FC461A49-6E8A-4765-BDC6-DF366118A9DB}" type="pres">
      <dgm:prSet presAssocID="{F6C80EDB-E3A4-45B5-B30F-984A993975C6}" presName="sibTrans" presStyleLbl="bgSibTrans2D1" presStyleIdx="20" presStyleCnt="21"/>
      <dgm:spPr/>
      <dgm:t>
        <a:bodyPr/>
        <a:lstStyle/>
        <a:p>
          <a:endParaRPr lang="en-US"/>
        </a:p>
      </dgm:t>
    </dgm:pt>
    <dgm:pt modelId="{A22ECE52-F2AE-43AB-9100-6F167B8A373B}" type="pres">
      <dgm:prSet presAssocID="{B55A334A-32D7-4815-BEAC-C5617F56BF7E}" presName="compNode" presStyleCnt="0"/>
      <dgm:spPr/>
    </dgm:pt>
    <dgm:pt modelId="{11463E47-5635-4402-9E35-D2128D49955F}" type="pres">
      <dgm:prSet presAssocID="{B55A334A-32D7-4815-BEAC-C5617F56BF7E}" presName="dummyConnPt" presStyleCnt="0"/>
      <dgm:spPr/>
    </dgm:pt>
    <dgm:pt modelId="{2847F226-AA4E-451E-8FA8-84F2FF69A214}" type="pres">
      <dgm:prSet presAssocID="{B55A334A-32D7-4815-BEAC-C5617F56BF7E}" presName="node" presStyleLbl="node1" presStyleIdx="21" presStyleCnt="22">
        <dgm:presLayoutVars>
          <dgm:bulletEnabled val="1"/>
        </dgm:presLayoutVars>
      </dgm:prSet>
      <dgm:spPr/>
      <dgm:t>
        <a:bodyPr/>
        <a:lstStyle/>
        <a:p>
          <a:endParaRPr lang="en-US"/>
        </a:p>
      </dgm:t>
    </dgm:pt>
  </dgm:ptLst>
  <dgm:cxnLst>
    <dgm:cxn modelId="{EAB0AA9D-84ED-46BC-A88C-3EEED142A6A9}" type="presOf" srcId="{F83289A8-9306-490E-B0CC-4C4053ADF858}" destId="{C50EEFDE-E4D4-43BF-B3E0-15EBCF9D5439}" srcOrd="0" destOrd="0" presId="urn:microsoft.com/office/officeart/2005/8/layout/bProcess4"/>
    <dgm:cxn modelId="{11173CCF-F300-4D3A-81B0-58655E9CE8B0}" type="presOf" srcId="{39DEF6C6-E8FB-4ECE-ACD4-2E49036603D1}" destId="{944E00CC-E210-4FBC-BC90-6DD58207E1A0}" srcOrd="0" destOrd="0" presId="urn:microsoft.com/office/officeart/2005/8/layout/bProcess4"/>
    <dgm:cxn modelId="{2B837C2B-DC08-4C9A-87FE-F765BB810652}" type="presOf" srcId="{F3DCA773-1244-4B9A-9ED9-C0FDC19BC45E}" destId="{49E3A27E-2060-4282-930E-AB4FCEE55EDC}" srcOrd="0" destOrd="0" presId="urn:microsoft.com/office/officeart/2005/8/layout/bProcess4"/>
    <dgm:cxn modelId="{5F6E4A05-A398-46E1-93E6-2AB004134746}" srcId="{80AF90E8-A1EA-4586-928D-0A2057E1CF18}" destId="{85779212-6661-4725-AB42-F7048CC39118}" srcOrd="1" destOrd="0" parTransId="{6F580CD6-77FB-49E7-AB68-F4756DCC3BC8}" sibTransId="{2215B2C2-F53F-48D4-AAEB-E3661D91D79C}"/>
    <dgm:cxn modelId="{E4DB4185-9DF4-435B-8968-A0AAB99B9C73}" srcId="{80AF90E8-A1EA-4586-928D-0A2057E1CF18}" destId="{37FE08DE-1395-40CA-9A0B-525CD6B5E831}" srcOrd="7" destOrd="0" parTransId="{5BEB020A-F5F5-4850-9980-5A4661CB3AD2}" sibTransId="{57271963-C7A4-4669-BFA6-3618812B92AB}"/>
    <dgm:cxn modelId="{2B4DF166-B2CE-4135-BB81-2A791FF724A9}" type="presOf" srcId="{ADF668AF-3E12-4B37-BBC6-0A6519A77140}" destId="{E035CB83-BBB4-4446-A112-13AF53CB77D8}" srcOrd="0" destOrd="0" presId="urn:microsoft.com/office/officeart/2005/8/layout/bProcess4"/>
    <dgm:cxn modelId="{E687507A-8DF8-4168-8755-BE5D6E78177B}" type="presOf" srcId="{83DCAC2A-0010-44F2-ABC6-53BAD1DF01BB}" destId="{26601E23-47AA-4256-A218-A825457954F3}" srcOrd="0" destOrd="0" presId="urn:microsoft.com/office/officeart/2005/8/layout/bProcess4"/>
    <dgm:cxn modelId="{AC5CE670-50E0-4FC7-A364-C1A53D98BA46}" type="presOf" srcId="{F6C80EDB-E3A4-45B5-B30F-984A993975C6}" destId="{FC461A49-6E8A-4765-BDC6-DF366118A9DB}" srcOrd="0" destOrd="0" presId="urn:microsoft.com/office/officeart/2005/8/layout/bProcess4"/>
    <dgm:cxn modelId="{DEBF6300-6182-4698-874F-E28DEC4F0AD9}" type="presOf" srcId="{126F406E-6F8A-49A3-979C-4B0D96D833E5}" destId="{D46D306B-4D14-46FF-9643-9239C46D8CAC}" srcOrd="0" destOrd="0" presId="urn:microsoft.com/office/officeart/2005/8/layout/bProcess4"/>
    <dgm:cxn modelId="{32A49BFC-A3EA-4549-844A-F84528076B00}" srcId="{80AF90E8-A1EA-4586-928D-0A2057E1CF18}" destId="{3738A1B5-90CF-463A-8275-7F3A4F3727AB}" srcOrd="8" destOrd="0" parTransId="{62E7C633-B086-48CB-B985-A62A961F08C3}" sibTransId="{83DCAC2A-0010-44F2-ABC6-53BAD1DF01BB}"/>
    <dgm:cxn modelId="{35800400-0A9E-4F4E-8D9C-5B4AE128287D}" type="presOf" srcId="{9605F4AE-7274-4589-894C-1B1A3A565BF5}" destId="{EE1B6901-BA8E-4105-96F4-42FA568E72BE}" srcOrd="0" destOrd="0" presId="urn:microsoft.com/office/officeart/2005/8/layout/bProcess4"/>
    <dgm:cxn modelId="{B2D606F7-0F44-465E-B58F-3ED7B5473241}" type="presOf" srcId="{239473F6-9DFA-4CBB-B80C-93A081707E6A}" destId="{1B96307D-B72E-46CA-99C3-DF4964887F61}" srcOrd="0" destOrd="0" presId="urn:microsoft.com/office/officeart/2005/8/layout/bProcess4"/>
    <dgm:cxn modelId="{D9975369-3CBE-4FEC-A435-AE0919D7C7FB}" type="presOf" srcId="{37FE08DE-1395-40CA-9A0B-525CD6B5E831}" destId="{D9FD8211-2BCA-47BB-831A-240575A82F59}" srcOrd="0" destOrd="0" presId="urn:microsoft.com/office/officeart/2005/8/layout/bProcess4"/>
    <dgm:cxn modelId="{E70C71B7-5ED1-47F2-8791-5F2A60326C2B}" type="presOf" srcId="{E9F17FF9-84CB-4AA1-BBFD-68979FCDA9FF}" destId="{D8032C8F-07F8-49E7-971C-FCC8CFA0A309}" srcOrd="0" destOrd="0" presId="urn:microsoft.com/office/officeart/2005/8/layout/bProcess4"/>
    <dgm:cxn modelId="{C9AFB386-382E-4180-B7E7-CF4884CB8E5F}" srcId="{80AF90E8-A1EA-4586-928D-0A2057E1CF18}" destId="{B23BB066-8472-44EB-B86D-AA6CC44B4FC0}" srcOrd="17" destOrd="0" parTransId="{BE4DD27B-62D9-435E-A8B1-FD632B88B8F0}" sibTransId="{CB760776-D8BE-4281-B64D-797A4660DBCA}"/>
    <dgm:cxn modelId="{838BCFBD-CE79-4B78-8B87-84085AC6A9B8}" type="presOf" srcId="{1033E4E2-0E1D-4720-83E1-31115BA38D7F}" destId="{71178B63-9DA7-4EB2-B893-CB8B1DDC5504}" srcOrd="0" destOrd="0" presId="urn:microsoft.com/office/officeart/2005/8/layout/bProcess4"/>
    <dgm:cxn modelId="{AA7D8BE2-7F8E-47F2-AEDA-153AF4149B81}" type="presOf" srcId="{B0791259-9104-4F93-B8AD-DAEF5DF1EA80}" destId="{AB49DBB2-8BF6-48D2-AD6B-E4C56A5DA215}" srcOrd="0" destOrd="0" presId="urn:microsoft.com/office/officeart/2005/8/layout/bProcess4"/>
    <dgm:cxn modelId="{86BD960B-EF90-4CD2-A8E2-0FDD2394F6E3}" type="presOf" srcId="{3930EB36-6FDA-44CB-ABCF-988A9BA436E3}" destId="{4857B1DA-2507-499A-A5D5-C0764C8CAA3E}" srcOrd="0" destOrd="0" presId="urn:microsoft.com/office/officeart/2005/8/layout/bProcess4"/>
    <dgm:cxn modelId="{D000C9B6-E331-4DAC-B987-561679E463C7}" type="presOf" srcId="{B23BB066-8472-44EB-B86D-AA6CC44B4FC0}" destId="{37C0B14A-2A81-4DA6-A4DE-8B0C0FD97FC1}" srcOrd="0" destOrd="0" presId="urn:microsoft.com/office/officeart/2005/8/layout/bProcess4"/>
    <dgm:cxn modelId="{B16DEB27-96D6-4358-A383-83FF61A1507A}" srcId="{80AF90E8-A1EA-4586-928D-0A2057E1CF18}" destId="{ADF668AF-3E12-4B37-BBC6-0A6519A77140}" srcOrd="6" destOrd="0" parTransId="{CC484BE2-A604-4608-8FEA-5A49472B3C2C}" sibTransId="{588DFA08-AA0A-4B91-9359-5C2C4488A330}"/>
    <dgm:cxn modelId="{3EC5E5B6-5FD2-4834-90D3-D2C1FB6FA5C1}" srcId="{80AF90E8-A1EA-4586-928D-0A2057E1CF18}" destId="{CC219B65-9C10-4B15-9620-A0F17B12EAEF}" srcOrd="2" destOrd="0" parTransId="{A6E99459-E0B4-41A3-9891-91D01B67ADC5}" sibTransId="{FDA29CFD-5F1F-43BC-A078-6D753895F6EC}"/>
    <dgm:cxn modelId="{3F41082A-5DC7-4A3C-B016-CDC67034D06C}" type="presOf" srcId="{CB3E1638-FD94-40EE-8343-708E939E8EA2}" destId="{6C96EEF3-BDD2-46B0-9775-DB0AD7122BCA}" srcOrd="0" destOrd="0" presId="urn:microsoft.com/office/officeart/2005/8/layout/bProcess4"/>
    <dgm:cxn modelId="{177BB9A5-F026-43BA-9518-0A630F187656}" type="presOf" srcId="{FDA29CFD-5F1F-43BC-A078-6D753895F6EC}" destId="{57E7BDAE-DCE6-47E5-8E9C-B8C08ABA3F38}" srcOrd="0" destOrd="0" presId="urn:microsoft.com/office/officeart/2005/8/layout/bProcess4"/>
    <dgm:cxn modelId="{101CE67B-E2B2-4A3D-A0DF-799E64986E46}" srcId="{80AF90E8-A1EA-4586-928D-0A2057E1CF18}" destId="{E9F17FF9-84CB-4AA1-BBFD-68979FCDA9FF}" srcOrd="0" destOrd="0" parTransId="{C6B99BCA-809E-4DD8-9720-C996C7A9F8B2}" sibTransId="{8CF5CB1E-B594-4492-81DF-BD90AD0D6918}"/>
    <dgm:cxn modelId="{49EC0E97-C837-462E-87DB-53ACE2CEABEE}" type="presOf" srcId="{5A340EBB-0CD1-4298-95DA-27F72796D99F}" destId="{A68F451B-07D1-4CC8-8C09-0A6CFF49BCE8}" srcOrd="0" destOrd="0" presId="urn:microsoft.com/office/officeart/2005/8/layout/bProcess4"/>
    <dgm:cxn modelId="{B16D1CC9-D385-4E8F-808E-DB7786B02F28}" type="presOf" srcId="{9DD5A6BA-862F-4A08-93A2-7D63C651E05C}" destId="{E85740BD-7D7E-4766-A8DC-1A35B1C1FEC9}" srcOrd="0" destOrd="0" presId="urn:microsoft.com/office/officeart/2005/8/layout/bProcess4"/>
    <dgm:cxn modelId="{2EA36D48-1EBE-4280-8E27-4FEFE8DAE5C3}" type="presOf" srcId="{849F1AF7-80F2-4D94-9C87-042462653019}" destId="{25792AB4-3AFD-4F68-897D-F8B7E034032A}" srcOrd="0" destOrd="0" presId="urn:microsoft.com/office/officeart/2005/8/layout/bProcess4"/>
    <dgm:cxn modelId="{A0439CE7-42AE-4E33-8EB8-77F6F11709A7}" type="presOf" srcId="{2E6F1F50-D4EB-4BC1-8C05-7F4BB60E1095}" destId="{3C2DD09D-26A9-46AC-84EB-C215991B44BB}" srcOrd="0" destOrd="0" presId="urn:microsoft.com/office/officeart/2005/8/layout/bProcess4"/>
    <dgm:cxn modelId="{0D19982F-0F85-4A97-BCFA-6E65A7C00129}" srcId="{80AF90E8-A1EA-4586-928D-0A2057E1CF18}" destId="{3341D280-779C-4D0C-A39C-F0051812E018}" srcOrd="12" destOrd="0" parTransId="{F4752A0A-B395-446A-A9AB-3D77A4ED6267}" sibTransId="{E446F138-EBED-4CF1-9103-188FE94E650D}"/>
    <dgm:cxn modelId="{245674ED-6B22-4C31-97D7-0FB63B7EB25C}" srcId="{80AF90E8-A1EA-4586-928D-0A2057E1CF18}" destId="{B0791259-9104-4F93-B8AD-DAEF5DF1EA80}" srcOrd="19" destOrd="0" parTransId="{1117126B-BFDF-432E-BA44-B7FDC3D8F145}" sibTransId="{32BFCE23-CACB-4BAC-9396-91B12F6DFBA7}"/>
    <dgm:cxn modelId="{DEA2B56D-0F35-4BEE-8A82-AA0FF0471E1A}" type="presOf" srcId="{3341D280-779C-4D0C-A39C-F0051812E018}" destId="{B428A3B2-862D-4B94-BDCF-12B1A0C11E4D}" srcOrd="0" destOrd="0" presId="urn:microsoft.com/office/officeart/2005/8/layout/bProcess4"/>
    <dgm:cxn modelId="{21D8CC83-DBDA-4724-A583-9B46B319AACE}" srcId="{80AF90E8-A1EA-4586-928D-0A2057E1CF18}" destId="{4D86363D-FCDF-405A-A7D2-DF82B39338D2}" srcOrd="15" destOrd="0" parTransId="{319D7107-C98F-4A2E-8239-05A3900CF85D}" sibTransId="{ECAFCB15-B4D1-453D-90E4-AA983B48832A}"/>
    <dgm:cxn modelId="{0E2F0D35-8E40-48B8-908C-ACFC09ACD7FF}" type="presOf" srcId="{958EC8D5-2E09-4E39-8BCC-89A628BFA8D6}" destId="{336F546F-1FDC-4E18-95BF-FE0101C6AA07}" srcOrd="0" destOrd="0" presId="urn:microsoft.com/office/officeart/2005/8/layout/bProcess4"/>
    <dgm:cxn modelId="{F960A199-D1F8-4E7B-96E2-49F2A8F69B55}" srcId="{80AF90E8-A1EA-4586-928D-0A2057E1CF18}" destId="{5A340EBB-0CD1-4298-95DA-27F72796D99F}" srcOrd="10" destOrd="0" parTransId="{363361E4-A48B-4E35-A16F-3EA81F494ADD}" sibTransId="{9605F4AE-7274-4589-894C-1B1A3A565BF5}"/>
    <dgm:cxn modelId="{18A59081-D18D-465C-9205-92D3481ACAF6}" type="presOf" srcId="{7C2CE862-3CB4-48E1-8966-FEEE24307D57}" destId="{D5FA8DAC-FD33-47B2-AF30-E334B817887F}" srcOrd="0" destOrd="0" presId="urn:microsoft.com/office/officeart/2005/8/layout/bProcess4"/>
    <dgm:cxn modelId="{8E2F635B-4747-43A5-9185-4AD3BA51060C}" srcId="{80AF90E8-A1EA-4586-928D-0A2057E1CF18}" destId="{9E968A82-C2C9-4708-8C57-1EDF4EDF7FAA}" srcOrd="14" destOrd="0" parTransId="{DDD34AAC-5BA3-4936-9F7A-826950BBBFBE}" sibTransId="{1033E4E2-0E1D-4720-83E1-31115BA38D7F}"/>
    <dgm:cxn modelId="{7CC2EB16-CA9A-42C0-AC24-56A43EC48591}" type="presOf" srcId="{8CF5CB1E-B594-4492-81DF-BD90AD0D6918}" destId="{E9E1769E-B168-4CD8-BE69-23AD7E310373}" srcOrd="0" destOrd="0" presId="urn:microsoft.com/office/officeart/2005/8/layout/bProcess4"/>
    <dgm:cxn modelId="{15E1F59D-D622-40F2-8D53-B8C873E5BB22}" type="presOf" srcId="{5F563FDF-68E0-4532-A238-F2B4F40D514C}" destId="{1B50BFC0-B4D6-4BC3-B5E4-CF59BDFABE2A}" srcOrd="0" destOrd="0" presId="urn:microsoft.com/office/officeart/2005/8/layout/bProcess4"/>
    <dgm:cxn modelId="{10C10951-F977-4EFC-8ECD-13875A766D4B}" srcId="{80AF90E8-A1EA-4586-928D-0A2057E1CF18}" destId="{9DD5A6BA-862F-4A08-93A2-7D63C651E05C}" srcOrd="16" destOrd="0" parTransId="{2F63AA87-74B1-49C8-9AE0-9B4065810AD2}" sibTransId="{30E84380-30DC-4FA7-8248-189A4FD5B85B}"/>
    <dgm:cxn modelId="{7D213385-4BB4-41F8-A2CD-6FBCDD16C446}" srcId="{80AF90E8-A1EA-4586-928D-0A2057E1CF18}" destId="{126F406E-6F8A-49A3-979C-4B0D96D833E5}" srcOrd="13" destOrd="0" parTransId="{C4478F16-E7D2-4394-AF82-5A2B6E0FA2DF}" sibTransId="{958EC8D5-2E09-4E39-8BCC-89A628BFA8D6}"/>
    <dgm:cxn modelId="{35D90AA5-A97B-4370-B278-E9458FFB9BA6}" srcId="{80AF90E8-A1EA-4586-928D-0A2057E1CF18}" destId="{1BA9C312-3FC6-492C-A4A5-D1F5D3C47968}" srcOrd="4" destOrd="0" parTransId="{A713E7FF-1CAD-4740-B3E0-EB45F4AAC7BE}" sibTransId="{DFF57308-0DD1-475E-B2FA-E31BBB6A0860}"/>
    <dgm:cxn modelId="{7556444B-E586-4C76-B57A-7A3A3DE9645D}" srcId="{80AF90E8-A1EA-4586-928D-0A2057E1CF18}" destId="{3930EB36-6FDA-44CB-ABCF-988A9BA436E3}" srcOrd="5" destOrd="0" parTransId="{A76573DD-7B52-434F-87C3-DD21C0CB5B23}" sibTransId="{F3DCA773-1244-4B9A-9ED9-C0FDC19BC45E}"/>
    <dgm:cxn modelId="{402E7BE7-09FD-4117-8A11-E14DAF96F16D}" srcId="{80AF90E8-A1EA-4586-928D-0A2057E1CF18}" destId="{B55A334A-32D7-4815-BEAC-C5617F56BF7E}" srcOrd="21" destOrd="0" parTransId="{195971A1-7E37-4C83-A020-1379109DAEB1}" sibTransId="{7FF30CD9-FB12-4C43-A294-99F48E60C536}"/>
    <dgm:cxn modelId="{8249A3ED-29DE-465C-8FE3-BFDCB91D07EE}" type="presOf" srcId="{CC219B65-9C10-4B15-9620-A0F17B12EAEF}" destId="{A7934C21-ADF7-422F-B47B-B5A5A9ACA79D}" srcOrd="0" destOrd="0" presId="urn:microsoft.com/office/officeart/2005/8/layout/bProcess4"/>
    <dgm:cxn modelId="{73A5CB3E-6453-4695-9028-7BF6BC20C541}" type="presOf" srcId="{2215B2C2-F53F-48D4-AAEB-E3661D91D79C}" destId="{1C87ED88-6481-4D07-9F24-87B0AE319D5F}" srcOrd="0" destOrd="0" presId="urn:microsoft.com/office/officeart/2005/8/layout/bProcess4"/>
    <dgm:cxn modelId="{3322B252-840F-41F1-8A0C-0D572C8B8350}" srcId="{80AF90E8-A1EA-4586-928D-0A2057E1CF18}" destId="{849F1AF7-80F2-4D94-9C87-042462653019}" srcOrd="3" destOrd="0" parTransId="{FD7D8452-F8C4-444D-AF53-6B0291A0CCC0}" sibTransId="{7C2CE862-3CB4-48E1-8966-FEEE24307D57}"/>
    <dgm:cxn modelId="{7BFDC36B-17B7-452E-85E4-D033612F3FBB}" type="presOf" srcId="{80AF90E8-A1EA-4586-928D-0A2057E1CF18}" destId="{43C8D023-4A08-46DB-AFBD-6200159D864A}" srcOrd="0" destOrd="0" presId="urn:microsoft.com/office/officeart/2005/8/layout/bProcess4"/>
    <dgm:cxn modelId="{F1CE3F99-19F5-4054-B8A7-B44947FE1A07}" type="presOf" srcId="{588DFA08-AA0A-4B91-9359-5C2C4488A330}" destId="{B630B3E9-C976-4814-8F94-C0C4A230ADBF}" srcOrd="0" destOrd="0" presId="urn:microsoft.com/office/officeart/2005/8/layout/bProcess4"/>
    <dgm:cxn modelId="{D55DDE87-6B4D-458B-A31B-E1B0CD609AA2}" type="presOf" srcId="{DFF57308-0DD1-475E-B2FA-E31BBB6A0860}" destId="{F524A3C2-2F47-4EC7-9192-FF87140744A2}" srcOrd="0" destOrd="0" presId="urn:microsoft.com/office/officeart/2005/8/layout/bProcess4"/>
    <dgm:cxn modelId="{5F90E126-0859-4DDD-A623-799DFB80267C}" type="presOf" srcId="{32BFCE23-CACB-4BAC-9396-91B12F6DFBA7}" destId="{8AEDD5ED-C456-404E-A0C1-9FCD061445C8}" srcOrd="0" destOrd="0" presId="urn:microsoft.com/office/officeart/2005/8/layout/bProcess4"/>
    <dgm:cxn modelId="{0353A571-4EAC-4846-A2D7-C7D32E188DFB}" srcId="{80AF90E8-A1EA-4586-928D-0A2057E1CF18}" destId="{239473F6-9DFA-4CBB-B80C-93A081707E6A}" srcOrd="11" destOrd="0" parTransId="{43FB8A35-13BC-4F57-8130-ED887FC3598E}" sibTransId="{CB3E1638-FD94-40EE-8343-708E939E8EA2}"/>
    <dgm:cxn modelId="{39619687-5F3C-462A-ACA3-41E6C9FB1C14}" type="presOf" srcId="{1BA9C312-3FC6-492C-A4A5-D1F5D3C47968}" destId="{4E9A9EE7-92C5-4699-8669-56116A772C24}" srcOrd="0" destOrd="0" presId="urn:microsoft.com/office/officeart/2005/8/layout/bProcess4"/>
    <dgm:cxn modelId="{E036A73C-ACC6-48D5-B446-DD3B0833955B}" srcId="{80AF90E8-A1EA-4586-928D-0A2057E1CF18}" destId="{5F563FDF-68E0-4532-A238-F2B4F40D514C}" srcOrd="9" destOrd="0" parTransId="{07F5E03E-FE05-4817-9E56-E2A4F8CB0CAA}" sibTransId="{2E6F1F50-D4EB-4BC1-8C05-7F4BB60E1095}"/>
    <dgm:cxn modelId="{CE65C9B1-9F19-4D87-B764-81CCDBB8F14B}" type="presOf" srcId="{4D86363D-FCDF-405A-A7D2-DF82B39338D2}" destId="{032526AA-CA4F-47A6-8833-CC4E299DB417}" srcOrd="0" destOrd="0" presId="urn:microsoft.com/office/officeart/2005/8/layout/bProcess4"/>
    <dgm:cxn modelId="{0A98359B-ED60-433D-8927-47B1F6F44A01}" type="presOf" srcId="{85779212-6661-4725-AB42-F7048CC39118}" destId="{D3A94AF2-A702-4098-BBF8-E78BBA5F1D6D}" srcOrd="0" destOrd="0" presId="urn:microsoft.com/office/officeart/2005/8/layout/bProcess4"/>
    <dgm:cxn modelId="{795763E9-4225-4BC6-B9EC-AB6874E2B24C}" srcId="{80AF90E8-A1EA-4586-928D-0A2057E1CF18}" destId="{39DEF6C6-E8FB-4ECE-ACD4-2E49036603D1}" srcOrd="18" destOrd="0" parTransId="{9B69F6C1-27C2-480B-B0BE-3D826ADE007D}" sibTransId="{38CC07E6-E536-40AC-A8C1-C3B8006F5027}"/>
    <dgm:cxn modelId="{31D515C1-12BF-4892-800A-9BDA8699979D}" type="presOf" srcId="{9E968A82-C2C9-4708-8C57-1EDF4EDF7FAA}" destId="{865CC9CB-4D1A-4BBD-89CB-C6A0A3D909BD}" srcOrd="0" destOrd="0" presId="urn:microsoft.com/office/officeart/2005/8/layout/bProcess4"/>
    <dgm:cxn modelId="{E2DB45FC-0B1E-42C3-86D2-EB012CBC9813}" type="presOf" srcId="{E446F138-EBED-4CF1-9103-188FE94E650D}" destId="{F6FC2ECE-CFEF-4937-9FA9-7386B67A1865}" srcOrd="0" destOrd="0" presId="urn:microsoft.com/office/officeart/2005/8/layout/bProcess4"/>
    <dgm:cxn modelId="{153EA512-8480-4023-B96F-7DE309E14477}" type="presOf" srcId="{30E84380-30DC-4FA7-8248-189A4FD5B85B}" destId="{89D00D1F-943B-48DA-A8FD-AC043957EA6D}" srcOrd="0" destOrd="0" presId="urn:microsoft.com/office/officeart/2005/8/layout/bProcess4"/>
    <dgm:cxn modelId="{F7826E19-4E38-4225-B680-FFB55EAE85EF}" type="presOf" srcId="{B55A334A-32D7-4815-BEAC-C5617F56BF7E}" destId="{2847F226-AA4E-451E-8FA8-84F2FF69A214}" srcOrd="0" destOrd="0" presId="urn:microsoft.com/office/officeart/2005/8/layout/bProcess4"/>
    <dgm:cxn modelId="{1807D530-3C73-4F75-82AB-561FF8B8984D}" type="presOf" srcId="{3738A1B5-90CF-463A-8275-7F3A4F3727AB}" destId="{5EA1F8C6-C86C-4503-BC0D-7BD03573E398}" srcOrd="0" destOrd="0" presId="urn:microsoft.com/office/officeart/2005/8/layout/bProcess4"/>
    <dgm:cxn modelId="{E206C38D-93AF-4B4F-AE58-40F5076892E9}" type="presOf" srcId="{57271963-C7A4-4669-BFA6-3618812B92AB}" destId="{102024F8-46FB-49EA-846C-1146B6011A6D}" srcOrd="0" destOrd="0" presId="urn:microsoft.com/office/officeart/2005/8/layout/bProcess4"/>
    <dgm:cxn modelId="{EFBC29E8-6ABC-4553-ABDB-1706BEFE59AB}" type="presOf" srcId="{38CC07E6-E536-40AC-A8C1-C3B8006F5027}" destId="{BB525EF4-11CA-4AF0-9D05-0890477F605B}" srcOrd="0" destOrd="0" presId="urn:microsoft.com/office/officeart/2005/8/layout/bProcess4"/>
    <dgm:cxn modelId="{5BB570AC-4376-419B-A540-69D58FA3A3DB}" type="presOf" srcId="{CB760776-D8BE-4281-B64D-797A4660DBCA}" destId="{A1C00C4B-A7DA-42E9-8FF6-0516DAF3992D}" srcOrd="0" destOrd="0" presId="urn:microsoft.com/office/officeart/2005/8/layout/bProcess4"/>
    <dgm:cxn modelId="{8E2F4C9C-F042-4714-B379-A270C426C163}" type="presOf" srcId="{ECAFCB15-B4D1-453D-90E4-AA983B48832A}" destId="{9B25D534-E41D-4E66-9ABC-EB6CCB037EBF}" srcOrd="0" destOrd="0" presId="urn:microsoft.com/office/officeart/2005/8/layout/bProcess4"/>
    <dgm:cxn modelId="{52A8CA28-B741-4D34-9589-6E498E64E742}" srcId="{80AF90E8-A1EA-4586-928D-0A2057E1CF18}" destId="{F83289A8-9306-490E-B0CC-4C4053ADF858}" srcOrd="20" destOrd="0" parTransId="{0D525162-730F-47CA-A7E4-BD772A86EEE9}" sibTransId="{F6C80EDB-E3A4-45B5-B30F-984A993975C6}"/>
    <dgm:cxn modelId="{9CD903AB-E3AF-4124-AA70-556729E33D17}" type="presParOf" srcId="{43C8D023-4A08-46DB-AFBD-6200159D864A}" destId="{7CF6DC72-9EB1-4CE1-8062-055148110538}" srcOrd="0" destOrd="0" presId="urn:microsoft.com/office/officeart/2005/8/layout/bProcess4"/>
    <dgm:cxn modelId="{BFC0355D-98B4-425B-8EE0-1DF9CE05ED62}" type="presParOf" srcId="{7CF6DC72-9EB1-4CE1-8062-055148110538}" destId="{AD9E0B91-5ADB-4817-A7F5-254540FCE215}" srcOrd="0" destOrd="0" presId="urn:microsoft.com/office/officeart/2005/8/layout/bProcess4"/>
    <dgm:cxn modelId="{9CF48BD8-4B69-47AA-AAF4-56956641E640}" type="presParOf" srcId="{7CF6DC72-9EB1-4CE1-8062-055148110538}" destId="{D8032C8F-07F8-49E7-971C-FCC8CFA0A309}" srcOrd="1" destOrd="0" presId="urn:microsoft.com/office/officeart/2005/8/layout/bProcess4"/>
    <dgm:cxn modelId="{96FFF1AF-C39B-4B56-8592-CE2559041A05}" type="presParOf" srcId="{43C8D023-4A08-46DB-AFBD-6200159D864A}" destId="{E9E1769E-B168-4CD8-BE69-23AD7E310373}" srcOrd="1" destOrd="0" presId="urn:microsoft.com/office/officeart/2005/8/layout/bProcess4"/>
    <dgm:cxn modelId="{97DFFDD9-D56C-44EB-85FD-F97B8FFB6948}" type="presParOf" srcId="{43C8D023-4A08-46DB-AFBD-6200159D864A}" destId="{E793C0DA-AA69-48FD-9E70-F056E6010C5E}" srcOrd="2" destOrd="0" presId="urn:microsoft.com/office/officeart/2005/8/layout/bProcess4"/>
    <dgm:cxn modelId="{B8DD7929-071D-45C1-A24F-46EE4B881A1F}" type="presParOf" srcId="{E793C0DA-AA69-48FD-9E70-F056E6010C5E}" destId="{B6FE7EB7-DA67-4353-9A8C-616C8E809188}" srcOrd="0" destOrd="0" presId="urn:microsoft.com/office/officeart/2005/8/layout/bProcess4"/>
    <dgm:cxn modelId="{82E66F62-AC69-4245-BCA4-9F2DC31DE17A}" type="presParOf" srcId="{E793C0DA-AA69-48FD-9E70-F056E6010C5E}" destId="{D3A94AF2-A702-4098-BBF8-E78BBA5F1D6D}" srcOrd="1" destOrd="0" presId="urn:microsoft.com/office/officeart/2005/8/layout/bProcess4"/>
    <dgm:cxn modelId="{0D33CAD3-570A-473B-A90E-024DF5702CA9}" type="presParOf" srcId="{43C8D023-4A08-46DB-AFBD-6200159D864A}" destId="{1C87ED88-6481-4D07-9F24-87B0AE319D5F}" srcOrd="3" destOrd="0" presId="urn:microsoft.com/office/officeart/2005/8/layout/bProcess4"/>
    <dgm:cxn modelId="{36311E0F-B2E9-469C-ABB5-34A74F6C3D4C}" type="presParOf" srcId="{43C8D023-4A08-46DB-AFBD-6200159D864A}" destId="{72ADED6A-C79C-460A-B9BC-0E47F81582D7}" srcOrd="4" destOrd="0" presId="urn:microsoft.com/office/officeart/2005/8/layout/bProcess4"/>
    <dgm:cxn modelId="{67D90CD0-B63B-40C0-8419-510A41413774}" type="presParOf" srcId="{72ADED6A-C79C-460A-B9BC-0E47F81582D7}" destId="{4C5AD02E-C3B9-49AC-A50B-79696A885476}" srcOrd="0" destOrd="0" presId="urn:microsoft.com/office/officeart/2005/8/layout/bProcess4"/>
    <dgm:cxn modelId="{661BE372-0858-4992-ABD7-1807E5B96F7B}" type="presParOf" srcId="{72ADED6A-C79C-460A-B9BC-0E47F81582D7}" destId="{A7934C21-ADF7-422F-B47B-B5A5A9ACA79D}" srcOrd="1" destOrd="0" presId="urn:microsoft.com/office/officeart/2005/8/layout/bProcess4"/>
    <dgm:cxn modelId="{21A74C58-383C-44F0-AF67-3F7F427B6D3F}" type="presParOf" srcId="{43C8D023-4A08-46DB-AFBD-6200159D864A}" destId="{57E7BDAE-DCE6-47E5-8E9C-B8C08ABA3F38}" srcOrd="5" destOrd="0" presId="urn:microsoft.com/office/officeart/2005/8/layout/bProcess4"/>
    <dgm:cxn modelId="{9A120BCB-086F-4DCB-A1A8-E865935F6CD9}" type="presParOf" srcId="{43C8D023-4A08-46DB-AFBD-6200159D864A}" destId="{6C5397E5-F3BE-4F32-B8C6-7C663A7DA65C}" srcOrd="6" destOrd="0" presId="urn:microsoft.com/office/officeart/2005/8/layout/bProcess4"/>
    <dgm:cxn modelId="{0A3B159B-2519-46AE-A192-ED5B23A7C98E}" type="presParOf" srcId="{6C5397E5-F3BE-4F32-B8C6-7C663A7DA65C}" destId="{87C329B3-7004-4E96-9B2D-E12FBD2E3381}" srcOrd="0" destOrd="0" presId="urn:microsoft.com/office/officeart/2005/8/layout/bProcess4"/>
    <dgm:cxn modelId="{DC3332DB-0CD9-43E3-AC5B-ADF4FEF0AC43}" type="presParOf" srcId="{6C5397E5-F3BE-4F32-B8C6-7C663A7DA65C}" destId="{25792AB4-3AFD-4F68-897D-F8B7E034032A}" srcOrd="1" destOrd="0" presId="urn:microsoft.com/office/officeart/2005/8/layout/bProcess4"/>
    <dgm:cxn modelId="{E4D72118-F0CB-4367-9E38-3F2D2D01F887}" type="presParOf" srcId="{43C8D023-4A08-46DB-AFBD-6200159D864A}" destId="{D5FA8DAC-FD33-47B2-AF30-E334B817887F}" srcOrd="7" destOrd="0" presId="urn:microsoft.com/office/officeart/2005/8/layout/bProcess4"/>
    <dgm:cxn modelId="{2C5E8282-1EB5-4F7E-807F-9E2AAF9630BC}" type="presParOf" srcId="{43C8D023-4A08-46DB-AFBD-6200159D864A}" destId="{6122CEF0-EDE3-4782-957B-1C2FA1576804}" srcOrd="8" destOrd="0" presId="urn:microsoft.com/office/officeart/2005/8/layout/bProcess4"/>
    <dgm:cxn modelId="{E0C32A63-D7CB-48B8-BEC2-EC7891D05224}" type="presParOf" srcId="{6122CEF0-EDE3-4782-957B-1C2FA1576804}" destId="{C8C5E3A7-3FBD-4B24-BDDB-61B9A92D124D}" srcOrd="0" destOrd="0" presId="urn:microsoft.com/office/officeart/2005/8/layout/bProcess4"/>
    <dgm:cxn modelId="{90275552-CE85-453B-A09E-2290BE550C8C}" type="presParOf" srcId="{6122CEF0-EDE3-4782-957B-1C2FA1576804}" destId="{4E9A9EE7-92C5-4699-8669-56116A772C24}" srcOrd="1" destOrd="0" presId="urn:microsoft.com/office/officeart/2005/8/layout/bProcess4"/>
    <dgm:cxn modelId="{DCA8E977-D748-4F2C-99E0-E1CB183FC8F8}" type="presParOf" srcId="{43C8D023-4A08-46DB-AFBD-6200159D864A}" destId="{F524A3C2-2F47-4EC7-9192-FF87140744A2}" srcOrd="9" destOrd="0" presId="urn:microsoft.com/office/officeart/2005/8/layout/bProcess4"/>
    <dgm:cxn modelId="{D665FCE5-C7C7-4187-A059-59B92D286BB7}" type="presParOf" srcId="{43C8D023-4A08-46DB-AFBD-6200159D864A}" destId="{391FC91B-3709-4F26-A4A5-BD05E57ACFA2}" srcOrd="10" destOrd="0" presId="urn:microsoft.com/office/officeart/2005/8/layout/bProcess4"/>
    <dgm:cxn modelId="{46D8D679-2259-4ABE-A400-118BB57B6183}" type="presParOf" srcId="{391FC91B-3709-4F26-A4A5-BD05E57ACFA2}" destId="{C3F51335-5D30-4D81-A83F-639D9F307E07}" srcOrd="0" destOrd="0" presId="urn:microsoft.com/office/officeart/2005/8/layout/bProcess4"/>
    <dgm:cxn modelId="{D38A0957-1336-4177-9CFF-AC7F8D1D0818}" type="presParOf" srcId="{391FC91B-3709-4F26-A4A5-BD05E57ACFA2}" destId="{4857B1DA-2507-499A-A5D5-C0764C8CAA3E}" srcOrd="1" destOrd="0" presId="urn:microsoft.com/office/officeart/2005/8/layout/bProcess4"/>
    <dgm:cxn modelId="{5D0D605C-5C74-442A-A84E-0885D82756B1}" type="presParOf" srcId="{43C8D023-4A08-46DB-AFBD-6200159D864A}" destId="{49E3A27E-2060-4282-930E-AB4FCEE55EDC}" srcOrd="11" destOrd="0" presId="urn:microsoft.com/office/officeart/2005/8/layout/bProcess4"/>
    <dgm:cxn modelId="{D4D847E4-4780-40EB-8698-991FA91E41AB}" type="presParOf" srcId="{43C8D023-4A08-46DB-AFBD-6200159D864A}" destId="{6A222A9C-1BE9-4CFF-BF72-D69C0110133F}" srcOrd="12" destOrd="0" presId="urn:microsoft.com/office/officeart/2005/8/layout/bProcess4"/>
    <dgm:cxn modelId="{F5377555-4E53-46A3-8253-4C5E8CD96FC5}" type="presParOf" srcId="{6A222A9C-1BE9-4CFF-BF72-D69C0110133F}" destId="{9DCA24C9-AC31-443A-B417-F995E4531B81}" srcOrd="0" destOrd="0" presId="urn:microsoft.com/office/officeart/2005/8/layout/bProcess4"/>
    <dgm:cxn modelId="{8CC67D7C-C5AD-4B58-A417-D1EF3EC99022}" type="presParOf" srcId="{6A222A9C-1BE9-4CFF-BF72-D69C0110133F}" destId="{E035CB83-BBB4-4446-A112-13AF53CB77D8}" srcOrd="1" destOrd="0" presId="urn:microsoft.com/office/officeart/2005/8/layout/bProcess4"/>
    <dgm:cxn modelId="{06963C6C-E593-4FB0-AFCD-CAB5AC2F71C0}" type="presParOf" srcId="{43C8D023-4A08-46DB-AFBD-6200159D864A}" destId="{B630B3E9-C976-4814-8F94-C0C4A230ADBF}" srcOrd="13" destOrd="0" presId="urn:microsoft.com/office/officeart/2005/8/layout/bProcess4"/>
    <dgm:cxn modelId="{810B3ACD-EFF3-422C-90B2-0697351B7726}" type="presParOf" srcId="{43C8D023-4A08-46DB-AFBD-6200159D864A}" destId="{A97FF797-8A3F-4914-893E-02097BE29E8A}" srcOrd="14" destOrd="0" presId="urn:microsoft.com/office/officeart/2005/8/layout/bProcess4"/>
    <dgm:cxn modelId="{568D66B3-C1CE-44F1-9E67-6BD2CA5549D0}" type="presParOf" srcId="{A97FF797-8A3F-4914-893E-02097BE29E8A}" destId="{5A65044A-DFA8-4F7D-A6E0-956032BCAD27}" srcOrd="0" destOrd="0" presId="urn:microsoft.com/office/officeart/2005/8/layout/bProcess4"/>
    <dgm:cxn modelId="{22841AF7-767C-4D60-B3EE-73851D11E2BC}" type="presParOf" srcId="{A97FF797-8A3F-4914-893E-02097BE29E8A}" destId="{D9FD8211-2BCA-47BB-831A-240575A82F59}" srcOrd="1" destOrd="0" presId="urn:microsoft.com/office/officeart/2005/8/layout/bProcess4"/>
    <dgm:cxn modelId="{A108DE2B-38BB-41FF-AC90-2DA590131B9A}" type="presParOf" srcId="{43C8D023-4A08-46DB-AFBD-6200159D864A}" destId="{102024F8-46FB-49EA-846C-1146B6011A6D}" srcOrd="15" destOrd="0" presId="urn:microsoft.com/office/officeart/2005/8/layout/bProcess4"/>
    <dgm:cxn modelId="{F6B6137E-C9F1-4913-A03E-9D98C4CB3FF6}" type="presParOf" srcId="{43C8D023-4A08-46DB-AFBD-6200159D864A}" destId="{A2E1DB04-E89C-43B1-B7EE-58212005BA3D}" srcOrd="16" destOrd="0" presId="urn:microsoft.com/office/officeart/2005/8/layout/bProcess4"/>
    <dgm:cxn modelId="{117AF041-EC62-4B3F-9F83-0B395AB52A93}" type="presParOf" srcId="{A2E1DB04-E89C-43B1-B7EE-58212005BA3D}" destId="{C51202BA-B9DC-45F2-AD89-03FEC7060355}" srcOrd="0" destOrd="0" presId="urn:microsoft.com/office/officeart/2005/8/layout/bProcess4"/>
    <dgm:cxn modelId="{C7EB14F0-B7BC-4CD3-BB80-67FD8F0745B4}" type="presParOf" srcId="{A2E1DB04-E89C-43B1-B7EE-58212005BA3D}" destId="{5EA1F8C6-C86C-4503-BC0D-7BD03573E398}" srcOrd="1" destOrd="0" presId="urn:microsoft.com/office/officeart/2005/8/layout/bProcess4"/>
    <dgm:cxn modelId="{41BB562E-1FBF-4C6C-9926-B8074C4C7AF9}" type="presParOf" srcId="{43C8D023-4A08-46DB-AFBD-6200159D864A}" destId="{26601E23-47AA-4256-A218-A825457954F3}" srcOrd="17" destOrd="0" presId="urn:microsoft.com/office/officeart/2005/8/layout/bProcess4"/>
    <dgm:cxn modelId="{BD6F42B2-8648-4C59-BDAC-75AF7A41BDC3}" type="presParOf" srcId="{43C8D023-4A08-46DB-AFBD-6200159D864A}" destId="{C23A43D7-A0F1-4C9A-B826-4C0CBDCEC267}" srcOrd="18" destOrd="0" presId="urn:microsoft.com/office/officeart/2005/8/layout/bProcess4"/>
    <dgm:cxn modelId="{9ACDE507-21E6-4439-B3CB-D10B8DA5352A}" type="presParOf" srcId="{C23A43D7-A0F1-4C9A-B826-4C0CBDCEC267}" destId="{8846A12C-1553-4F83-8C62-8EBCEA55074C}" srcOrd="0" destOrd="0" presId="urn:microsoft.com/office/officeart/2005/8/layout/bProcess4"/>
    <dgm:cxn modelId="{074D5487-5EDF-4DFA-B0FC-1AB3D64C66D2}" type="presParOf" srcId="{C23A43D7-A0F1-4C9A-B826-4C0CBDCEC267}" destId="{1B50BFC0-B4D6-4BC3-B5E4-CF59BDFABE2A}" srcOrd="1" destOrd="0" presId="urn:microsoft.com/office/officeart/2005/8/layout/bProcess4"/>
    <dgm:cxn modelId="{578BE547-E2A8-494B-9A4C-0BC0BDE65EA1}" type="presParOf" srcId="{43C8D023-4A08-46DB-AFBD-6200159D864A}" destId="{3C2DD09D-26A9-46AC-84EB-C215991B44BB}" srcOrd="19" destOrd="0" presId="urn:microsoft.com/office/officeart/2005/8/layout/bProcess4"/>
    <dgm:cxn modelId="{A71525C5-85B3-4BA3-94B9-766162623E14}" type="presParOf" srcId="{43C8D023-4A08-46DB-AFBD-6200159D864A}" destId="{71078D0E-936B-46A5-9160-4F8666DDCB8F}" srcOrd="20" destOrd="0" presId="urn:microsoft.com/office/officeart/2005/8/layout/bProcess4"/>
    <dgm:cxn modelId="{40125C2A-42EA-4AE9-B59A-854111056FE8}" type="presParOf" srcId="{71078D0E-936B-46A5-9160-4F8666DDCB8F}" destId="{21680056-C4D9-4771-912A-68D1D1FD5A4E}" srcOrd="0" destOrd="0" presId="urn:microsoft.com/office/officeart/2005/8/layout/bProcess4"/>
    <dgm:cxn modelId="{23C688C9-39F6-470D-BD28-27F260AE1136}" type="presParOf" srcId="{71078D0E-936B-46A5-9160-4F8666DDCB8F}" destId="{A68F451B-07D1-4CC8-8C09-0A6CFF49BCE8}" srcOrd="1" destOrd="0" presId="urn:microsoft.com/office/officeart/2005/8/layout/bProcess4"/>
    <dgm:cxn modelId="{B621516B-E186-4389-BA23-B6CFA4511547}" type="presParOf" srcId="{43C8D023-4A08-46DB-AFBD-6200159D864A}" destId="{EE1B6901-BA8E-4105-96F4-42FA568E72BE}" srcOrd="21" destOrd="0" presId="urn:microsoft.com/office/officeart/2005/8/layout/bProcess4"/>
    <dgm:cxn modelId="{1A2707AD-4EAD-4F5C-A78F-689FF2961D78}" type="presParOf" srcId="{43C8D023-4A08-46DB-AFBD-6200159D864A}" destId="{E1A51B93-D496-444F-A156-CAF74E809076}" srcOrd="22" destOrd="0" presId="urn:microsoft.com/office/officeart/2005/8/layout/bProcess4"/>
    <dgm:cxn modelId="{64DF511E-4A57-4D4D-B76F-8C3548F2F0CD}" type="presParOf" srcId="{E1A51B93-D496-444F-A156-CAF74E809076}" destId="{D95F7B6E-C843-4412-AD1C-14CA2FC5923C}" srcOrd="0" destOrd="0" presId="urn:microsoft.com/office/officeart/2005/8/layout/bProcess4"/>
    <dgm:cxn modelId="{A5DD9D8E-8328-42F0-8CFB-1A0DFDFAF840}" type="presParOf" srcId="{E1A51B93-D496-444F-A156-CAF74E809076}" destId="{1B96307D-B72E-46CA-99C3-DF4964887F61}" srcOrd="1" destOrd="0" presId="urn:microsoft.com/office/officeart/2005/8/layout/bProcess4"/>
    <dgm:cxn modelId="{3AF8B3BB-B5E1-4EF6-A3DE-2EB7F5F0AF69}" type="presParOf" srcId="{43C8D023-4A08-46DB-AFBD-6200159D864A}" destId="{6C96EEF3-BDD2-46B0-9775-DB0AD7122BCA}" srcOrd="23" destOrd="0" presId="urn:microsoft.com/office/officeart/2005/8/layout/bProcess4"/>
    <dgm:cxn modelId="{18AAE0A3-2115-42F9-9735-13603984151E}" type="presParOf" srcId="{43C8D023-4A08-46DB-AFBD-6200159D864A}" destId="{6FBB79D9-3544-408E-8CD8-6C318341500A}" srcOrd="24" destOrd="0" presId="urn:microsoft.com/office/officeart/2005/8/layout/bProcess4"/>
    <dgm:cxn modelId="{A653E07E-C83B-436D-ADF6-73293A9DDE8C}" type="presParOf" srcId="{6FBB79D9-3544-408E-8CD8-6C318341500A}" destId="{533E4288-8719-46AC-A924-EF3C8C5C8D40}" srcOrd="0" destOrd="0" presId="urn:microsoft.com/office/officeart/2005/8/layout/bProcess4"/>
    <dgm:cxn modelId="{08E4BB3B-A6AC-4DF1-8A99-BD8B993437CC}" type="presParOf" srcId="{6FBB79D9-3544-408E-8CD8-6C318341500A}" destId="{B428A3B2-862D-4B94-BDCF-12B1A0C11E4D}" srcOrd="1" destOrd="0" presId="urn:microsoft.com/office/officeart/2005/8/layout/bProcess4"/>
    <dgm:cxn modelId="{7A4A3D69-1970-449E-BB3D-9B17CABCA074}" type="presParOf" srcId="{43C8D023-4A08-46DB-AFBD-6200159D864A}" destId="{F6FC2ECE-CFEF-4937-9FA9-7386B67A1865}" srcOrd="25" destOrd="0" presId="urn:microsoft.com/office/officeart/2005/8/layout/bProcess4"/>
    <dgm:cxn modelId="{DD584DCD-AC08-4C97-BAD3-57B71D4DDB60}" type="presParOf" srcId="{43C8D023-4A08-46DB-AFBD-6200159D864A}" destId="{14F0E3BB-2CCD-448D-963D-3688A898D237}" srcOrd="26" destOrd="0" presId="urn:microsoft.com/office/officeart/2005/8/layout/bProcess4"/>
    <dgm:cxn modelId="{64E5D1C4-AEB1-4ECD-A659-B41A40AB8483}" type="presParOf" srcId="{14F0E3BB-2CCD-448D-963D-3688A898D237}" destId="{446B60AE-F23C-4035-881C-0AFE6A5756DC}" srcOrd="0" destOrd="0" presId="urn:microsoft.com/office/officeart/2005/8/layout/bProcess4"/>
    <dgm:cxn modelId="{990DCB3A-54E6-4D8B-B127-842E0E752465}" type="presParOf" srcId="{14F0E3BB-2CCD-448D-963D-3688A898D237}" destId="{D46D306B-4D14-46FF-9643-9239C46D8CAC}" srcOrd="1" destOrd="0" presId="urn:microsoft.com/office/officeart/2005/8/layout/bProcess4"/>
    <dgm:cxn modelId="{94CA74C9-9F95-4BA7-AEB4-08D324A7844F}" type="presParOf" srcId="{43C8D023-4A08-46DB-AFBD-6200159D864A}" destId="{336F546F-1FDC-4E18-95BF-FE0101C6AA07}" srcOrd="27" destOrd="0" presId="urn:microsoft.com/office/officeart/2005/8/layout/bProcess4"/>
    <dgm:cxn modelId="{E09287B9-D67D-4CA2-AFD5-776338C09B1F}" type="presParOf" srcId="{43C8D023-4A08-46DB-AFBD-6200159D864A}" destId="{BD498463-E07A-435B-B5E6-4BAAA18A372E}" srcOrd="28" destOrd="0" presId="urn:microsoft.com/office/officeart/2005/8/layout/bProcess4"/>
    <dgm:cxn modelId="{48B9E3D9-D3F3-4237-8E17-531818CECF8A}" type="presParOf" srcId="{BD498463-E07A-435B-B5E6-4BAAA18A372E}" destId="{355AAA7F-3BF3-4C38-BD80-872636B0FC73}" srcOrd="0" destOrd="0" presId="urn:microsoft.com/office/officeart/2005/8/layout/bProcess4"/>
    <dgm:cxn modelId="{EE9700AC-6268-48D5-A972-356D6F453E8C}" type="presParOf" srcId="{BD498463-E07A-435B-B5E6-4BAAA18A372E}" destId="{865CC9CB-4D1A-4BBD-89CB-C6A0A3D909BD}" srcOrd="1" destOrd="0" presId="urn:microsoft.com/office/officeart/2005/8/layout/bProcess4"/>
    <dgm:cxn modelId="{67A0B282-279B-4A36-A49C-48CCCEB464AE}" type="presParOf" srcId="{43C8D023-4A08-46DB-AFBD-6200159D864A}" destId="{71178B63-9DA7-4EB2-B893-CB8B1DDC5504}" srcOrd="29" destOrd="0" presId="urn:microsoft.com/office/officeart/2005/8/layout/bProcess4"/>
    <dgm:cxn modelId="{DF4966A8-1536-474A-9325-A00B743FB2C2}" type="presParOf" srcId="{43C8D023-4A08-46DB-AFBD-6200159D864A}" destId="{0743C31E-A2CB-493A-A8DF-8F51DA863E01}" srcOrd="30" destOrd="0" presId="urn:microsoft.com/office/officeart/2005/8/layout/bProcess4"/>
    <dgm:cxn modelId="{DBBC1F85-D367-4E22-8DAA-054EC324F527}" type="presParOf" srcId="{0743C31E-A2CB-493A-A8DF-8F51DA863E01}" destId="{045FEA87-D9C2-4D10-843C-930A5F98A373}" srcOrd="0" destOrd="0" presId="urn:microsoft.com/office/officeart/2005/8/layout/bProcess4"/>
    <dgm:cxn modelId="{7EE1BED0-E088-4921-A7B0-E8C2BB4FD660}" type="presParOf" srcId="{0743C31E-A2CB-493A-A8DF-8F51DA863E01}" destId="{032526AA-CA4F-47A6-8833-CC4E299DB417}" srcOrd="1" destOrd="0" presId="urn:microsoft.com/office/officeart/2005/8/layout/bProcess4"/>
    <dgm:cxn modelId="{E2A6D333-EDE1-4D71-BA81-91D7998ECD7B}" type="presParOf" srcId="{43C8D023-4A08-46DB-AFBD-6200159D864A}" destId="{9B25D534-E41D-4E66-9ABC-EB6CCB037EBF}" srcOrd="31" destOrd="0" presId="urn:microsoft.com/office/officeart/2005/8/layout/bProcess4"/>
    <dgm:cxn modelId="{EAD10EAA-E853-4DE4-9269-05EF0A4F7CD7}" type="presParOf" srcId="{43C8D023-4A08-46DB-AFBD-6200159D864A}" destId="{CCC07B11-DE30-4D37-9E33-7B3F122D2E49}" srcOrd="32" destOrd="0" presId="urn:microsoft.com/office/officeart/2005/8/layout/bProcess4"/>
    <dgm:cxn modelId="{60F28204-F9A7-4D11-8075-F32940F4F053}" type="presParOf" srcId="{CCC07B11-DE30-4D37-9E33-7B3F122D2E49}" destId="{B1C23F8D-A0D2-465F-8A49-2D9214C7064B}" srcOrd="0" destOrd="0" presId="urn:microsoft.com/office/officeart/2005/8/layout/bProcess4"/>
    <dgm:cxn modelId="{F4ED5C3D-74DB-4799-B9F1-B9D1CAB86E38}" type="presParOf" srcId="{CCC07B11-DE30-4D37-9E33-7B3F122D2E49}" destId="{E85740BD-7D7E-4766-A8DC-1A35B1C1FEC9}" srcOrd="1" destOrd="0" presId="urn:microsoft.com/office/officeart/2005/8/layout/bProcess4"/>
    <dgm:cxn modelId="{B6CDCBDD-08BA-4F8F-B39B-98F7A9EEBF9F}" type="presParOf" srcId="{43C8D023-4A08-46DB-AFBD-6200159D864A}" destId="{89D00D1F-943B-48DA-A8FD-AC043957EA6D}" srcOrd="33" destOrd="0" presId="urn:microsoft.com/office/officeart/2005/8/layout/bProcess4"/>
    <dgm:cxn modelId="{F1DB98FB-D287-4E92-A76B-19C9DD20B6B8}" type="presParOf" srcId="{43C8D023-4A08-46DB-AFBD-6200159D864A}" destId="{DE01F387-6F26-481B-893B-A7B2038622EE}" srcOrd="34" destOrd="0" presId="urn:microsoft.com/office/officeart/2005/8/layout/bProcess4"/>
    <dgm:cxn modelId="{A697FBFE-0C3A-41F9-99A3-C592B592A674}" type="presParOf" srcId="{DE01F387-6F26-481B-893B-A7B2038622EE}" destId="{486799BC-36A2-4D59-815C-A49F4DD3A69C}" srcOrd="0" destOrd="0" presId="urn:microsoft.com/office/officeart/2005/8/layout/bProcess4"/>
    <dgm:cxn modelId="{BF306C60-B4AB-49D2-80DC-6F4B0362ADBA}" type="presParOf" srcId="{DE01F387-6F26-481B-893B-A7B2038622EE}" destId="{37C0B14A-2A81-4DA6-A4DE-8B0C0FD97FC1}" srcOrd="1" destOrd="0" presId="urn:microsoft.com/office/officeart/2005/8/layout/bProcess4"/>
    <dgm:cxn modelId="{4956A2EA-C451-4964-91D6-17C5EE046BF1}" type="presParOf" srcId="{43C8D023-4A08-46DB-AFBD-6200159D864A}" destId="{A1C00C4B-A7DA-42E9-8FF6-0516DAF3992D}" srcOrd="35" destOrd="0" presId="urn:microsoft.com/office/officeart/2005/8/layout/bProcess4"/>
    <dgm:cxn modelId="{B67BD435-AC6D-4DB0-8B7F-3DB8FE89F85C}" type="presParOf" srcId="{43C8D023-4A08-46DB-AFBD-6200159D864A}" destId="{E43C59BA-DBEA-4CF3-88EB-510F1480E057}" srcOrd="36" destOrd="0" presId="urn:microsoft.com/office/officeart/2005/8/layout/bProcess4"/>
    <dgm:cxn modelId="{577B5C08-C6B6-4696-8107-7337A3436BFC}" type="presParOf" srcId="{E43C59BA-DBEA-4CF3-88EB-510F1480E057}" destId="{CB540A9B-E176-4615-BEA3-3F0C4A4D176D}" srcOrd="0" destOrd="0" presId="urn:microsoft.com/office/officeart/2005/8/layout/bProcess4"/>
    <dgm:cxn modelId="{4D0648F2-1F5D-4CCD-82B9-7178975E9F0F}" type="presParOf" srcId="{E43C59BA-DBEA-4CF3-88EB-510F1480E057}" destId="{944E00CC-E210-4FBC-BC90-6DD58207E1A0}" srcOrd="1" destOrd="0" presId="urn:microsoft.com/office/officeart/2005/8/layout/bProcess4"/>
    <dgm:cxn modelId="{91D39E04-8D09-44B1-B4B4-7AC19D6B6A80}" type="presParOf" srcId="{43C8D023-4A08-46DB-AFBD-6200159D864A}" destId="{BB525EF4-11CA-4AF0-9D05-0890477F605B}" srcOrd="37" destOrd="0" presId="urn:microsoft.com/office/officeart/2005/8/layout/bProcess4"/>
    <dgm:cxn modelId="{34EFFFD7-4C94-4EB1-81BF-1CD5AD4AEF92}" type="presParOf" srcId="{43C8D023-4A08-46DB-AFBD-6200159D864A}" destId="{CC1DC260-BE15-4F47-87F2-8C3EEC978AF9}" srcOrd="38" destOrd="0" presId="urn:microsoft.com/office/officeart/2005/8/layout/bProcess4"/>
    <dgm:cxn modelId="{CC118B88-C120-44E4-AB45-6AAA58C5F4E2}" type="presParOf" srcId="{CC1DC260-BE15-4F47-87F2-8C3EEC978AF9}" destId="{47ED8017-C136-45AF-AB20-EBF3191025AD}" srcOrd="0" destOrd="0" presId="urn:microsoft.com/office/officeart/2005/8/layout/bProcess4"/>
    <dgm:cxn modelId="{81271F6C-9887-4DBD-8A5E-CF4B6F7FF568}" type="presParOf" srcId="{CC1DC260-BE15-4F47-87F2-8C3EEC978AF9}" destId="{AB49DBB2-8BF6-48D2-AD6B-E4C56A5DA215}" srcOrd="1" destOrd="0" presId="urn:microsoft.com/office/officeart/2005/8/layout/bProcess4"/>
    <dgm:cxn modelId="{997AA876-9F46-41E8-9ABA-D90471F5C744}" type="presParOf" srcId="{43C8D023-4A08-46DB-AFBD-6200159D864A}" destId="{8AEDD5ED-C456-404E-A0C1-9FCD061445C8}" srcOrd="39" destOrd="0" presId="urn:microsoft.com/office/officeart/2005/8/layout/bProcess4"/>
    <dgm:cxn modelId="{3EE6857C-9FEF-4A07-A22E-86BE784223B3}" type="presParOf" srcId="{43C8D023-4A08-46DB-AFBD-6200159D864A}" destId="{841806DD-7523-4B3F-AB4C-B3A82D8547BD}" srcOrd="40" destOrd="0" presId="urn:microsoft.com/office/officeart/2005/8/layout/bProcess4"/>
    <dgm:cxn modelId="{F2EC440D-2B01-4BEB-8934-DEB4A6C03DD0}" type="presParOf" srcId="{841806DD-7523-4B3F-AB4C-B3A82D8547BD}" destId="{36102350-1BEA-4C65-837B-1A66EC1B7B5D}" srcOrd="0" destOrd="0" presId="urn:microsoft.com/office/officeart/2005/8/layout/bProcess4"/>
    <dgm:cxn modelId="{3F9DDB2E-7DE6-4EB0-B765-B8F1B017941E}" type="presParOf" srcId="{841806DD-7523-4B3F-AB4C-B3A82D8547BD}" destId="{C50EEFDE-E4D4-43BF-B3E0-15EBCF9D5439}" srcOrd="1" destOrd="0" presId="urn:microsoft.com/office/officeart/2005/8/layout/bProcess4"/>
    <dgm:cxn modelId="{09D32B72-B7A8-4DF9-8EB7-5F2DBDDA68C9}" type="presParOf" srcId="{43C8D023-4A08-46DB-AFBD-6200159D864A}" destId="{FC461A49-6E8A-4765-BDC6-DF366118A9DB}" srcOrd="41" destOrd="0" presId="urn:microsoft.com/office/officeart/2005/8/layout/bProcess4"/>
    <dgm:cxn modelId="{2D5A0466-482D-4484-AE04-7A9B52B4CEDE}" type="presParOf" srcId="{43C8D023-4A08-46DB-AFBD-6200159D864A}" destId="{A22ECE52-F2AE-43AB-9100-6F167B8A373B}" srcOrd="42" destOrd="0" presId="urn:microsoft.com/office/officeart/2005/8/layout/bProcess4"/>
    <dgm:cxn modelId="{1C5EF988-365F-4FD5-AC82-ABBC981E2C39}" type="presParOf" srcId="{A22ECE52-F2AE-43AB-9100-6F167B8A373B}" destId="{11463E47-5635-4402-9E35-D2128D49955F}" srcOrd="0" destOrd="0" presId="urn:microsoft.com/office/officeart/2005/8/layout/bProcess4"/>
    <dgm:cxn modelId="{74F6A9D7-0B63-4B72-93D9-D38473FC498D}" type="presParOf" srcId="{A22ECE52-F2AE-43AB-9100-6F167B8A373B}" destId="{2847F226-AA4E-451E-8FA8-84F2FF69A214}" srcOrd="1" destOrd="0" presId="urn:microsoft.com/office/officeart/2005/8/layout/bProcess4"/>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0AF90E8-A1EA-4586-928D-0A2057E1CF18}"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E9F17FF9-84CB-4AA1-BBFD-68979FCDA9FF}">
      <dgm:prSet phldrT="[Text]" custT="1"/>
      <dgm:spPr>
        <a:solidFill>
          <a:schemeClr val="accent4"/>
        </a:solidFill>
        <a:ln>
          <a:noFill/>
        </a:ln>
      </dgm:spPr>
      <dgm:t>
        <a:bodyPr/>
        <a:lstStyle/>
        <a:p>
          <a:r>
            <a:rPr lang="en-US" sz="900" dirty="0" smtClean="0"/>
            <a:t>Release Management</a:t>
          </a:r>
          <a:endParaRPr lang="en-US" sz="900" dirty="0"/>
        </a:p>
      </dgm:t>
    </dgm:pt>
    <dgm:pt modelId="{C6B99BCA-809E-4DD8-9720-C996C7A9F8B2}" type="parTrans" cxnId="{101CE67B-E2B2-4A3D-A0DF-799E64986E46}">
      <dgm:prSet/>
      <dgm:spPr/>
      <dgm:t>
        <a:bodyPr/>
        <a:lstStyle/>
        <a:p>
          <a:endParaRPr lang="en-US"/>
        </a:p>
      </dgm:t>
    </dgm:pt>
    <dgm:pt modelId="{8CF5CB1E-B594-4492-81DF-BD90AD0D6918}" type="sibTrans" cxnId="{101CE67B-E2B2-4A3D-A0DF-799E64986E46}">
      <dgm:prSet/>
      <dgm:spPr>
        <a:solidFill>
          <a:schemeClr val="tx1">
            <a:lumMod val="50000"/>
            <a:lumOff val="50000"/>
          </a:schemeClr>
        </a:solidFill>
      </dgm:spPr>
      <dgm:t>
        <a:bodyPr/>
        <a:lstStyle/>
        <a:p>
          <a:endParaRPr lang="en-US"/>
        </a:p>
      </dgm:t>
    </dgm:pt>
    <dgm:pt modelId="{85779212-6661-4725-AB42-F7048CC39118}">
      <dgm:prSet phldrT="[Text]" custT="1"/>
      <dgm:spPr>
        <a:solidFill>
          <a:schemeClr val="bg2"/>
        </a:solidFill>
        <a:ln>
          <a:noFill/>
        </a:ln>
      </dgm:spPr>
      <dgm:t>
        <a:bodyPr/>
        <a:lstStyle/>
        <a:p>
          <a:r>
            <a:rPr lang="en-US" sz="900" dirty="0" smtClean="0"/>
            <a:t>Collaboration/ KM Management</a:t>
          </a:r>
          <a:endParaRPr lang="en-US" sz="900" dirty="0"/>
        </a:p>
      </dgm:t>
    </dgm:pt>
    <dgm:pt modelId="{6F580CD6-77FB-49E7-AB68-F4756DCC3BC8}" type="parTrans" cxnId="{5F6E4A05-A398-46E1-93E6-2AB004134746}">
      <dgm:prSet/>
      <dgm:spPr/>
      <dgm:t>
        <a:bodyPr/>
        <a:lstStyle/>
        <a:p>
          <a:endParaRPr lang="en-US"/>
        </a:p>
      </dgm:t>
    </dgm:pt>
    <dgm:pt modelId="{2215B2C2-F53F-48D4-AAEB-E3661D91D79C}" type="sibTrans" cxnId="{5F6E4A05-A398-46E1-93E6-2AB004134746}">
      <dgm:prSet/>
      <dgm:spPr>
        <a:solidFill>
          <a:schemeClr val="tx1">
            <a:lumMod val="50000"/>
            <a:lumOff val="50000"/>
          </a:schemeClr>
        </a:solidFill>
      </dgm:spPr>
      <dgm:t>
        <a:bodyPr/>
        <a:lstStyle/>
        <a:p>
          <a:endParaRPr lang="en-US"/>
        </a:p>
      </dgm:t>
    </dgm:pt>
    <dgm:pt modelId="{849F1AF7-80F2-4D94-9C87-042462653019}">
      <dgm:prSet phldrT="[Text]" custT="1"/>
      <dgm:spPr>
        <a:solidFill>
          <a:schemeClr val="bg2"/>
        </a:solidFill>
        <a:ln>
          <a:noFill/>
        </a:ln>
      </dgm:spPr>
      <dgm:t>
        <a:bodyPr/>
        <a:lstStyle/>
        <a:p>
          <a:r>
            <a:rPr lang="en-US" sz="900" dirty="0" smtClean="0"/>
            <a:t>Code Checkout</a:t>
          </a:r>
          <a:endParaRPr lang="en-US" sz="900" dirty="0"/>
        </a:p>
      </dgm:t>
    </dgm:pt>
    <dgm:pt modelId="{FD7D8452-F8C4-444D-AF53-6B0291A0CCC0}" type="parTrans" cxnId="{3322B252-840F-41F1-8A0C-0D572C8B8350}">
      <dgm:prSet/>
      <dgm:spPr/>
      <dgm:t>
        <a:bodyPr/>
        <a:lstStyle/>
        <a:p>
          <a:endParaRPr lang="en-US"/>
        </a:p>
      </dgm:t>
    </dgm:pt>
    <dgm:pt modelId="{7C2CE862-3CB4-48E1-8966-FEEE24307D57}" type="sibTrans" cxnId="{3322B252-840F-41F1-8A0C-0D572C8B8350}">
      <dgm:prSet/>
      <dgm:spPr>
        <a:solidFill>
          <a:schemeClr val="tx1">
            <a:lumMod val="50000"/>
            <a:lumOff val="50000"/>
          </a:schemeClr>
        </a:solidFill>
      </dgm:spPr>
      <dgm:t>
        <a:bodyPr/>
        <a:lstStyle/>
        <a:p>
          <a:endParaRPr lang="en-US"/>
        </a:p>
      </dgm:t>
    </dgm:pt>
    <dgm:pt modelId="{1BA9C312-3FC6-492C-A4A5-D1F5D3C47968}">
      <dgm:prSet phldrT="[Text]" custT="1"/>
      <dgm:spPr>
        <a:solidFill>
          <a:schemeClr val="bg2"/>
        </a:solidFill>
        <a:ln>
          <a:noFill/>
        </a:ln>
      </dgm:spPr>
      <dgm:t>
        <a:bodyPr/>
        <a:lstStyle/>
        <a:p>
          <a:r>
            <a:rPr lang="en-US" sz="900" dirty="0" smtClean="0"/>
            <a:t>Code Construction</a:t>
          </a:r>
          <a:endParaRPr lang="en-US" sz="900" dirty="0"/>
        </a:p>
      </dgm:t>
    </dgm:pt>
    <dgm:pt modelId="{A713E7FF-1CAD-4740-B3E0-EB45F4AAC7BE}" type="parTrans" cxnId="{35D90AA5-A97B-4370-B278-E9458FFB9BA6}">
      <dgm:prSet/>
      <dgm:spPr/>
      <dgm:t>
        <a:bodyPr/>
        <a:lstStyle/>
        <a:p>
          <a:endParaRPr lang="en-US"/>
        </a:p>
      </dgm:t>
    </dgm:pt>
    <dgm:pt modelId="{DFF57308-0DD1-475E-B2FA-E31BBB6A0860}" type="sibTrans" cxnId="{35D90AA5-A97B-4370-B278-E9458FFB9BA6}">
      <dgm:prSet/>
      <dgm:spPr>
        <a:solidFill>
          <a:schemeClr val="tx1">
            <a:lumMod val="50000"/>
            <a:lumOff val="50000"/>
          </a:schemeClr>
        </a:solidFill>
      </dgm:spPr>
      <dgm:t>
        <a:bodyPr/>
        <a:lstStyle/>
        <a:p>
          <a:endParaRPr lang="en-US"/>
        </a:p>
      </dgm:t>
    </dgm:pt>
    <dgm:pt modelId="{3930EB36-6FDA-44CB-ABCF-988A9BA436E3}">
      <dgm:prSet phldrT="[Text]" custT="1"/>
      <dgm:spPr>
        <a:solidFill>
          <a:schemeClr val="accent4"/>
        </a:solidFill>
        <a:ln>
          <a:noFill/>
        </a:ln>
      </dgm:spPr>
      <dgm:t>
        <a:bodyPr/>
        <a:lstStyle/>
        <a:p>
          <a:r>
            <a:rPr lang="en-US" sz="900" dirty="0" smtClean="0"/>
            <a:t>Unit Testing</a:t>
          </a:r>
          <a:endParaRPr lang="en-US" sz="900" dirty="0"/>
        </a:p>
      </dgm:t>
    </dgm:pt>
    <dgm:pt modelId="{A76573DD-7B52-434F-87C3-DD21C0CB5B23}" type="parTrans" cxnId="{7556444B-E586-4C76-B57A-7A3A3DE9645D}">
      <dgm:prSet/>
      <dgm:spPr/>
      <dgm:t>
        <a:bodyPr/>
        <a:lstStyle/>
        <a:p>
          <a:endParaRPr lang="en-US"/>
        </a:p>
      </dgm:t>
    </dgm:pt>
    <dgm:pt modelId="{F3DCA773-1244-4B9A-9ED9-C0FDC19BC45E}" type="sibTrans" cxnId="{7556444B-E586-4C76-B57A-7A3A3DE9645D}">
      <dgm:prSet/>
      <dgm:spPr>
        <a:solidFill>
          <a:schemeClr val="tx1">
            <a:lumMod val="50000"/>
            <a:lumOff val="50000"/>
          </a:schemeClr>
        </a:solidFill>
      </dgm:spPr>
      <dgm:t>
        <a:bodyPr/>
        <a:lstStyle/>
        <a:p>
          <a:endParaRPr lang="en-US"/>
        </a:p>
      </dgm:t>
    </dgm:pt>
    <dgm:pt modelId="{ADF668AF-3E12-4B37-BBC6-0A6519A77140}">
      <dgm:prSet phldrT="[Text]" custT="1"/>
      <dgm:spPr>
        <a:solidFill>
          <a:schemeClr val="accent4"/>
        </a:solidFill>
        <a:ln>
          <a:noFill/>
        </a:ln>
      </dgm:spPr>
      <dgm:t>
        <a:bodyPr/>
        <a:lstStyle/>
        <a:p>
          <a:r>
            <a:rPr lang="en-US" sz="900" dirty="0" smtClean="0"/>
            <a:t>Code Review</a:t>
          </a:r>
          <a:endParaRPr lang="en-US" sz="900" dirty="0"/>
        </a:p>
      </dgm:t>
    </dgm:pt>
    <dgm:pt modelId="{CC484BE2-A604-4608-8FEA-5A49472B3C2C}" type="parTrans" cxnId="{B16DEB27-96D6-4358-A383-83FF61A1507A}">
      <dgm:prSet/>
      <dgm:spPr/>
      <dgm:t>
        <a:bodyPr/>
        <a:lstStyle/>
        <a:p>
          <a:endParaRPr lang="en-US"/>
        </a:p>
      </dgm:t>
    </dgm:pt>
    <dgm:pt modelId="{588DFA08-AA0A-4B91-9359-5C2C4488A330}" type="sibTrans" cxnId="{B16DEB27-96D6-4358-A383-83FF61A1507A}">
      <dgm:prSet/>
      <dgm:spPr>
        <a:solidFill>
          <a:schemeClr val="tx1">
            <a:lumMod val="50000"/>
            <a:lumOff val="50000"/>
          </a:schemeClr>
        </a:solidFill>
      </dgm:spPr>
      <dgm:t>
        <a:bodyPr/>
        <a:lstStyle/>
        <a:p>
          <a:endParaRPr lang="en-US"/>
        </a:p>
      </dgm:t>
    </dgm:pt>
    <dgm:pt modelId="{37FE08DE-1395-40CA-9A0B-525CD6B5E831}">
      <dgm:prSet phldrT="[Text]" custT="1"/>
      <dgm:spPr>
        <a:solidFill>
          <a:schemeClr val="bg2"/>
        </a:solidFill>
        <a:ln>
          <a:noFill/>
        </a:ln>
      </dgm:spPr>
      <dgm:t>
        <a:bodyPr/>
        <a:lstStyle/>
        <a:p>
          <a:r>
            <a:rPr lang="en-US" sz="900" dirty="0" smtClean="0"/>
            <a:t>Code Conflict Management</a:t>
          </a:r>
          <a:endParaRPr lang="en-US" sz="900" dirty="0"/>
        </a:p>
      </dgm:t>
    </dgm:pt>
    <dgm:pt modelId="{5BEB020A-F5F5-4850-9980-5A4661CB3AD2}" type="parTrans" cxnId="{E4DB4185-9DF4-435B-8968-A0AAB99B9C73}">
      <dgm:prSet/>
      <dgm:spPr/>
      <dgm:t>
        <a:bodyPr/>
        <a:lstStyle/>
        <a:p>
          <a:endParaRPr lang="en-US"/>
        </a:p>
      </dgm:t>
    </dgm:pt>
    <dgm:pt modelId="{57271963-C7A4-4669-BFA6-3618812B92AB}" type="sibTrans" cxnId="{E4DB4185-9DF4-435B-8968-A0AAB99B9C73}">
      <dgm:prSet/>
      <dgm:spPr>
        <a:solidFill>
          <a:schemeClr val="tx1">
            <a:lumMod val="50000"/>
            <a:lumOff val="50000"/>
          </a:schemeClr>
        </a:solidFill>
      </dgm:spPr>
      <dgm:t>
        <a:bodyPr/>
        <a:lstStyle/>
        <a:p>
          <a:endParaRPr lang="en-US"/>
        </a:p>
      </dgm:t>
    </dgm:pt>
    <dgm:pt modelId="{3738A1B5-90CF-463A-8275-7F3A4F3727AB}">
      <dgm:prSet phldrT="[Text]" custT="1"/>
      <dgm:spPr>
        <a:solidFill>
          <a:schemeClr val="bg2"/>
        </a:solidFill>
        <a:ln>
          <a:noFill/>
        </a:ln>
      </dgm:spPr>
      <dgm:t>
        <a:bodyPr/>
        <a:lstStyle/>
        <a:p>
          <a:r>
            <a:rPr lang="en-US" sz="900" dirty="0" smtClean="0"/>
            <a:t>Version Management</a:t>
          </a:r>
          <a:endParaRPr lang="en-US" sz="900" dirty="0"/>
        </a:p>
      </dgm:t>
    </dgm:pt>
    <dgm:pt modelId="{62E7C633-B086-48CB-B985-A62A961F08C3}" type="parTrans" cxnId="{32A49BFC-A3EA-4549-844A-F84528076B00}">
      <dgm:prSet/>
      <dgm:spPr/>
      <dgm:t>
        <a:bodyPr/>
        <a:lstStyle/>
        <a:p>
          <a:endParaRPr lang="en-US"/>
        </a:p>
      </dgm:t>
    </dgm:pt>
    <dgm:pt modelId="{83DCAC2A-0010-44F2-ABC6-53BAD1DF01BB}" type="sibTrans" cxnId="{32A49BFC-A3EA-4549-844A-F84528076B00}">
      <dgm:prSet/>
      <dgm:spPr>
        <a:solidFill>
          <a:schemeClr val="tx1">
            <a:lumMod val="50000"/>
            <a:lumOff val="50000"/>
          </a:schemeClr>
        </a:solidFill>
      </dgm:spPr>
      <dgm:t>
        <a:bodyPr/>
        <a:lstStyle/>
        <a:p>
          <a:endParaRPr lang="en-US"/>
        </a:p>
      </dgm:t>
    </dgm:pt>
    <dgm:pt modelId="{5F563FDF-68E0-4532-A238-F2B4F40D514C}">
      <dgm:prSet phldrT="[Text]" custT="1"/>
      <dgm:spPr>
        <a:solidFill>
          <a:schemeClr val="bg2"/>
        </a:solidFill>
        <a:ln>
          <a:noFill/>
        </a:ln>
      </dgm:spPr>
      <dgm:t>
        <a:bodyPr/>
        <a:lstStyle/>
        <a:p>
          <a:r>
            <a:rPr lang="en-US" sz="900" dirty="0" smtClean="0"/>
            <a:t>Build</a:t>
          </a:r>
          <a:endParaRPr lang="en-US" sz="900" dirty="0"/>
        </a:p>
      </dgm:t>
    </dgm:pt>
    <dgm:pt modelId="{07F5E03E-FE05-4817-9E56-E2A4F8CB0CAA}" type="parTrans" cxnId="{E036A73C-ACC6-48D5-B446-DD3B0833955B}">
      <dgm:prSet/>
      <dgm:spPr/>
      <dgm:t>
        <a:bodyPr/>
        <a:lstStyle/>
        <a:p>
          <a:endParaRPr lang="en-US"/>
        </a:p>
      </dgm:t>
    </dgm:pt>
    <dgm:pt modelId="{2E6F1F50-D4EB-4BC1-8C05-7F4BB60E1095}" type="sibTrans" cxnId="{E036A73C-ACC6-48D5-B446-DD3B0833955B}">
      <dgm:prSet/>
      <dgm:spPr>
        <a:solidFill>
          <a:schemeClr val="tx1">
            <a:lumMod val="50000"/>
            <a:lumOff val="50000"/>
          </a:schemeClr>
        </a:solidFill>
      </dgm:spPr>
      <dgm:t>
        <a:bodyPr/>
        <a:lstStyle/>
        <a:p>
          <a:endParaRPr lang="en-US"/>
        </a:p>
      </dgm:t>
    </dgm:pt>
    <dgm:pt modelId="{9E968A82-C2C9-4708-8C57-1EDF4EDF7FAA}">
      <dgm:prSet phldrT="[Text]" custT="1"/>
      <dgm:spPr>
        <a:solidFill>
          <a:schemeClr val="accent4"/>
        </a:solidFill>
        <a:ln>
          <a:noFill/>
        </a:ln>
      </dgm:spPr>
      <dgm:t>
        <a:bodyPr/>
        <a:lstStyle/>
        <a:p>
          <a:r>
            <a:rPr lang="en-US" sz="900" dirty="0" smtClean="0">
              <a:solidFill>
                <a:schemeClr val="bg1"/>
              </a:solidFill>
            </a:rPr>
            <a:t>Functional Testing</a:t>
          </a:r>
          <a:endParaRPr lang="en-US" sz="900" dirty="0">
            <a:solidFill>
              <a:schemeClr val="bg1"/>
            </a:solidFill>
          </a:endParaRPr>
        </a:p>
      </dgm:t>
    </dgm:pt>
    <dgm:pt modelId="{DDD34AAC-5BA3-4936-9F7A-826950BBBFBE}" type="parTrans" cxnId="{8E2F635B-4747-43A5-9185-4AD3BA51060C}">
      <dgm:prSet/>
      <dgm:spPr/>
      <dgm:t>
        <a:bodyPr/>
        <a:lstStyle/>
        <a:p>
          <a:endParaRPr lang="en-US"/>
        </a:p>
      </dgm:t>
    </dgm:pt>
    <dgm:pt modelId="{1033E4E2-0E1D-4720-83E1-31115BA38D7F}" type="sibTrans" cxnId="{8E2F635B-4747-43A5-9185-4AD3BA51060C}">
      <dgm:prSet/>
      <dgm:spPr>
        <a:solidFill>
          <a:schemeClr val="tx1">
            <a:lumMod val="50000"/>
            <a:lumOff val="50000"/>
          </a:schemeClr>
        </a:solidFill>
      </dgm:spPr>
      <dgm:t>
        <a:bodyPr/>
        <a:lstStyle/>
        <a:p>
          <a:endParaRPr lang="en-US"/>
        </a:p>
      </dgm:t>
    </dgm:pt>
    <dgm:pt modelId="{126F406E-6F8A-49A3-979C-4B0D96D833E5}">
      <dgm:prSet phldrT="[Text]" custT="1"/>
      <dgm:spPr>
        <a:solidFill>
          <a:schemeClr val="accent4"/>
        </a:solidFill>
        <a:ln>
          <a:noFill/>
        </a:ln>
      </dgm:spPr>
      <dgm:t>
        <a:bodyPr/>
        <a:lstStyle/>
        <a:p>
          <a:r>
            <a:rPr lang="en-US" sz="900" dirty="0" smtClean="0"/>
            <a:t>Deployment – QA/SIT/UAT</a:t>
          </a:r>
          <a:endParaRPr lang="en-US" sz="900" dirty="0"/>
        </a:p>
      </dgm:t>
    </dgm:pt>
    <dgm:pt modelId="{C4478F16-E7D2-4394-AF82-5A2B6E0FA2DF}" type="parTrans" cxnId="{7D213385-4BB4-41F8-A2CD-6FBCDD16C446}">
      <dgm:prSet/>
      <dgm:spPr/>
      <dgm:t>
        <a:bodyPr/>
        <a:lstStyle/>
        <a:p>
          <a:endParaRPr lang="en-US"/>
        </a:p>
      </dgm:t>
    </dgm:pt>
    <dgm:pt modelId="{958EC8D5-2E09-4E39-8BCC-89A628BFA8D6}" type="sibTrans" cxnId="{7D213385-4BB4-41F8-A2CD-6FBCDD16C446}">
      <dgm:prSet/>
      <dgm:spPr>
        <a:solidFill>
          <a:schemeClr val="tx1">
            <a:lumMod val="50000"/>
            <a:lumOff val="50000"/>
          </a:schemeClr>
        </a:solidFill>
      </dgm:spPr>
      <dgm:t>
        <a:bodyPr/>
        <a:lstStyle/>
        <a:p>
          <a:endParaRPr lang="en-US"/>
        </a:p>
      </dgm:t>
    </dgm:pt>
    <dgm:pt modelId="{3341D280-779C-4D0C-A39C-F0051812E018}">
      <dgm:prSet phldrT="[Text]" custT="1"/>
      <dgm:spPr>
        <a:solidFill>
          <a:schemeClr val="accent4"/>
        </a:solidFill>
        <a:ln>
          <a:noFill/>
        </a:ln>
      </dgm:spPr>
      <dgm:t>
        <a:bodyPr/>
        <a:lstStyle/>
        <a:p>
          <a:r>
            <a:rPr lang="en-US" sz="900" dirty="0" smtClean="0"/>
            <a:t>Package and Artifact </a:t>
          </a:r>
          <a:r>
            <a:rPr lang="en-US" sz="900" dirty="0" err="1" smtClean="0"/>
            <a:t>Mngt</a:t>
          </a:r>
          <a:r>
            <a:rPr lang="en-US" sz="900" dirty="0" smtClean="0"/>
            <a:t>.</a:t>
          </a:r>
          <a:endParaRPr lang="en-US" sz="900" dirty="0"/>
        </a:p>
      </dgm:t>
    </dgm:pt>
    <dgm:pt modelId="{F4752A0A-B395-446A-A9AB-3D77A4ED6267}" type="parTrans" cxnId="{0D19982F-0F85-4A97-BCFA-6E65A7C00129}">
      <dgm:prSet/>
      <dgm:spPr/>
      <dgm:t>
        <a:bodyPr/>
        <a:lstStyle/>
        <a:p>
          <a:endParaRPr lang="en-US"/>
        </a:p>
      </dgm:t>
    </dgm:pt>
    <dgm:pt modelId="{E446F138-EBED-4CF1-9103-188FE94E650D}" type="sibTrans" cxnId="{0D19982F-0F85-4A97-BCFA-6E65A7C00129}">
      <dgm:prSet/>
      <dgm:spPr>
        <a:solidFill>
          <a:schemeClr val="tx1">
            <a:lumMod val="50000"/>
            <a:lumOff val="50000"/>
          </a:schemeClr>
        </a:solidFill>
      </dgm:spPr>
      <dgm:t>
        <a:bodyPr/>
        <a:lstStyle/>
        <a:p>
          <a:endParaRPr lang="en-US"/>
        </a:p>
      </dgm:t>
    </dgm:pt>
    <dgm:pt modelId="{239473F6-9DFA-4CBB-B80C-93A081707E6A}">
      <dgm:prSet phldrT="[Text]" custT="1"/>
      <dgm:spPr>
        <a:solidFill>
          <a:schemeClr val="bg2"/>
        </a:solidFill>
        <a:ln>
          <a:noFill/>
        </a:ln>
      </dgm:spPr>
      <dgm:t>
        <a:bodyPr/>
        <a:lstStyle/>
        <a:p>
          <a:r>
            <a:rPr lang="en-US" sz="900" dirty="0" smtClean="0"/>
            <a:t>Tag Release</a:t>
          </a:r>
          <a:endParaRPr lang="en-US" sz="900" dirty="0"/>
        </a:p>
      </dgm:t>
    </dgm:pt>
    <dgm:pt modelId="{43FB8A35-13BC-4F57-8130-ED887FC3598E}" type="parTrans" cxnId="{0353A571-4EAC-4846-A2D7-C7D32E188DFB}">
      <dgm:prSet/>
      <dgm:spPr/>
      <dgm:t>
        <a:bodyPr/>
        <a:lstStyle/>
        <a:p>
          <a:endParaRPr lang="en-US"/>
        </a:p>
      </dgm:t>
    </dgm:pt>
    <dgm:pt modelId="{CB3E1638-FD94-40EE-8343-708E939E8EA2}" type="sibTrans" cxnId="{0353A571-4EAC-4846-A2D7-C7D32E188DFB}">
      <dgm:prSet/>
      <dgm:spPr>
        <a:solidFill>
          <a:schemeClr val="tx1">
            <a:lumMod val="50000"/>
            <a:lumOff val="50000"/>
          </a:schemeClr>
        </a:solidFill>
      </dgm:spPr>
      <dgm:t>
        <a:bodyPr/>
        <a:lstStyle/>
        <a:p>
          <a:endParaRPr lang="en-US"/>
        </a:p>
      </dgm:t>
    </dgm:pt>
    <dgm:pt modelId="{5A340EBB-0CD1-4298-95DA-27F72796D99F}">
      <dgm:prSet phldrT="[Text]" custT="1"/>
      <dgm:spPr>
        <a:solidFill>
          <a:schemeClr val="accent4"/>
        </a:solidFill>
        <a:ln>
          <a:noFill/>
        </a:ln>
      </dgm:spPr>
      <dgm:t>
        <a:bodyPr/>
        <a:lstStyle/>
        <a:p>
          <a:r>
            <a:rPr lang="en-US" sz="900" dirty="0" smtClean="0"/>
            <a:t>Static/Dynamic Code Analysis</a:t>
          </a:r>
          <a:endParaRPr lang="en-US" sz="900" dirty="0"/>
        </a:p>
      </dgm:t>
    </dgm:pt>
    <dgm:pt modelId="{363361E4-A48B-4E35-A16F-3EA81F494ADD}" type="parTrans" cxnId="{F960A199-D1F8-4E7B-96E2-49F2A8F69B55}">
      <dgm:prSet/>
      <dgm:spPr/>
      <dgm:t>
        <a:bodyPr/>
        <a:lstStyle/>
        <a:p>
          <a:endParaRPr lang="en-US"/>
        </a:p>
      </dgm:t>
    </dgm:pt>
    <dgm:pt modelId="{9605F4AE-7274-4589-894C-1B1A3A565BF5}" type="sibTrans" cxnId="{F960A199-D1F8-4E7B-96E2-49F2A8F69B55}">
      <dgm:prSet/>
      <dgm:spPr>
        <a:solidFill>
          <a:schemeClr val="tx1">
            <a:lumMod val="50000"/>
            <a:lumOff val="50000"/>
          </a:schemeClr>
        </a:solidFill>
      </dgm:spPr>
      <dgm:t>
        <a:bodyPr/>
        <a:lstStyle/>
        <a:p>
          <a:endParaRPr lang="en-US"/>
        </a:p>
      </dgm:t>
    </dgm:pt>
    <dgm:pt modelId="{4D86363D-FCDF-405A-A7D2-DF82B39338D2}">
      <dgm:prSet phldrT="[Text]" custT="1"/>
      <dgm:spPr>
        <a:solidFill>
          <a:schemeClr val="accent4"/>
        </a:solidFill>
        <a:ln>
          <a:noFill/>
        </a:ln>
      </dgm:spPr>
      <dgm:t>
        <a:bodyPr/>
        <a:lstStyle/>
        <a:p>
          <a:r>
            <a:rPr lang="en-US" sz="900" dirty="0" smtClean="0"/>
            <a:t>Integration Testing</a:t>
          </a:r>
          <a:endParaRPr lang="en-US" sz="900" dirty="0"/>
        </a:p>
      </dgm:t>
    </dgm:pt>
    <dgm:pt modelId="{319D7107-C98F-4A2E-8239-05A3900CF85D}" type="parTrans" cxnId="{21D8CC83-DBDA-4724-A583-9B46B319AACE}">
      <dgm:prSet/>
      <dgm:spPr/>
      <dgm:t>
        <a:bodyPr/>
        <a:lstStyle/>
        <a:p>
          <a:endParaRPr lang="en-US"/>
        </a:p>
      </dgm:t>
    </dgm:pt>
    <dgm:pt modelId="{ECAFCB15-B4D1-453D-90E4-AA983B48832A}" type="sibTrans" cxnId="{21D8CC83-DBDA-4724-A583-9B46B319AACE}">
      <dgm:prSet/>
      <dgm:spPr>
        <a:solidFill>
          <a:schemeClr val="tx1">
            <a:lumMod val="50000"/>
            <a:lumOff val="50000"/>
          </a:schemeClr>
        </a:solidFill>
      </dgm:spPr>
      <dgm:t>
        <a:bodyPr/>
        <a:lstStyle/>
        <a:p>
          <a:endParaRPr lang="en-US"/>
        </a:p>
      </dgm:t>
    </dgm:pt>
    <dgm:pt modelId="{9DD5A6BA-862F-4A08-93A2-7D63C651E05C}">
      <dgm:prSet phldrT="[Text]" custT="1"/>
      <dgm:spPr>
        <a:solidFill>
          <a:schemeClr val="accent4"/>
        </a:solidFill>
        <a:ln>
          <a:noFill/>
        </a:ln>
      </dgm:spPr>
      <dgm:t>
        <a:bodyPr/>
        <a:lstStyle/>
        <a:p>
          <a:r>
            <a:rPr lang="en-US" sz="900" dirty="0" smtClean="0"/>
            <a:t>Security Testing</a:t>
          </a:r>
          <a:endParaRPr lang="en-US" sz="900" dirty="0"/>
        </a:p>
      </dgm:t>
    </dgm:pt>
    <dgm:pt modelId="{2F63AA87-74B1-49C8-9AE0-9B4065810AD2}" type="parTrans" cxnId="{10C10951-F977-4EFC-8ECD-13875A766D4B}">
      <dgm:prSet/>
      <dgm:spPr/>
      <dgm:t>
        <a:bodyPr/>
        <a:lstStyle/>
        <a:p>
          <a:endParaRPr lang="en-US"/>
        </a:p>
      </dgm:t>
    </dgm:pt>
    <dgm:pt modelId="{30E84380-30DC-4FA7-8248-189A4FD5B85B}" type="sibTrans" cxnId="{10C10951-F977-4EFC-8ECD-13875A766D4B}">
      <dgm:prSet/>
      <dgm:spPr>
        <a:solidFill>
          <a:schemeClr val="tx1">
            <a:lumMod val="50000"/>
            <a:lumOff val="50000"/>
          </a:schemeClr>
        </a:solidFill>
      </dgm:spPr>
      <dgm:t>
        <a:bodyPr/>
        <a:lstStyle/>
        <a:p>
          <a:endParaRPr lang="en-US"/>
        </a:p>
      </dgm:t>
    </dgm:pt>
    <dgm:pt modelId="{B23BB066-8472-44EB-B86D-AA6CC44B4FC0}">
      <dgm:prSet phldrT="[Text]" custT="1"/>
      <dgm:spPr>
        <a:solidFill>
          <a:schemeClr val="accent4"/>
        </a:solidFill>
        <a:ln>
          <a:noFill/>
        </a:ln>
      </dgm:spPr>
      <dgm:t>
        <a:bodyPr/>
        <a:lstStyle/>
        <a:p>
          <a:r>
            <a:rPr lang="en-US" sz="900" dirty="0" smtClean="0"/>
            <a:t>Performance Testing</a:t>
          </a:r>
          <a:endParaRPr lang="en-US" sz="900" dirty="0"/>
        </a:p>
      </dgm:t>
    </dgm:pt>
    <dgm:pt modelId="{BE4DD27B-62D9-435E-A8B1-FD632B88B8F0}" type="parTrans" cxnId="{C9AFB386-382E-4180-B7E7-CF4884CB8E5F}">
      <dgm:prSet/>
      <dgm:spPr/>
      <dgm:t>
        <a:bodyPr/>
        <a:lstStyle/>
        <a:p>
          <a:endParaRPr lang="en-US"/>
        </a:p>
      </dgm:t>
    </dgm:pt>
    <dgm:pt modelId="{CB760776-D8BE-4281-B64D-797A4660DBCA}" type="sibTrans" cxnId="{C9AFB386-382E-4180-B7E7-CF4884CB8E5F}">
      <dgm:prSet/>
      <dgm:spPr>
        <a:solidFill>
          <a:schemeClr val="tx1">
            <a:lumMod val="50000"/>
            <a:lumOff val="50000"/>
          </a:schemeClr>
        </a:solidFill>
      </dgm:spPr>
      <dgm:t>
        <a:bodyPr/>
        <a:lstStyle/>
        <a:p>
          <a:endParaRPr lang="en-US"/>
        </a:p>
      </dgm:t>
    </dgm:pt>
    <dgm:pt modelId="{39DEF6C6-E8FB-4ECE-ACD4-2E49036603D1}">
      <dgm:prSet phldrT="[Text]" custT="1"/>
      <dgm:spPr>
        <a:solidFill>
          <a:schemeClr val="accent4"/>
        </a:solidFill>
        <a:ln>
          <a:noFill/>
        </a:ln>
      </dgm:spPr>
      <dgm:t>
        <a:bodyPr/>
        <a:lstStyle/>
        <a:p>
          <a:r>
            <a:rPr lang="en-US" sz="900" dirty="0" smtClean="0"/>
            <a:t>User Acceptance Testing</a:t>
          </a:r>
          <a:endParaRPr lang="en-US" sz="900" dirty="0"/>
        </a:p>
      </dgm:t>
    </dgm:pt>
    <dgm:pt modelId="{9B69F6C1-27C2-480B-B0BE-3D826ADE007D}" type="parTrans" cxnId="{795763E9-4225-4BC6-B9EC-AB6874E2B24C}">
      <dgm:prSet/>
      <dgm:spPr/>
      <dgm:t>
        <a:bodyPr/>
        <a:lstStyle/>
        <a:p>
          <a:endParaRPr lang="en-US"/>
        </a:p>
      </dgm:t>
    </dgm:pt>
    <dgm:pt modelId="{38CC07E6-E536-40AC-A8C1-C3B8006F5027}" type="sibTrans" cxnId="{795763E9-4225-4BC6-B9EC-AB6874E2B24C}">
      <dgm:prSet/>
      <dgm:spPr>
        <a:solidFill>
          <a:schemeClr val="tx1">
            <a:lumMod val="50000"/>
            <a:lumOff val="50000"/>
          </a:schemeClr>
        </a:solidFill>
      </dgm:spPr>
      <dgm:t>
        <a:bodyPr/>
        <a:lstStyle/>
        <a:p>
          <a:endParaRPr lang="en-US"/>
        </a:p>
      </dgm:t>
    </dgm:pt>
    <dgm:pt modelId="{B0791259-9104-4F93-B8AD-DAEF5DF1EA80}">
      <dgm:prSet phldrT="[Text]" custT="1"/>
      <dgm:spPr>
        <a:solidFill>
          <a:schemeClr val="bg2"/>
        </a:solidFill>
        <a:ln>
          <a:noFill/>
        </a:ln>
      </dgm:spPr>
      <dgm:t>
        <a:bodyPr/>
        <a:lstStyle/>
        <a:p>
          <a:r>
            <a:rPr lang="en-US" sz="900" dirty="0" smtClean="0"/>
            <a:t>Service Management</a:t>
          </a:r>
          <a:endParaRPr lang="en-US" sz="900" dirty="0"/>
        </a:p>
      </dgm:t>
    </dgm:pt>
    <dgm:pt modelId="{1117126B-BFDF-432E-BA44-B7FDC3D8F145}" type="parTrans" cxnId="{245674ED-6B22-4C31-97D7-0FB63B7EB25C}">
      <dgm:prSet/>
      <dgm:spPr/>
      <dgm:t>
        <a:bodyPr/>
        <a:lstStyle/>
        <a:p>
          <a:endParaRPr lang="en-US"/>
        </a:p>
      </dgm:t>
    </dgm:pt>
    <dgm:pt modelId="{32BFCE23-CACB-4BAC-9396-91B12F6DFBA7}" type="sibTrans" cxnId="{245674ED-6B22-4C31-97D7-0FB63B7EB25C}">
      <dgm:prSet/>
      <dgm:spPr>
        <a:solidFill>
          <a:schemeClr val="tx1">
            <a:lumMod val="50000"/>
            <a:lumOff val="50000"/>
          </a:schemeClr>
        </a:solidFill>
      </dgm:spPr>
      <dgm:t>
        <a:bodyPr/>
        <a:lstStyle/>
        <a:p>
          <a:endParaRPr lang="en-US"/>
        </a:p>
      </dgm:t>
    </dgm:pt>
    <dgm:pt modelId="{F83289A8-9306-490E-B0CC-4C4053ADF858}">
      <dgm:prSet phldrT="[Text]" custT="1"/>
      <dgm:spPr>
        <a:solidFill>
          <a:schemeClr val="accent4"/>
        </a:solidFill>
        <a:ln>
          <a:noFill/>
        </a:ln>
      </dgm:spPr>
      <dgm:t>
        <a:bodyPr/>
        <a:lstStyle/>
        <a:p>
          <a:r>
            <a:rPr lang="en-US" sz="900" dirty="0" smtClean="0"/>
            <a:t>Deployment – Production</a:t>
          </a:r>
          <a:endParaRPr lang="en-US" sz="900" dirty="0"/>
        </a:p>
      </dgm:t>
    </dgm:pt>
    <dgm:pt modelId="{0D525162-730F-47CA-A7E4-BD772A86EEE9}" type="parTrans" cxnId="{52A8CA28-B741-4D34-9589-6E498E64E742}">
      <dgm:prSet/>
      <dgm:spPr/>
      <dgm:t>
        <a:bodyPr/>
        <a:lstStyle/>
        <a:p>
          <a:endParaRPr lang="en-US"/>
        </a:p>
      </dgm:t>
    </dgm:pt>
    <dgm:pt modelId="{F6C80EDB-E3A4-45B5-B30F-984A993975C6}" type="sibTrans" cxnId="{52A8CA28-B741-4D34-9589-6E498E64E742}">
      <dgm:prSet/>
      <dgm:spPr>
        <a:solidFill>
          <a:schemeClr val="tx1">
            <a:lumMod val="50000"/>
            <a:lumOff val="50000"/>
          </a:schemeClr>
        </a:solidFill>
      </dgm:spPr>
      <dgm:t>
        <a:bodyPr/>
        <a:lstStyle/>
        <a:p>
          <a:endParaRPr lang="en-US"/>
        </a:p>
      </dgm:t>
    </dgm:pt>
    <dgm:pt modelId="{B55A334A-32D7-4815-BEAC-C5617F56BF7E}">
      <dgm:prSet phldrT="[Text]" custT="1"/>
      <dgm:spPr>
        <a:solidFill>
          <a:schemeClr val="bg2"/>
        </a:solidFill>
        <a:ln>
          <a:noFill/>
        </a:ln>
      </dgm:spPr>
      <dgm:t>
        <a:bodyPr/>
        <a:lstStyle/>
        <a:p>
          <a:r>
            <a:rPr lang="en-US" sz="900" dirty="0" smtClean="0"/>
            <a:t>Monitoring</a:t>
          </a:r>
          <a:endParaRPr lang="en-US" sz="900" dirty="0"/>
        </a:p>
      </dgm:t>
    </dgm:pt>
    <dgm:pt modelId="{195971A1-7E37-4C83-A020-1379109DAEB1}" type="parTrans" cxnId="{402E7BE7-09FD-4117-8A11-E14DAF96F16D}">
      <dgm:prSet/>
      <dgm:spPr/>
      <dgm:t>
        <a:bodyPr/>
        <a:lstStyle/>
        <a:p>
          <a:endParaRPr lang="en-US"/>
        </a:p>
      </dgm:t>
    </dgm:pt>
    <dgm:pt modelId="{7FF30CD9-FB12-4C43-A294-99F48E60C536}" type="sibTrans" cxnId="{402E7BE7-09FD-4117-8A11-E14DAF96F16D}">
      <dgm:prSet/>
      <dgm:spPr/>
      <dgm:t>
        <a:bodyPr/>
        <a:lstStyle/>
        <a:p>
          <a:endParaRPr lang="en-US"/>
        </a:p>
      </dgm:t>
    </dgm:pt>
    <dgm:pt modelId="{CC219B65-9C10-4B15-9620-A0F17B12EAEF}">
      <dgm:prSet phldrT="[Text]" custT="1"/>
      <dgm:spPr>
        <a:solidFill>
          <a:schemeClr val="bg2"/>
        </a:solidFill>
        <a:ln>
          <a:noFill/>
        </a:ln>
      </dgm:spPr>
      <dgm:t>
        <a:bodyPr/>
        <a:lstStyle/>
        <a:p>
          <a:r>
            <a:rPr lang="en-US" sz="900" dirty="0" smtClean="0"/>
            <a:t>Requirement Management</a:t>
          </a:r>
          <a:endParaRPr lang="en-US" sz="900" dirty="0"/>
        </a:p>
      </dgm:t>
    </dgm:pt>
    <dgm:pt modelId="{A6E99459-E0B4-41A3-9891-91D01B67ADC5}" type="parTrans" cxnId="{3EC5E5B6-5FD2-4834-90D3-D2C1FB6FA5C1}">
      <dgm:prSet/>
      <dgm:spPr/>
      <dgm:t>
        <a:bodyPr/>
        <a:lstStyle/>
        <a:p>
          <a:endParaRPr lang="en-US"/>
        </a:p>
      </dgm:t>
    </dgm:pt>
    <dgm:pt modelId="{FDA29CFD-5F1F-43BC-A078-6D753895F6EC}" type="sibTrans" cxnId="{3EC5E5B6-5FD2-4834-90D3-D2C1FB6FA5C1}">
      <dgm:prSet/>
      <dgm:spPr>
        <a:solidFill>
          <a:schemeClr val="tx1">
            <a:lumMod val="50000"/>
            <a:lumOff val="50000"/>
          </a:schemeClr>
        </a:solidFill>
      </dgm:spPr>
      <dgm:t>
        <a:bodyPr/>
        <a:lstStyle/>
        <a:p>
          <a:endParaRPr lang="en-US"/>
        </a:p>
      </dgm:t>
    </dgm:pt>
    <dgm:pt modelId="{43C8D023-4A08-46DB-AFBD-6200159D864A}" type="pres">
      <dgm:prSet presAssocID="{80AF90E8-A1EA-4586-928D-0A2057E1CF18}" presName="Name0" presStyleCnt="0">
        <dgm:presLayoutVars>
          <dgm:dir/>
          <dgm:resizeHandles/>
        </dgm:presLayoutVars>
      </dgm:prSet>
      <dgm:spPr/>
      <dgm:t>
        <a:bodyPr/>
        <a:lstStyle/>
        <a:p>
          <a:endParaRPr lang="en-US"/>
        </a:p>
      </dgm:t>
    </dgm:pt>
    <dgm:pt modelId="{7CF6DC72-9EB1-4CE1-8062-055148110538}" type="pres">
      <dgm:prSet presAssocID="{E9F17FF9-84CB-4AA1-BBFD-68979FCDA9FF}" presName="compNode" presStyleCnt="0"/>
      <dgm:spPr/>
    </dgm:pt>
    <dgm:pt modelId="{AD9E0B91-5ADB-4817-A7F5-254540FCE215}" type="pres">
      <dgm:prSet presAssocID="{E9F17FF9-84CB-4AA1-BBFD-68979FCDA9FF}" presName="dummyConnPt" presStyleCnt="0"/>
      <dgm:spPr/>
    </dgm:pt>
    <dgm:pt modelId="{D8032C8F-07F8-49E7-971C-FCC8CFA0A309}" type="pres">
      <dgm:prSet presAssocID="{E9F17FF9-84CB-4AA1-BBFD-68979FCDA9FF}" presName="node" presStyleLbl="node1" presStyleIdx="0" presStyleCnt="22">
        <dgm:presLayoutVars>
          <dgm:bulletEnabled val="1"/>
        </dgm:presLayoutVars>
      </dgm:prSet>
      <dgm:spPr/>
      <dgm:t>
        <a:bodyPr/>
        <a:lstStyle/>
        <a:p>
          <a:endParaRPr lang="en-US"/>
        </a:p>
      </dgm:t>
    </dgm:pt>
    <dgm:pt modelId="{E9E1769E-B168-4CD8-BE69-23AD7E310373}" type="pres">
      <dgm:prSet presAssocID="{8CF5CB1E-B594-4492-81DF-BD90AD0D6918}" presName="sibTrans" presStyleLbl="bgSibTrans2D1" presStyleIdx="0" presStyleCnt="21"/>
      <dgm:spPr/>
      <dgm:t>
        <a:bodyPr/>
        <a:lstStyle/>
        <a:p>
          <a:endParaRPr lang="en-US"/>
        </a:p>
      </dgm:t>
    </dgm:pt>
    <dgm:pt modelId="{E793C0DA-AA69-48FD-9E70-F056E6010C5E}" type="pres">
      <dgm:prSet presAssocID="{85779212-6661-4725-AB42-F7048CC39118}" presName="compNode" presStyleCnt="0"/>
      <dgm:spPr/>
    </dgm:pt>
    <dgm:pt modelId="{B6FE7EB7-DA67-4353-9A8C-616C8E809188}" type="pres">
      <dgm:prSet presAssocID="{85779212-6661-4725-AB42-F7048CC39118}" presName="dummyConnPt" presStyleCnt="0"/>
      <dgm:spPr/>
    </dgm:pt>
    <dgm:pt modelId="{D3A94AF2-A702-4098-BBF8-E78BBA5F1D6D}" type="pres">
      <dgm:prSet presAssocID="{85779212-6661-4725-AB42-F7048CC39118}" presName="node" presStyleLbl="node1" presStyleIdx="1" presStyleCnt="22">
        <dgm:presLayoutVars>
          <dgm:bulletEnabled val="1"/>
        </dgm:presLayoutVars>
      </dgm:prSet>
      <dgm:spPr/>
      <dgm:t>
        <a:bodyPr/>
        <a:lstStyle/>
        <a:p>
          <a:endParaRPr lang="en-US"/>
        </a:p>
      </dgm:t>
    </dgm:pt>
    <dgm:pt modelId="{1C87ED88-6481-4D07-9F24-87B0AE319D5F}" type="pres">
      <dgm:prSet presAssocID="{2215B2C2-F53F-48D4-AAEB-E3661D91D79C}" presName="sibTrans" presStyleLbl="bgSibTrans2D1" presStyleIdx="1" presStyleCnt="21"/>
      <dgm:spPr/>
      <dgm:t>
        <a:bodyPr/>
        <a:lstStyle/>
        <a:p>
          <a:endParaRPr lang="en-US"/>
        </a:p>
      </dgm:t>
    </dgm:pt>
    <dgm:pt modelId="{72ADED6A-C79C-460A-B9BC-0E47F81582D7}" type="pres">
      <dgm:prSet presAssocID="{CC219B65-9C10-4B15-9620-A0F17B12EAEF}" presName="compNode" presStyleCnt="0"/>
      <dgm:spPr/>
    </dgm:pt>
    <dgm:pt modelId="{4C5AD02E-C3B9-49AC-A50B-79696A885476}" type="pres">
      <dgm:prSet presAssocID="{CC219B65-9C10-4B15-9620-A0F17B12EAEF}" presName="dummyConnPt" presStyleCnt="0"/>
      <dgm:spPr/>
    </dgm:pt>
    <dgm:pt modelId="{A7934C21-ADF7-422F-B47B-B5A5A9ACA79D}" type="pres">
      <dgm:prSet presAssocID="{CC219B65-9C10-4B15-9620-A0F17B12EAEF}" presName="node" presStyleLbl="node1" presStyleIdx="2" presStyleCnt="22">
        <dgm:presLayoutVars>
          <dgm:bulletEnabled val="1"/>
        </dgm:presLayoutVars>
      </dgm:prSet>
      <dgm:spPr/>
      <dgm:t>
        <a:bodyPr/>
        <a:lstStyle/>
        <a:p>
          <a:endParaRPr lang="en-US"/>
        </a:p>
      </dgm:t>
    </dgm:pt>
    <dgm:pt modelId="{57E7BDAE-DCE6-47E5-8E9C-B8C08ABA3F38}" type="pres">
      <dgm:prSet presAssocID="{FDA29CFD-5F1F-43BC-A078-6D753895F6EC}" presName="sibTrans" presStyleLbl="bgSibTrans2D1" presStyleIdx="2" presStyleCnt="21"/>
      <dgm:spPr/>
      <dgm:t>
        <a:bodyPr/>
        <a:lstStyle/>
        <a:p>
          <a:endParaRPr lang="en-US"/>
        </a:p>
      </dgm:t>
    </dgm:pt>
    <dgm:pt modelId="{6C5397E5-F3BE-4F32-B8C6-7C663A7DA65C}" type="pres">
      <dgm:prSet presAssocID="{849F1AF7-80F2-4D94-9C87-042462653019}" presName="compNode" presStyleCnt="0"/>
      <dgm:spPr/>
    </dgm:pt>
    <dgm:pt modelId="{87C329B3-7004-4E96-9B2D-E12FBD2E3381}" type="pres">
      <dgm:prSet presAssocID="{849F1AF7-80F2-4D94-9C87-042462653019}" presName="dummyConnPt" presStyleCnt="0"/>
      <dgm:spPr/>
    </dgm:pt>
    <dgm:pt modelId="{25792AB4-3AFD-4F68-897D-F8B7E034032A}" type="pres">
      <dgm:prSet presAssocID="{849F1AF7-80F2-4D94-9C87-042462653019}" presName="node" presStyleLbl="node1" presStyleIdx="3" presStyleCnt="22">
        <dgm:presLayoutVars>
          <dgm:bulletEnabled val="1"/>
        </dgm:presLayoutVars>
      </dgm:prSet>
      <dgm:spPr/>
      <dgm:t>
        <a:bodyPr/>
        <a:lstStyle/>
        <a:p>
          <a:endParaRPr lang="en-US"/>
        </a:p>
      </dgm:t>
    </dgm:pt>
    <dgm:pt modelId="{D5FA8DAC-FD33-47B2-AF30-E334B817887F}" type="pres">
      <dgm:prSet presAssocID="{7C2CE862-3CB4-48E1-8966-FEEE24307D57}" presName="sibTrans" presStyleLbl="bgSibTrans2D1" presStyleIdx="3" presStyleCnt="21"/>
      <dgm:spPr/>
      <dgm:t>
        <a:bodyPr/>
        <a:lstStyle/>
        <a:p>
          <a:endParaRPr lang="en-US"/>
        </a:p>
      </dgm:t>
    </dgm:pt>
    <dgm:pt modelId="{6122CEF0-EDE3-4782-957B-1C2FA1576804}" type="pres">
      <dgm:prSet presAssocID="{1BA9C312-3FC6-492C-A4A5-D1F5D3C47968}" presName="compNode" presStyleCnt="0"/>
      <dgm:spPr/>
    </dgm:pt>
    <dgm:pt modelId="{C8C5E3A7-3FBD-4B24-BDDB-61B9A92D124D}" type="pres">
      <dgm:prSet presAssocID="{1BA9C312-3FC6-492C-A4A5-D1F5D3C47968}" presName="dummyConnPt" presStyleCnt="0"/>
      <dgm:spPr/>
    </dgm:pt>
    <dgm:pt modelId="{4E9A9EE7-92C5-4699-8669-56116A772C24}" type="pres">
      <dgm:prSet presAssocID="{1BA9C312-3FC6-492C-A4A5-D1F5D3C47968}" presName="node" presStyleLbl="node1" presStyleIdx="4" presStyleCnt="22">
        <dgm:presLayoutVars>
          <dgm:bulletEnabled val="1"/>
        </dgm:presLayoutVars>
      </dgm:prSet>
      <dgm:spPr/>
      <dgm:t>
        <a:bodyPr/>
        <a:lstStyle/>
        <a:p>
          <a:endParaRPr lang="en-US"/>
        </a:p>
      </dgm:t>
    </dgm:pt>
    <dgm:pt modelId="{F524A3C2-2F47-4EC7-9192-FF87140744A2}" type="pres">
      <dgm:prSet presAssocID="{DFF57308-0DD1-475E-B2FA-E31BBB6A0860}" presName="sibTrans" presStyleLbl="bgSibTrans2D1" presStyleIdx="4" presStyleCnt="21"/>
      <dgm:spPr/>
      <dgm:t>
        <a:bodyPr/>
        <a:lstStyle/>
        <a:p>
          <a:endParaRPr lang="en-US"/>
        </a:p>
      </dgm:t>
    </dgm:pt>
    <dgm:pt modelId="{391FC91B-3709-4F26-A4A5-BD05E57ACFA2}" type="pres">
      <dgm:prSet presAssocID="{3930EB36-6FDA-44CB-ABCF-988A9BA436E3}" presName="compNode" presStyleCnt="0"/>
      <dgm:spPr/>
    </dgm:pt>
    <dgm:pt modelId="{C3F51335-5D30-4D81-A83F-639D9F307E07}" type="pres">
      <dgm:prSet presAssocID="{3930EB36-6FDA-44CB-ABCF-988A9BA436E3}" presName="dummyConnPt" presStyleCnt="0"/>
      <dgm:spPr/>
    </dgm:pt>
    <dgm:pt modelId="{4857B1DA-2507-499A-A5D5-C0764C8CAA3E}" type="pres">
      <dgm:prSet presAssocID="{3930EB36-6FDA-44CB-ABCF-988A9BA436E3}" presName="node" presStyleLbl="node1" presStyleIdx="5" presStyleCnt="22">
        <dgm:presLayoutVars>
          <dgm:bulletEnabled val="1"/>
        </dgm:presLayoutVars>
      </dgm:prSet>
      <dgm:spPr/>
      <dgm:t>
        <a:bodyPr/>
        <a:lstStyle/>
        <a:p>
          <a:endParaRPr lang="en-US"/>
        </a:p>
      </dgm:t>
    </dgm:pt>
    <dgm:pt modelId="{49E3A27E-2060-4282-930E-AB4FCEE55EDC}" type="pres">
      <dgm:prSet presAssocID="{F3DCA773-1244-4B9A-9ED9-C0FDC19BC45E}" presName="sibTrans" presStyleLbl="bgSibTrans2D1" presStyleIdx="5" presStyleCnt="21"/>
      <dgm:spPr/>
      <dgm:t>
        <a:bodyPr/>
        <a:lstStyle/>
        <a:p>
          <a:endParaRPr lang="en-US"/>
        </a:p>
      </dgm:t>
    </dgm:pt>
    <dgm:pt modelId="{6A222A9C-1BE9-4CFF-BF72-D69C0110133F}" type="pres">
      <dgm:prSet presAssocID="{ADF668AF-3E12-4B37-BBC6-0A6519A77140}" presName="compNode" presStyleCnt="0"/>
      <dgm:spPr/>
    </dgm:pt>
    <dgm:pt modelId="{9DCA24C9-AC31-443A-B417-F995E4531B81}" type="pres">
      <dgm:prSet presAssocID="{ADF668AF-3E12-4B37-BBC6-0A6519A77140}" presName="dummyConnPt" presStyleCnt="0"/>
      <dgm:spPr/>
    </dgm:pt>
    <dgm:pt modelId="{E035CB83-BBB4-4446-A112-13AF53CB77D8}" type="pres">
      <dgm:prSet presAssocID="{ADF668AF-3E12-4B37-BBC6-0A6519A77140}" presName="node" presStyleLbl="node1" presStyleIdx="6" presStyleCnt="22">
        <dgm:presLayoutVars>
          <dgm:bulletEnabled val="1"/>
        </dgm:presLayoutVars>
      </dgm:prSet>
      <dgm:spPr/>
      <dgm:t>
        <a:bodyPr/>
        <a:lstStyle/>
        <a:p>
          <a:endParaRPr lang="en-US"/>
        </a:p>
      </dgm:t>
    </dgm:pt>
    <dgm:pt modelId="{B630B3E9-C976-4814-8F94-C0C4A230ADBF}" type="pres">
      <dgm:prSet presAssocID="{588DFA08-AA0A-4B91-9359-5C2C4488A330}" presName="sibTrans" presStyleLbl="bgSibTrans2D1" presStyleIdx="6" presStyleCnt="21"/>
      <dgm:spPr/>
      <dgm:t>
        <a:bodyPr/>
        <a:lstStyle/>
        <a:p>
          <a:endParaRPr lang="en-US"/>
        </a:p>
      </dgm:t>
    </dgm:pt>
    <dgm:pt modelId="{A97FF797-8A3F-4914-893E-02097BE29E8A}" type="pres">
      <dgm:prSet presAssocID="{37FE08DE-1395-40CA-9A0B-525CD6B5E831}" presName="compNode" presStyleCnt="0"/>
      <dgm:spPr/>
    </dgm:pt>
    <dgm:pt modelId="{5A65044A-DFA8-4F7D-A6E0-956032BCAD27}" type="pres">
      <dgm:prSet presAssocID="{37FE08DE-1395-40CA-9A0B-525CD6B5E831}" presName="dummyConnPt" presStyleCnt="0"/>
      <dgm:spPr/>
    </dgm:pt>
    <dgm:pt modelId="{D9FD8211-2BCA-47BB-831A-240575A82F59}" type="pres">
      <dgm:prSet presAssocID="{37FE08DE-1395-40CA-9A0B-525CD6B5E831}" presName="node" presStyleLbl="node1" presStyleIdx="7" presStyleCnt="22">
        <dgm:presLayoutVars>
          <dgm:bulletEnabled val="1"/>
        </dgm:presLayoutVars>
      </dgm:prSet>
      <dgm:spPr/>
      <dgm:t>
        <a:bodyPr/>
        <a:lstStyle/>
        <a:p>
          <a:endParaRPr lang="en-US"/>
        </a:p>
      </dgm:t>
    </dgm:pt>
    <dgm:pt modelId="{102024F8-46FB-49EA-846C-1146B6011A6D}" type="pres">
      <dgm:prSet presAssocID="{57271963-C7A4-4669-BFA6-3618812B92AB}" presName="sibTrans" presStyleLbl="bgSibTrans2D1" presStyleIdx="7" presStyleCnt="21"/>
      <dgm:spPr/>
      <dgm:t>
        <a:bodyPr/>
        <a:lstStyle/>
        <a:p>
          <a:endParaRPr lang="en-US"/>
        </a:p>
      </dgm:t>
    </dgm:pt>
    <dgm:pt modelId="{A2E1DB04-E89C-43B1-B7EE-58212005BA3D}" type="pres">
      <dgm:prSet presAssocID="{3738A1B5-90CF-463A-8275-7F3A4F3727AB}" presName="compNode" presStyleCnt="0"/>
      <dgm:spPr/>
    </dgm:pt>
    <dgm:pt modelId="{C51202BA-B9DC-45F2-AD89-03FEC7060355}" type="pres">
      <dgm:prSet presAssocID="{3738A1B5-90CF-463A-8275-7F3A4F3727AB}" presName="dummyConnPt" presStyleCnt="0"/>
      <dgm:spPr/>
    </dgm:pt>
    <dgm:pt modelId="{5EA1F8C6-C86C-4503-BC0D-7BD03573E398}" type="pres">
      <dgm:prSet presAssocID="{3738A1B5-90CF-463A-8275-7F3A4F3727AB}" presName="node" presStyleLbl="node1" presStyleIdx="8" presStyleCnt="22">
        <dgm:presLayoutVars>
          <dgm:bulletEnabled val="1"/>
        </dgm:presLayoutVars>
      </dgm:prSet>
      <dgm:spPr/>
      <dgm:t>
        <a:bodyPr/>
        <a:lstStyle/>
        <a:p>
          <a:endParaRPr lang="en-US"/>
        </a:p>
      </dgm:t>
    </dgm:pt>
    <dgm:pt modelId="{26601E23-47AA-4256-A218-A825457954F3}" type="pres">
      <dgm:prSet presAssocID="{83DCAC2A-0010-44F2-ABC6-53BAD1DF01BB}" presName="sibTrans" presStyleLbl="bgSibTrans2D1" presStyleIdx="8" presStyleCnt="21"/>
      <dgm:spPr/>
      <dgm:t>
        <a:bodyPr/>
        <a:lstStyle/>
        <a:p>
          <a:endParaRPr lang="en-US"/>
        </a:p>
      </dgm:t>
    </dgm:pt>
    <dgm:pt modelId="{C23A43D7-A0F1-4C9A-B826-4C0CBDCEC267}" type="pres">
      <dgm:prSet presAssocID="{5F563FDF-68E0-4532-A238-F2B4F40D514C}" presName="compNode" presStyleCnt="0"/>
      <dgm:spPr/>
    </dgm:pt>
    <dgm:pt modelId="{8846A12C-1553-4F83-8C62-8EBCEA55074C}" type="pres">
      <dgm:prSet presAssocID="{5F563FDF-68E0-4532-A238-F2B4F40D514C}" presName="dummyConnPt" presStyleCnt="0"/>
      <dgm:spPr/>
    </dgm:pt>
    <dgm:pt modelId="{1B50BFC0-B4D6-4BC3-B5E4-CF59BDFABE2A}" type="pres">
      <dgm:prSet presAssocID="{5F563FDF-68E0-4532-A238-F2B4F40D514C}" presName="node" presStyleLbl="node1" presStyleIdx="9" presStyleCnt="22">
        <dgm:presLayoutVars>
          <dgm:bulletEnabled val="1"/>
        </dgm:presLayoutVars>
      </dgm:prSet>
      <dgm:spPr/>
      <dgm:t>
        <a:bodyPr/>
        <a:lstStyle/>
        <a:p>
          <a:endParaRPr lang="en-US"/>
        </a:p>
      </dgm:t>
    </dgm:pt>
    <dgm:pt modelId="{3C2DD09D-26A9-46AC-84EB-C215991B44BB}" type="pres">
      <dgm:prSet presAssocID="{2E6F1F50-D4EB-4BC1-8C05-7F4BB60E1095}" presName="sibTrans" presStyleLbl="bgSibTrans2D1" presStyleIdx="9" presStyleCnt="21"/>
      <dgm:spPr/>
      <dgm:t>
        <a:bodyPr/>
        <a:lstStyle/>
        <a:p>
          <a:endParaRPr lang="en-US"/>
        </a:p>
      </dgm:t>
    </dgm:pt>
    <dgm:pt modelId="{71078D0E-936B-46A5-9160-4F8666DDCB8F}" type="pres">
      <dgm:prSet presAssocID="{5A340EBB-0CD1-4298-95DA-27F72796D99F}" presName="compNode" presStyleCnt="0"/>
      <dgm:spPr/>
    </dgm:pt>
    <dgm:pt modelId="{21680056-C4D9-4771-912A-68D1D1FD5A4E}" type="pres">
      <dgm:prSet presAssocID="{5A340EBB-0CD1-4298-95DA-27F72796D99F}" presName="dummyConnPt" presStyleCnt="0"/>
      <dgm:spPr/>
    </dgm:pt>
    <dgm:pt modelId="{A68F451B-07D1-4CC8-8C09-0A6CFF49BCE8}" type="pres">
      <dgm:prSet presAssocID="{5A340EBB-0CD1-4298-95DA-27F72796D99F}" presName="node" presStyleLbl="node1" presStyleIdx="10" presStyleCnt="22">
        <dgm:presLayoutVars>
          <dgm:bulletEnabled val="1"/>
        </dgm:presLayoutVars>
      </dgm:prSet>
      <dgm:spPr/>
      <dgm:t>
        <a:bodyPr/>
        <a:lstStyle/>
        <a:p>
          <a:endParaRPr lang="en-US"/>
        </a:p>
      </dgm:t>
    </dgm:pt>
    <dgm:pt modelId="{EE1B6901-BA8E-4105-96F4-42FA568E72BE}" type="pres">
      <dgm:prSet presAssocID="{9605F4AE-7274-4589-894C-1B1A3A565BF5}" presName="sibTrans" presStyleLbl="bgSibTrans2D1" presStyleIdx="10" presStyleCnt="21"/>
      <dgm:spPr/>
      <dgm:t>
        <a:bodyPr/>
        <a:lstStyle/>
        <a:p>
          <a:endParaRPr lang="en-US"/>
        </a:p>
      </dgm:t>
    </dgm:pt>
    <dgm:pt modelId="{E1A51B93-D496-444F-A156-CAF74E809076}" type="pres">
      <dgm:prSet presAssocID="{239473F6-9DFA-4CBB-B80C-93A081707E6A}" presName="compNode" presStyleCnt="0"/>
      <dgm:spPr/>
    </dgm:pt>
    <dgm:pt modelId="{D95F7B6E-C843-4412-AD1C-14CA2FC5923C}" type="pres">
      <dgm:prSet presAssocID="{239473F6-9DFA-4CBB-B80C-93A081707E6A}" presName="dummyConnPt" presStyleCnt="0"/>
      <dgm:spPr/>
    </dgm:pt>
    <dgm:pt modelId="{1B96307D-B72E-46CA-99C3-DF4964887F61}" type="pres">
      <dgm:prSet presAssocID="{239473F6-9DFA-4CBB-B80C-93A081707E6A}" presName="node" presStyleLbl="node1" presStyleIdx="11" presStyleCnt="22">
        <dgm:presLayoutVars>
          <dgm:bulletEnabled val="1"/>
        </dgm:presLayoutVars>
      </dgm:prSet>
      <dgm:spPr/>
      <dgm:t>
        <a:bodyPr/>
        <a:lstStyle/>
        <a:p>
          <a:endParaRPr lang="en-US"/>
        </a:p>
      </dgm:t>
    </dgm:pt>
    <dgm:pt modelId="{6C96EEF3-BDD2-46B0-9775-DB0AD7122BCA}" type="pres">
      <dgm:prSet presAssocID="{CB3E1638-FD94-40EE-8343-708E939E8EA2}" presName="sibTrans" presStyleLbl="bgSibTrans2D1" presStyleIdx="11" presStyleCnt="21"/>
      <dgm:spPr/>
      <dgm:t>
        <a:bodyPr/>
        <a:lstStyle/>
        <a:p>
          <a:endParaRPr lang="en-US"/>
        </a:p>
      </dgm:t>
    </dgm:pt>
    <dgm:pt modelId="{6FBB79D9-3544-408E-8CD8-6C318341500A}" type="pres">
      <dgm:prSet presAssocID="{3341D280-779C-4D0C-A39C-F0051812E018}" presName="compNode" presStyleCnt="0"/>
      <dgm:spPr/>
    </dgm:pt>
    <dgm:pt modelId="{533E4288-8719-46AC-A924-EF3C8C5C8D40}" type="pres">
      <dgm:prSet presAssocID="{3341D280-779C-4D0C-A39C-F0051812E018}" presName="dummyConnPt" presStyleCnt="0"/>
      <dgm:spPr/>
    </dgm:pt>
    <dgm:pt modelId="{B428A3B2-862D-4B94-BDCF-12B1A0C11E4D}" type="pres">
      <dgm:prSet presAssocID="{3341D280-779C-4D0C-A39C-F0051812E018}" presName="node" presStyleLbl="node1" presStyleIdx="12" presStyleCnt="22">
        <dgm:presLayoutVars>
          <dgm:bulletEnabled val="1"/>
        </dgm:presLayoutVars>
      </dgm:prSet>
      <dgm:spPr/>
      <dgm:t>
        <a:bodyPr/>
        <a:lstStyle/>
        <a:p>
          <a:endParaRPr lang="en-US"/>
        </a:p>
      </dgm:t>
    </dgm:pt>
    <dgm:pt modelId="{F6FC2ECE-CFEF-4937-9FA9-7386B67A1865}" type="pres">
      <dgm:prSet presAssocID="{E446F138-EBED-4CF1-9103-188FE94E650D}" presName="sibTrans" presStyleLbl="bgSibTrans2D1" presStyleIdx="12" presStyleCnt="21"/>
      <dgm:spPr/>
      <dgm:t>
        <a:bodyPr/>
        <a:lstStyle/>
        <a:p>
          <a:endParaRPr lang="en-US"/>
        </a:p>
      </dgm:t>
    </dgm:pt>
    <dgm:pt modelId="{14F0E3BB-2CCD-448D-963D-3688A898D237}" type="pres">
      <dgm:prSet presAssocID="{126F406E-6F8A-49A3-979C-4B0D96D833E5}" presName="compNode" presStyleCnt="0"/>
      <dgm:spPr/>
    </dgm:pt>
    <dgm:pt modelId="{446B60AE-F23C-4035-881C-0AFE6A5756DC}" type="pres">
      <dgm:prSet presAssocID="{126F406E-6F8A-49A3-979C-4B0D96D833E5}" presName="dummyConnPt" presStyleCnt="0"/>
      <dgm:spPr/>
    </dgm:pt>
    <dgm:pt modelId="{D46D306B-4D14-46FF-9643-9239C46D8CAC}" type="pres">
      <dgm:prSet presAssocID="{126F406E-6F8A-49A3-979C-4B0D96D833E5}" presName="node" presStyleLbl="node1" presStyleIdx="13" presStyleCnt="22">
        <dgm:presLayoutVars>
          <dgm:bulletEnabled val="1"/>
        </dgm:presLayoutVars>
      </dgm:prSet>
      <dgm:spPr/>
      <dgm:t>
        <a:bodyPr/>
        <a:lstStyle/>
        <a:p>
          <a:endParaRPr lang="en-US"/>
        </a:p>
      </dgm:t>
    </dgm:pt>
    <dgm:pt modelId="{336F546F-1FDC-4E18-95BF-FE0101C6AA07}" type="pres">
      <dgm:prSet presAssocID="{958EC8D5-2E09-4E39-8BCC-89A628BFA8D6}" presName="sibTrans" presStyleLbl="bgSibTrans2D1" presStyleIdx="13" presStyleCnt="21"/>
      <dgm:spPr/>
      <dgm:t>
        <a:bodyPr/>
        <a:lstStyle/>
        <a:p>
          <a:endParaRPr lang="en-US"/>
        </a:p>
      </dgm:t>
    </dgm:pt>
    <dgm:pt modelId="{BD498463-E07A-435B-B5E6-4BAAA18A372E}" type="pres">
      <dgm:prSet presAssocID="{9E968A82-C2C9-4708-8C57-1EDF4EDF7FAA}" presName="compNode" presStyleCnt="0"/>
      <dgm:spPr/>
    </dgm:pt>
    <dgm:pt modelId="{355AAA7F-3BF3-4C38-BD80-872636B0FC73}" type="pres">
      <dgm:prSet presAssocID="{9E968A82-C2C9-4708-8C57-1EDF4EDF7FAA}" presName="dummyConnPt" presStyleCnt="0"/>
      <dgm:spPr/>
    </dgm:pt>
    <dgm:pt modelId="{865CC9CB-4D1A-4BBD-89CB-C6A0A3D909BD}" type="pres">
      <dgm:prSet presAssocID="{9E968A82-C2C9-4708-8C57-1EDF4EDF7FAA}" presName="node" presStyleLbl="node1" presStyleIdx="14" presStyleCnt="22">
        <dgm:presLayoutVars>
          <dgm:bulletEnabled val="1"/>
        </dgm:presLayoutVars>
      </dgm:prSet>
      <dgm:spPr/>
      <dgm:t>
        <a:bodyPr/>
        <a:lstStyle/>
        <a:p>
          <a:endParaRPr lang="en-US"/>
        </a:p>
      </dgm:t>
    </dgm:pt>
    <dgm:pt modelId="{71178B63-9DA7-4EB2-B893-CB8B1DDC5504}" type="pres">
      <dgm:prSet presAssocID="{1033E4E2-0E1D-4720-83E1-31115BA38D7F}" presName="sibTrans" presStyleLbl="bgSibTrans2D1" presStyleIdx="14" presStyleCnt="21"/>
      <dgm:spPr/>
      <dgm:t>
        <a:bodyPr/>
        <a:lstStyle/>
        <a:p>
          <a:endParaRPr lang="en-US"/>
        </a:p>
      </dgm:t>
    </dgm:pt>
    <dgm:pt modelId="{0743C31E-A2CB-493A-A8DF-8F51DA863E01}" type="pres">
      <dgm:prSet presAssocID="{4D86363D-FCDF-405A-A7D2-DF82B39338D2}" presName="compNode" presStyleCnt="0"/>
      <dgm:spPr/>
    </dgm:pt>
    <dgm:pt modelId="{045FEA87-D9C2-4D10-843C-930A5F98A373}" type="pres">
      <dgm:prSet presAssocID="{4D86363D-FCDF-405A-A7D2-DF82B39338D2}" presName="dummyConnPt" presStyleCnt="0"/>
      <dgm:spPr/>
    </dgm:pt>
    <dgm:pt modelId="{032526AA-CA4F-47A6-8833-CC4E299DB417}" type="pres">
      <dgm:prSet presAssocID="{4D86363D-FCDF-405A-A7D2-DF82B39338D2}" presName="node" presStyleLbl="node1" presStyleIdx="15" presStyleCnt="22">
        <dgm:presLayoutVars>
          <dgm:bulletEnabled val="1"/>
        </dgm:presLayoutVars>
      </dgm:prSet>
      <dgm:spPr/>
      <dgm:t>
        <a:bodyPr/>
        <a:lstStyle/>
        <a:p>
          <a:endParaRPr lang="en-US"/>
        </a:p>
      </dgm:t>
    </dgm:pt>
    <dgm:pt modelId="{9B25D534-E41D-4E66-9ABC-EB6CCB037EBF}" type="pres">
      <dgm:prSet presAssocID="{ECAFCB15-B4D1-453D-90E4-AA983B48832A}" presName="sibTrans" presStyleLbl="bgSibTrans2D1" presStyleIdx="15" presStyleCnt="21"/>
      <dgm:spPr/>
      <dgm:t>
        <a:bodyPr/>
        <a:lstStyle/>
        <a:p>
          <a:endParaRPr lang="en-US"/>
        </a:p>
      </dgm:t>
    </dgm:pt>
    <dgm:pt modelId="{CCC07B11-DE30-4D37-9E33-7B3F122D2E49}" type="pres">
      <dgm:prSet presAssocID="{9DD5A6BA-862F-4A08-93A2-7D63C651E05C}" presName="compNode" presStyleCnt="0"/>
      <dgm:spPr/>
    </dgm:pt>
    <dgm:pt modelId="{B1C23F8D-A0D2-465F-8A49-2D9214C7064B}" type="pres">
      <dgm:prSet presAssocID="{9DD5A6BA-862F-4A08-93A2-7D63C651E05C}" presName="dummyConnPt" presStyleCnt="0"/>
      <dgm:spPr/>
    </dgm:pt>
    <dgm:pt modelId="{E85740BD-7D7E-4766-A8DC-1A35B1C1FEC9}" type="pres">
      <dgm:prSet presAssocID="{9DD5A6BA-862F-4A08-93A2-7D63C651E05C}" presName="node" presStyleLbl="node1" presStyleIdx="16" presStyleCnt="22">
        <dgm:presLayoutVars>
          <dgm:bulletEnabled val="1"/>
        </dgm:presLayoutVars>
      </dgm:prSet>
      <dgm:spPr/>
      <dgm:t>
        <a:bodyPr/>
        <a:lstStyle/>
        <a:p>
          <a:endParaRPr lang="en-US"/>
        </a:p>
      </dgm:t>
    </dgm:pt>
    <dgm:pt modelId="{89D00D1F-943B-48DA-A8FD-AC043957EA6D}" type="pres">
      <dgm:prSet presAssocID="{30E84380-30DC-4FA7-8248-189A4FD5B85B}" presName="sibTrans" presStyleLbl="bgSibTrans2D1" presStyleIdx="16" presStyleCnt="21"/>
      <dgm:spPr/>
      <dgm:t>
        <a:bodyPr/>
        <a:lstStyle/>
        <a:p>
          <a:endParaRPr lang="en-US"/>
        </a:p>
      </dgm:t>
    </dgm:pt>
    <dgm:pt modelId="{DE01F387-6F26-481B-893B-A7B2038622EE}" type="pres">
      <dgm:prSet presAssocID="{B23BB066-8472-44EB-B86D-AA6CC44B4FC0}" presName="compNode" presStyleCnt="0"/>
      <dgm:spPr/>
    </dgm:pt>
    <dgm:pt modelId="{486799BC-36A2-4D59-815C-A49F4DD3A69C}" type="pres">
      <dgm:prSet presAssocID="{B23BB066-8472-44EB-B86D-AA6CC44B4FC0}" presName="dummyConnPt" presStyleCnt="0"/>
      <dgm:spPr/>
    </dgm:pt>
    <dgm:pt modelId="{37C0B14A-2A81-4DA6-A4DE-8B0C0FD97FC1}" type="pres">
      <dgm:prSet presAssocID="{B23BB066-8472-44EB-B86D-AA6CC44B4FC0}" presName="node" presStyleLbl="node1" presStyleIdx="17" presStyleCnt="22">
        <dgm:presLayoutVars>
          <dgm:bulletEnabled val="1"/>
        </dgm:presLayoutVars>
      </dgm:prSet>
      <dgm:spPr/>
      <dgm:t>
        <a:bodyPr/>
        <a:lstStyle/>
        <a:p>
          <a:endParaRPr lang="en-US"/>
        </a:p>
      </dgm:t>
    </dgm:pt>
    <dgm:pt modelId="{A1C00C4B-A7DA-42E9-8FF6-0516DAF3992D}" type="pres">
      <dgm:prSet presAssocID="{CB760776-D8BE-4281-B64D-797A4660DBCA}" presName="sibTrans" presStyleLbl="bgSibTrans2D1" presStyleIdx="17" presStyleCnt="21"/>
      <dgm:spPr/>
      <dgm:t>
        <a:bodyPr/>
        <a:lstStyle/>
        <a:p>
          <a:endParaRPr lang="en-US"/>
        </a:p>
      </dgm:t>
    </dgm:pt>
    <dgm:pt modelId="{E43C59BA-DBEA-4CF3-88EB-510F1480E057}" type="pres">
      <dgm:prSet presAssocID="{39DEF6C6-E8FB-4ECE-ACD4-2E49036603D1}" presName="compNode" presStyleCnt="0"/>
      <dgm:spPr/>
    </dgm:pt>
    <dgm:pt modelId="{CB540A9B-E176-4615-BEA3-3F0C4A4D176D}" type="pres">
      <dgm:prSet presAssocID="{39DEF6C6-E8FB-4ECE-ACD4-2E49036603D1}" presName="dummyConnPt" presStyleCnt="0"/>
      <dgm:spPr/>
    </dgm:pt>
    <dgm:pt modelId="{944E00CC-E210-4FBC-BC90-6DD58207E1A0}" type="pres">
      <dgm:prSet presAssocID="{39DEF6C6-E8FB-4ECE-ACD4-2E49036603D1}" presName="node" presStyleLbl="node1" presStyleIdx="18" presStyleCnt="22">
        <dgm:presLayoutVars>
          <dgm:bulletEnabled val="1"/>
        </dgm:presLayoutVars>
      </dgm:prSet>
      <dgm:spPr/>
      <dgm:t>
        <a:bodyPr/>
        <a:lstStyle/>
        <a:p>
          <a:endParaRPr lang="en-US"/>
        </a:p>
      </dgm:t>
    </dgm:pt>
    <dgm:pt modelId="{BB525EF4-11CA-4AF0-9D05-0890477F605B}" type="pres">
      <dgm:prSet presAssocID="{38CC07E6-E536-40AC-A8C1-C3B8006F5027}" presName="sibTrans" presStyleLbl="bgSibTrans2D1" presStyleIdx="18" presStyleCnt="21"/>
      <dgm:spPr/>
      <dgm:t>
        <a:bodyPr/>
        <a:lstStyle/>
        <a:p>
          <a:endParaRPr lang="en-US"/>
        </a:p>
      </dgm:t>
    </dgm:pt>
    <dgm:pt modelId="{CC1DC260-BE15-4F47-87F2-8C3EEC978AF9}" type="pres">
      <dgm:prSet presAssocID="{B0791259-9104-4F93-B8AD-DAEF5DF1EA80}" presName="compNode" presStyleCnt="0"/>
      <dgm:spPr/>
    </dgm:pt>
    <dgm:pt modelId="{47ED8017-C136-45AF-AB20-EBF3191025AD}" type="pres">
      <dgm:prSet presAssocID="{B0791259-9104-4F93-B8AD-DAEF5DF1EA80}" presName="dummyConnPt" presStyleCnt="0"/>
      <dgm:spPr/>
    </dgm:pt>
    <dgm:pt modelId="{AB49DBB2-8BF6-48D2-AD6B-E4C56A5DA215}" type="pres">
      <dgm:prSet presAssocID="{B0791259-9104-4F93-B8AD-DAEF5DF1EA80}" presName="node" presStyleLbl="node1" presStyleIdx="19" presStyleCnt="22">
        <dgm:presLayoutVars>
          <dgm:bulletEnabled val="1"/>
        </dgm:presLayoutVars>
      </dgm:prSet>
      <dgm:spPr/>
      <dgm:t>
        <a:bodyPr/>
        <a:lstStyle/>
        <a:p>
          <a:endParaRPr lang="en-US"/>
        </a:p>
      </dgm:t>
    </dgm:pt>
    <dgm:pt modelId="{8AEDD5ED-C456-404E-A0C1-9FCD061445C8}" type="pres">
      <dgm:prSet presAssocID="{32BFCE23-CACB-4BAC-9396-91B12F6DFBA7}" presName="sibTrans" presStyleLbl="bgSibTrans2D1" presStyleIdx="19" presStyleCnt="21"/>
      <dgm:spPr/>
      <dgm:t>
        <a:bodyPr/>
        <a:lstStyle/>
        <a:p>
          <a:endParaRPr lang="en-US"/>
        </a:p>
      </dgm:t>
    </dgm:pt>
    <dgm:pt modelId="{841806DD-7523-4B3F-AB4C-B3A82D8547BD}" type="pres">
      <dgm:prSet presAssocID="{F83289A8-9306-490E-B0CC-4C4053ADF858}" presName="compNode" presStyleCnt="0"/>
      <dgm:spPr/>
    </dgm:pt>
    <dgm:pt modelId="{36102350-1BEA-4C65-837B-1A66EC1B7B5D}" type="pres">
      <dgm:prSet presAssocID="{F83289A8-9306-490E-B0CC-4C4053ADF858}" presName="dummyConnPt" presStyleCnt="0"/>
      <dgm:spPr/>
    </dgm:pt>
    <dgm:pt modelId="{C50EEFDE-E4D4-43BF-B3E0-15EBCF9D5439}" type="pres">
      <dgm:prSet presAssocID="{F83289A8-9306-490E-B0CC-4C4053ADF858}" presName="node" presStyleLbl="node1" presStyleIdx="20" presStyleCnt="22">
        <dgm:presLayoutVars>
          <dgm:bulletEnabled val="1"/>
        </dgm:presLayoutVars>
      </dgm:prSet>
      <dgm:spPr/>
      <dgm:t>
        <a:bodyPr/>
        <a:lstStyle/>
        <a:p>
          <a:endParaRPr lang="en-US"/>
        </a:p>
      </dgm:t>
    </dgm:pt>
    <dgm:pt modelId="{FC461A49-6E8A-4765-BDC6-DF366118A9DB}" type="pres">
      <dgm:prSet presAssocID="{F6C80EDB-E3A4-45B5-B30F-984A993975C6}" presName="sibTrans" presStyleLbl="bgSibTrans2D1" presStyleIdx="20" presStyleCnt="21"/>
      <dgm:spPr/>
      <dgm:t>
        <a:bodyPr/>
        <a:lstStyle/>
        <a:p>
          <a:endParaRPr lang="en-US"/>
        </a:p>
      </dgm:t>
    </dgm:pt>
    <dgm:pt modelId="{A22ECE52-F2AE-43AB-9100-6F167B8A373B}" type="pres">
      <dgm:prSet presAssocID="{B55A334A-32D7-4815-BEAC-C5617F56BF7E}" presName="compNode" presStyleCnt="0"/>
      <dgm:spPr/>
    </dgm:pt>
    <dgm:pt modelId="{11463E47-5635-4402-9E35-D2128D49955F}" type="pres">
      <dgm:prSet presAssocID="{B55A334A-32D7-4815-BEAC-C5617F56BF7E}" presName="dummyConnPt" presStyleCnt="0"/>
      <dgm:spPr/>
    </dgm:pt>
    <dgm:pt modelId="{2847F226-AA4E-451E-8FA8-84F2FF69A214}" type="pres">
      <dgm:prSet presAssocID="{B55A334A-32D7-4815-BEAC-C5617F56BF7E}" presName="node" presStyleLbl="node1" presStyleIdx="21" presStyleCnt="22">
        <dgm:presLayoutVars>
          <dgm:bulletEnabled val="1"/>
        </dgm:presLayoutVars>
      </dgm:prSet>
      <dgm:spPr/>
      <dgm:t>
        <a:bodyPr/>
        <a:lstStyle/>
        <a:p>
          <a:endParaRPr lang="en-US"/>
        </a:p>
      </dgm:t>
    </dgm:pt>
  </dgm:ptLst>
  <dgm:cxnLst>
    <dgm:cxn modelId="{35D90AA5-A97B-4370-B278-E9458FFB9BA6}" srcId="{80AF90E8-A1EA-4586-928D-0A2057E1CF18}" destId="{1BA9C312-3FC6-492C-A4A5-D1F5D3C47968}" srcOrd="4" destOrd="0" parTransId="{A713E7FF-1CAD-4740-B3E0-EB45F4AAC7BE}" sibTransId="{DFF57308-0DD1-475E-B2FA-E31BBB6A0860}"/>
    <dgm:cxn modelId="{795763E9-4225-4BC6-B9EC-AB6874E2B24C}" srcId="{80AF90E8-A1EA-4586-928D-0A2057E1CF18}" destId="{39DEF6C6-E8FB-4ECE-ACD4-2E49036603D1}" srcOrd="18" destOrd="0" parTransId="{9B69F6C1-27C2-480B-B0BE-3D826ADE007D}" sibTransId="{38CC07E6-E536-40AC-A8C1-C3B8006F5027}"/>
    <dgm:cxn modelId="{0FE8E4EB-091B-42DD-BC75-233F7356512D}" type="presOf" srcId="{9E968A82-C2C9-4708-8C57-1EDF4EDF7FAA}" destId="{865CC9CB-4D1A-4BBD-89CB-C6A0A3D909BD}" srcOrd="0" destOrd="0" presId="urn:microsoft.com/office/officeart/2005/8/layout/bProcess4"/>
    <dgm:cxn modelId="{AECAB53C-125B-4FA0-8BB5-5D03D6C97364}" type="presOf" srcId="{39DEF6C6-E8FB-4ECE-ACD4-2E49036603D1}" destId="{944E00CC-E210-4FBC-BC90-6DD58207E1A0}" srcOrd="0" destOrd="0" presId="urn:microsoft.com/office/officeart/2005/8/layout/bProcess4"/>
    <dgm:cxn modelId="{CA31E357-657F-4074-87AF-E2D96529D820}" type="presOf" srcId="{3738A1B5-90CF-463A-8275-7F3A4F3727AB}" destId="{5EA1F8C6-C86C-4503-BC0D-7BD03573E398}" srcOrd="0" destOrd="0" presId="urn:microsoft.com/office/officeart/2005/8/layout/bProcess4"/>
    <dgm:cxn modelId="{DF0F86E3-214A-41C4-A625-657E2207CFD8}" type="presOf" srcId="{ECAFCB15-B4D1-453D-90E4-AA983B48832A}" destId="{9B25D534-E41D-4E66-9ABC-EB6CCB037EBF}" srcOrd="0" destOrd="0" presId="urn:microsoft.com/office/officeart/2005/8/layout/bProcess4"/>
    <dgm:cxn modelId="{88C78250-9DB2-4916-9B9D-8485C5552C78}" type="presOf" srcId="{38CC07E6-E536-40AC-A8C1-C3B8006F5027}" destId="{BB525EF4-11CA-4AF0-9D05-0890477F605B}" srcOrd="0" destOrd="0" presId="urn:microsoft.com/office/officeart/2005/8/layout/bProcess4"/>
    <dgm:cxn modelId="{D77393E1-3BE1-4934-8EA8-F3B85155CE5D}" type="presOf" srcId="{B0791259-9104-4F93-B8AD-DAEF5DF1EA80}" destId="{AB49DBB2-8BF6-48D2-AD6B-E4C56A5DA215}" srcOrd="0" destOrd="0" presId="urn:microsoft.com/office/officeart/2005/8/layout/bProcess4"/>
    <dgm:cxn modelId="{A56630AB-1679-4AD5-B2E1-AD43B4EBF54D}" type="presOf" srcId="{83DCAC2A-0010-44F2-ABC6-53BAD1DF01BB}" destId="{26601E23-47AA-4256-A218-A825457954F3}" srcOrd="0" destOrd="0" presId="urn:microsoft.com/office/officeart/2005/8/layout/bProcess4"/>
    <dgm:cxn modelId="{76F72AA4-992A-4C41-8B9F-559F108C511C}" type="presOf" srcId="{E446F138-EBED-4CF1-9103-188FE94E650D}" destId="{F6FC2ECE-CFEF-4937-9FA9-7386B67A1865}" srcOrd="0" destOrd="0" presId="urn:microsoft.com/office/officeart/2005/8/layout/bProcess4"/>
    <dgm:cxn modelId="{30ED3748-5B0D-4F45-BBE5-02F2DC514568}" type="presOf" srcId="{1033E4E2-0E1D-4720-83E1-31115BA38D7F}" destId="{71178B63-9DA7-4EB2-B893-CB8B1DDC5504}" srcOrd="0" destOrd="0" presId="urn:microsoft.com/office/officeart/2005/8/layout/bProcess4"/>
    <dgm:cxn modelId="{1DBE617A-7A6F-4935-A0EA-5A6197DFCEB5}" type="presOf" srcId="{CC219B65-9C10-4B15-9620-A0F17B12EAEF}" destId="{A7934C21-ADF7-422F-B47B-B5A5A9ACA79D}" srcOrd="0" destOrd="0" presId="urn:microsoft.com/office/officeart/2005/8/layout/bProcess4"/>
    <dgm:cxn modelId="{3EC5E5B6-5FD2-4834-90D3-D2C1FB6FA5C1}" srcId="{80AF90E8-A1EA-4586-928D-0A2057E1CF18}" destId="{CC219B65-9C10-4B15-9620-A0F17B12EAEF}" srcOrd="2" destOrd="0" parTransId="{A6E99459-E0B4-41A3-9891-91D01B67ADC5}" sibTransId="{FDA29CFD-5F1F-43BC-A078-6D753895F6EC}"/>
    <dgm:cxn modelId="{28F5770B-3489-4D34-B2FD-153355F1100C}" type="presOf" srcId="{4D86363D-FCDF-405A-A7D2-DF82B39338D2}" destId="{032526AA-CA4F-47A6-8833-CC4E299DB417}" srcOrd="0" destOrd="0" presId="urn:microsoft.com/office/officeart/2005/8/layout/bProcess4"/>
    <dgm:cxn modelId="{CD6643CD-4C8D-403D-B4AC-B115EE39F6C3}" type="presOf" srcId="{3930EB36-6FDA-44CB-ABCF-988A9BA436E3}" destId="{4857B1DA-2507-499A-A5D5-C0764C8CAA3E}" srcOrd="0" destOrd="0" presId="urn:microsoft.com/office/officeart/2005/8/layout/bProcess4"/>
    <dgm:cxn modelId="{68F7B62E-601C-40C5-AC8A-F0F266D2FD0C}" type="presOf" srcId="{3341D280-779C-4D0C-A39C-F0051812E018}" destId="{B428A3B2-862D-4B94-BDCF-12B1A0C11E4D}" srcOrd="0" destOrd="0" presId="urn:microsoft.com/office/officeart/2005/8/layout/bProcess4"/>
    <dgm:cxn modelId="{5AFACAA5-319C-4A17-A58F-3A12EB797F9C}" type="presOf" srcId="{5A340EBB-0CD1-4298-95DA-27F72796D99F}" destId="{A68F451B-07D1-4CC8-8C09-0A6CFF49BCE8}" srcOrd="0" destOrd="0" presId="urn:microsoft.com/office/officeart/2005/8/layout/bProcess4"/>
    <dgm:cxn modelId="{2E28BB29-CBB4-492D-94A1-E63D4795C80F}" type="presOf" srcId="{E9F17FF9-84CB-4AA1-BBFD-68979FCDA9FF}" destId="{D8032C8F-07F8-49E7-971C-FCC8CFA0A309}" srcOrd="0" destOrd="0" presId="urn:microsoft.com/office/officeart/2005/8/layout/bProcess4"/>
    <dgm:cxn modelId="{7556444B-E586-4C76-B57A-7A3A3DE9645D}" srcId="{80AF90E8-A1EA-4586-928D-0A2057E1CF18}" destId="{3930EB36-6FDA-44CB-ABCF-988A9BA436E3}" srcOrd="5" destOrd="0" parTransId="{A76573DD-7B52-434F-87C3-DD21C0CB5B23}" sibTransId="{F3DCA773-1244-4B9A-9ED9-C0FDC19BC45E}"/>
    <dgm:cxn modelId="{B16DEB27-96D6-4358-A383-83FF61A1507A}" srcId="{80AF90E8-A1EA-4586-928D-0A2057E1CF18}" destId="{ADF668AF-3E12-4B37-BBC6-0A6519A77140}" srcOrd="6" destOrd="0" parTransId="{CC484BE2-A604-4608-8FEA-5A49472B3C2C}" sibTransId="{588DFA08-AA0A-4B91-9359-5C2C4488A330}"/>
    <dgm:cxn modelId="{8E2F635B-4747-43A5-9185-4AD3BA51060C}" srcId="{80AF90E8-A1EA-4586-928D-0A2057E1CF18}" destId="{9E968A82-C2C9-4708-8C57-1EDF4EDF7FAA}" srcOrd="14" destOrd="0" parTransId="{DDD34AAC-5BA3-4936-9F7A-826950BBBFBE}" sibTransId="{1033E4E2-0E1D-4720-83E1-31115BA38D7F}"/>
    <dgm:cxn modelId="{B557C2F0-830B-475D-AC16-26F5A96D1FC3}" type="presOf" srcId="{239473F6-9DFA-4CBB-B80C-93A081707E6A}" destId="{1B96307D-B72E-46CA-99C3-DF4964887F61}" srcOrd="0" destOrd="0" presId="urn:microsoft.com/office/officeart/2005/8/layout/bProcess4"/>
    <dgm:cxn modelId="{1AB7DF8D-B237-4637-BFA9-96531BF16580}" type="presOf" srcId="{2E6F1F50-D4EB-4BC1-8C05-7F4BB60E1095}" destId="{3C2DD09D-26A9-46AC-84EB-C215991B44BB}" srcOrd="0" destOrd="0" presId="urn:microsoft.com/office/officeart/2005/8/layout/bProcess4"/>
    <dgm:cxn modelId="{67B23808-77CA-4E55-8C6D-7FE0BFDE788E}" type="presOf" srcId="{85779212-6661-4725-AB42-F7048CC39118}" destId="{D3A94AF2-A702-4098-BBF8-E78BBA5F1D6D}" srcOrd="0" destOrd="0" presId="urn:microsoft.com/office/officeart/2005/8/layout/bProcess4"/>
    <dgm:cxn modelId="{F960A199-D1F8-4E7B-96E2-49F2A8F69B55}" srcId="{80AF90E8-A1EA-4586-928D-0A2057E1CF18}" destId="{5A340EBB-0CD1-4298-95DA-27F72796D99F}" srcOrd="10" destOrd="0" parTransId="{363361E4-A48B-4E35-A16F-3EA81F494ADD}" sibTransId="{9605F4AE-7274-4589-894C-1B1A3A565BF5}"/>
    <dgm:cxn modelId="{C9AFB386-382E-4180-B7E7-CF4884CB8E5F}" srcId="{80AF90E8-A1EA-4586-928D-0A2057E1CF18}" destId="{B23BB066-8472-44EB-B86D-AA6CC44B4FC0}" srcOrd="17" destOrd="0" parTransId="{BE4DD27B-62D9-435E-A8B1-FD632B88B8F0}" sibTransId="{CB760776-D8BE-4281-B64D-797A4660DBCA}"/>
    <dgm:cxn modelId="{7D213385-4BB4-41F8-A2CD-6FBCDD16C446}" srcId="{80AF90E8-A1EA-4586-928D-0A2057E1CF18}" destId="{126F406E-6F8A-49A3-979C-4B0D96D833E5}" srcOrd="13" destOrd="0" parTransId="{C4478F16-E7D2-4394-AF82-5A2B6E0FA2DF}" sibTransId="{958EC8D5-2E09-4E39-8BCC-89A628BFA8D6}"/>
    <dgm:cxn modelId="{D610F62D-A68C-45E1-BB88-1B25FFF6A19D}" type="presOf" srcId="{849F1AF7-80F2-4D94-9C87-042462653019}" destId="{25792AB4-3AFD-4F68-897D-F8B7E034032A}" srcOrd="0" destOrd="0" presId="urn:microsoft.com/office/officeart/2005/8/layout/bProcess4"/>
    <dgm:cxn modelId="{2F74F48B-3C80-4899-8A4D-74D7311D8DFC}" type="presOf" srcId="{ADF668AF-3E12-4B37-BBC6-0A6519A77140}" destId="{E035CB83-BBB4-4446-A112-13AF53CB77D8}" srcOrd="0" destOrd="0" presId="urn:microsoft.com/office/officeart/2005/8/layout/bProcess4"/>
    <dgm:cxn modelId="{32E571AA-E540-4D50-92C9-8DDCB593F3B2}" type="presOf" srcId="{80AF90E8-A1EA-4586-928D-0A2057E1CF18}" destId="{43C8D023-4A08-46DB-AFBD-6200159D864A}" srcOrd="0" destOrd="0" presId="urn:microsoft.com/office/officeart/2005/8/layout/bProcess4"/>
    <dgm:cxn modelId="{07987AE5-68BA-4930-8AEE-1C997405F0F4}" type="presOf" srcId="{5F563FDF-68E0-4532-A238-F2B4F40D514C}" destId="{1B50BFC0-B4D6-4BC3-B5E4-CF59BDFABE2A}" srcOrd="0" destOrd="0" presId="urn:microsoft.com/office/officeart/2005/8/layout/bProcess4"/>
    <dgm:cxn modelId="{E9938EE6-6E49-40E6-B5DD-D2282D788E54}" type="presOf" srcId="{B55A334A-32D7-4815-BEAC-C5617F56BF7E}" destId="{2847F226-AA4E-451E-8FA8-84F2FF69A214}" srcOrd="0" destOrd="0" presId="urn:microsoft.com/office/officeart/2005/8/layout/bProcess4"/>
    <dgm:cxn modelId="{E4DB4185-9DF4-435B-8968-A0AAB99B9C73}" srcId="{80AF90E8-A1EA-4586-928D-0A2057E1CF18}" destId="{37FE08DE-1395-40CA-9A0B-525CD6B5E831}" srcOrd="7" destOrd="0" parTransId="{5BEB020A-F5F5-4850-9980-5A4661CB3AD2}" sibTransId="{57271963-C7A4-4669-BFA6-3618812B92AB}"/>
    <dgm:cxn modelId="{E5DF1487-0793-40A6-8C3A-6CBAA480BCE7}" type="presOf" srcId="{1BA9C312-3FC6-492C-A4A5-D1F5D3C47968}" destId="{4E9A9EE7-92C5-4699-8669-56116A772C24}" srcOrd="0" destOrd="0" presId="urn:microsoft.com/office/officeart/2005/8/layout/bProcess4"/>
    <dgm:cxn modelId="{B853D8FF-309A-419A-B8BE-F396C9F64538}" type="presOf" srcId="{7C2CE862-3CB4-48E1-8966-FEEE24307D57}" destId="{D5FA8DAC-FD33-47B2-AF30-E334B817887F}" srcOrd="0" destOrd="0" presId="urn:microsoft.com/office/officeart/2005/8/layout/bProcess4"/>
    <dgm:cxn modelId="{D53B342D-636F-4CBA-8D55-04AC0D3958C4}" type="presOf" srcId="{57271963-C7A4-4669-BFA6-3618812B92AB}" destId="{102024F8-46FB-49EA-846C-1146B6011A6D}" srcOrd="0" destOrd="0" presId="urn:microsoft.com/office/officeart/2005/8/layout/bProcess4"/>
    <dgm:cxn modelId="{1C69CB60-910D-4CFD-BB6C-E78036673DE6}" type="presOf" srcId="{DFF57308-0DD1-475E-B2FA-E31BBB6A0860}" destId="{F524A3C2-2F47-4EC7-9192-FF87140744A2}" srcOrd="0" destOrd="0" presId="urn:microsoft.com/office/officeart/2005/8/layout/bProcess4"/>
    <dgm:cxn modelId="{3322B252-840F-41F1-8A0C-0D572C8B8350}" srcId="{80AF90E8-A1EA-4586-928D-0A2057E1CF18}" destId="{849F1AF7-80F2-4D94-9C87-042462653019}" srcOrd="3" destOrd="0" parTransId="{FD7D8452-F8C4-444D-AF53-6B0291A0CCC0}" sibTransId="{7C2CE862-3CB4-48E1-8966-FEEE24307D57}"/>
    <dgm:cxn modelId="{7705F3E4-D58F-47E6-AEC5-27BACCA6BD1D}" type="presOf" srcId="{B23BB066-8472-44EB-B86D-AA6CC44B4FC0}" destId="{37C0B14A-2A81-4DA6-A4DE-8B0C0FD97FC1}" srcOrd="0" destOrd="0" presId="urn:microsoft.com/office/officeart/2005/8/layout/bProcess4"/>
    <dgm:cxn modelId="{32A49BFC-A3EA-4549-844A-F84528076B00}" srcId="{80AF90E8-A1EA-4586-928D-0A2057E1CF18}" destId="{3738A1B5-90CF-463A-8275-7F3A4F3727AB}" srcOrd="8" destOrd="0" parTransId="{62E7C633-B086-48CB-B985-A62A961F08C3}" sibTransId="{83DCAC2A-0010-44F2-ABC6-53BAD1DF01BB}"/>
    <dgm:cxn modelId="{E2E2657F-3DEE-4F62-A64B-B786C08FE1E1}" type="presOf" srcId="{FDA29CFD-5F1F-43BC-A078-6D753895F6EC}" destId="{57E7BDAE-DCE6-47E5-8E9C-B8C08ABA3F38}" srcOrd="0" destOrd="0" presId="urn:microsoft.com/office/officeart/2005/8/layout/bProcess4"/>
    <dgm:cxn modelId="{21D8CC83-DBDA-4724-A583-9B46B319AACE}" srcId="{80AF90E8-A1EA-4586-928D-0A2057E1CF18}" destId="{4D86363D-FCDF-405A-A7D2-DF82B39338D2}" srcOrd="15" destOrd="0" parTransId="{319D7107-C98F-4A2E-8239-05A3900CF85D}" sibTransId="{ECAFCB15-B4D1-453D-90E4-AA983B48832A}"/>
    <dgm:cxn modelId="{262D046D-34CF-4691-9568-87C5C220F6DC}" type="presOf" srcId="{37FE08DE-1395-40CA-9A0B-525CD6B5E831}" destId="{D9FD8211-2BCA-47BB-831A-240575A82F59}" srcOrd="0" destOrd="0" presId="urn:microsoft.com/office/officeart/2005/8/layout/bProcess4"/>
    <dgm:cxn modelId="{2BDB965B-695F-4339-8D86-D38107E0553A}" type="presOf" srcId="{2215B2C2-F53F-48D4-AAEB-E3661D91D79C}" destId="{1C87ED88-6481-4D07-9F24-87B0AE319D5F}" srcOrd="0" destOrd="0" presId="urn:microsoft.com/office/officeart/2005/8/layout/bProcess4"/>
    <dgm:cxn modelId="{5F6E4A05-A398-46E1-93E6-2AB004134746}" srcId="{80AF90E8-A1EA-4586-928D-0A2057E1CF18}" destId="{85779212-6661-4725-AB42-F7048CC39118}" srcOrd="1" destOrd="0" parTransId="{6F580CD6-77FB-49E7-AB68-F4756DCC3BC8}" sibTransId="{2215B2C2-F53F-48D4-AAEB-E3661D91D79C}"/>
    <dgm:cxn modelId="{402E7BE7-09FD-4117-8A11-E14DAF96F16D}" srcId="{80AF90E8-A1EA-4586-928D-0A2057E1CF18}" destId="{B55A334A-32D7-4815-BEAC-C5617F56BF7E}" srcOrd="21" destOrd="0" parTransId="{195971A1-7E37-4C83-A020-1379109DAEB1}" sibTransId="{7FF30CD9-FB12-4C43-A294-99F48E60C536}"/>
    <dgm:cxn modelId="{10C10951-F977-4EFC-8ECD-13875A766D4B}" srcId="{80AF90E8-A1EA-4586-928D-0A2057E1CF18}" destId="{9DD5A6BA-862F-4A08-93A2-7D63C651E05C}" srcOrd="16" destOrd="0" parTransId="{2F63AA87-74B1-49C8-9AE0-9B4065810AD2}" sibTransId="{30E84380-30DC-4FA7-8248-189A4FD5B85B}"/>
    <dgm:cxn modelId="{3AEB38CB-539B-47C6-9C13-C559A196786D}" type="presOf" srcId="{32BFCE23-CACB-4BAC-9396-91B12F6DFBA7}" destId="{8AEDD5ED-C456-404E-A0C1-9FCD061445C8}" srcOrd="0" destOrd="0" presId="urn:microsoft.com/office/officeart/2005/8/layout/bProcess4"/>
    <dgm:cxn modelId="{F3775CBF-0595-43DA-A0E9-893444A16588}" type="presOf" srcId="{F83289A8-9306-490E-B0CC-4C4053ADF858}" destId="{C50EEFDE-E4D4-43BF-B3E0-15EBCF9D5439}" srcOrd="0" destOrd="0" presId="urn:microsoft.com/office/officeart/2005/8/layout/bProcess4"/>
    <dgm:cxn modelId="{245674ED-6B22-4C31-97D7-0FB63B7EB25C}" srcId="{80AF90E8-A1EA-4586-928D-0A2057E1CF18}" destId="{B0791259-9104-4F93-B8AD-DAEF5DF1EA80}" srcOrd="19" destOrd="0" parTransId="{1117126B-BFDF-432E-BA44-B7FDC3D8F145}" sibTransId="{32BFCE23-CACB-4BAC-9396-91B12F6DFBA7}"/>
    <dgm:cxn modelId="{0353A571-4EAC-4846-A2D7-C7D32E188DFB}" srcId="{80AF90E8-A1EA-4586-928D-0A2057E1CF18}" destId="{239473F6-9DFA-4CBB-B80C-93A081707E6A}" srcOrd="11" destOrd="0" parTransId="{43FB8A35-13BC-4F57-8130-ED887FC3598E}" sibTransId="{CB3E1638-FD94-40EE-8343-708E939E8EA2}"/>
    <dgm:cxn modelId="{E7C03F7D-7961-438D-B640-5903B91EAA92}" type="presOf" srcId="{CB3E1638-FD94-40EE-8343-708E939E8EA2}" destId="{6C96EEF3-BDD2-46B0-9775-DB0AD7122BCA}" srcOrd="0" destOrd="0" presId="urn:microsoft.com/office/officeart/2005/8/layout/bProcess4"/>
    <dgm:cxn modelId="{E0E9C129-ADB0-43D3-AEB7-4339DFC65CEB}" type="presOf" srcId="{9605F4AE-7274-4589-894C-1B1A3A565BF5}" destId="{EE1B6901-BA8E-4105-96F4-42FA568E72BE}" srcOrd="0" destOrd="0" presId="urn:microsoft.com/office/officeart/2005/8/layout/bProcess4"/>
    <dgm:cxn modelId="{2CE8C096-BA25-411F-9B8E-57B599CE80C5}" type="presOf" srcId="{F6C80EDB-E3A4-45B5-B30F-984A993975C6}" destId="{FC461A49-6E8A-4765-BDC6-DF366118A9DB}" srcOrd="0" destOrd="0" presId="urn:microsoft.com/office/officeart/2005/8/layout/bProcess4"/>
    <dgm:cxn modelId="{280DDE46-E361-4864-ABCD-46F02822F2E6}" type="presOf" srcId="{958EC8D5-2E09-4E39-8BCC-89A628BFA8D6}" destId="{336F546F-1FDC-4E18-95BF-FE0101C6AA07}" srcOrd="0" destOrd="0" presId="urn:microsoft.com/office/officeart/2005/8/layout/bProcess4"/>
    <dgm:cxn modelId="{101CE67B-E2B2-4A3D-A0DF-799E64986E46}" srcId="{80AF90E8-A1EA-4586-928D-0A2057E1CF18}" destId="{E9F17FF9-84CB-4AA1-BBFD-68979FCDA9FF}" srcOrd="0" destOrd="0" parTransId="{C6B99BCA-809E-4DD8-9720-C996C7A9F8B2}" sibTransId="{8CF5CB1E-B594-4492-81DF-BD90AD0D6918}"/>
    <dgm:cxn modelId="{F97AD115-C854-441B-9050-61C59E32417A}" type="presOf" srcId="{30E84380-30DC-4FA7-8248-189A4FD5B85B}" destId="{89D00D1F-943B-48DA-A8FD-AC043957EA6D}" srcOrd="0" destOrd="0" presId="urn:microsoft.com/office/officeart/2005/8/layout/bProcess4"/>
    <dgm:cxn modelId="{0D19982F-0F85-4A97-BCFA-6E65A7C00129}" srcId="{80AF90E8-A1EA-4586-928D-0A2057E1CF18}" destId="{3341D280-779C-4D0C-A39C-F0051812E018}" srcOrd="12" destOrd="0" parTransId="{F4752A0A-B395-446A-A9AB-3D77A4ED6267}" sibTransId="{E446F138-EBED-4CF1-9103-188FE94E650D}"/>
    <dgm:cxn modelId="{B3C19334-32DD-4D4C-86D7-5210D2E27CB7}" type="presOf" srcId="{F3DCA773-1244-4B9A-9ED9-C0FDC19BC45E}" destId="{49E3A27E-2060-4282-930E-AB4FCEE55EDC}" srcOrd="0" destOrd="0" presId="urn:microsoft.com/office/officeart/2005/8/layout/bProcess4"/>
    <dgm:cxn modelId="{BAE3C4CE-9FF4-4FFC-B3DA-AA874A167E2B}" type="presOf" srcId="{126F406E-6F8A-49A3-979C-4B0D96D833E5}" destId="{D46D306B-4D14-46FF-9643-9239C46D8CAC}" srcOrd="0" destOrd="0" presId="urn:microsoft.com/office/officeart/2005/8/layout/bProcess4"/>
    <dgm:cxn modelId="{E036A73C-ACC6-48D5-B446-DD3B0833955B}" srcId="{80AF90E8-A1EA-4586-928D-0A2057E1CF18}" destId="{5F563FDF-68E0-4532-A238-F2B4F40D514C}" srcOrd="9" destOrd="0" parTransId="{07F5E03E-FE05-4817-9E56-E2A4F8CB0CAA}" sibTransId="{2E6F1F50-D4EB-4BC1-8C05-7F4BB60E1095}"/>
    <dgm:cxn modelId="{FA8B924B-B616-42D1-876A-A5D68A11A172}" type="presOf" srcId="{9DD5A6BA-862F-4A08-93A2-7D63C651E05C}" destId="{E85740BD-7D7E-4766-A8DC-1A35B1C1FEC9}" srcOrd="0" destOrd="0" presId="urn:microsoft.com/office/officeart/2005/8/layout/bProcess4"/>
    <dgm:cxn modelId="{3570EA32-0E22-4126-A8E8-214E23BF4CE1}" type="presOf" srcId="{8CF5CB1E-B594-4492-81DF-BD90AD0D6918}" destId="{E9E1769E-B168-4CD8-BE69-23AD7E310373}" srcOrd="0" destOrd="0" presId="urn:microsoft.com/office/officeart/2005/8/layout/bProcess4"/>
    <dgm:cxn modelId="{0227EFB7-6136-4E63-AE61-CB2765E3DBE0}" type="presOf" srcId="{588DFA08-AA0A-4B91-9359-5C2C4488A330}" destId="{B630B3E9-C976-4814-8F94-C0C4A230ADBF}" srcOrd="0" destOrd="0" presId="urn:microsoft.com/office/officeart/2005/8/layout/bProcess4"/>
    <dgm:cxn modelId="{74AF93CE-74AC-4F09-906B-974125E4D3EC}" type="presOf" srcId="{CB760776-D8BE-4281-B64D-797A4660DBCA}" destId="{A1C00C4B-A7DA-42E9-8FF6-0516DAF3992D}" srcOrd="0" destOrd="0" presId="urn:microsoft.com/office/officeart/2005/8/layout/bProcess4"/>
    <dgm:cxn modelId="{52A8CA28-B741-4D34-9589-6E498E64E742}" srcId="{80AF90E8-A1EA-4586-928D-0A2057E1CF18}" destId="{F83289A8-9306-490E-B0CC-4C4053ADF858}" srcOrd="20" destOrd="0" parTransId="{0D525162-730F-47CA-A7E4-BD772A86EEE9}" sibTransId="{F6C80EDB-E3A4-45B5-B30F-984A993975C6}"/>
    <dgm:cxn modelId="{45C06726-190B-42BF-81A2-ED9C1DD0A5FB}" type="presParOf" srcId="{43C8D023-4A08-46DB-AFBD-6200159D864A}" destId="{7CF6DC72-9EB1-4CE1-8062-055148110538}" srcOrd="0" destOrd="0" presId="urn:microsoft.com/office/officeart/2005/8/layout/bProcess4"/>
    <dgm:cxn modelId="{3C56CE79-B968-484E-A6BC-19FCE3732502}" type="presParOf" srcId="{7CF6DC72-9EB1-4CE1-8062-055148110538}" destId="{AD9E0B91-5ADB-4817-A7F5-254540FCE215}" srcOrd="0" destOrd="0" presId="urn:microsoft.com/office/officeart/2005/8/layout/bProcess4"/>
    <dgm:cxn modelId="{F6342BAC-F38F-4C3F-8F99-70D719C0050A}" type="presParOf" srcId="{7CF6DC72-9EB1-4CE1-8062-055148110538}" destId="{D8032C8F-07F8-49E7-971C-FCC8CFA0A309}" srcOrd="1" destOrd="0" presId="urn:microsoft.com/office/officeart/2005/8/layout/bProcess4"/>
    <dgm:cxn modelId="{F841930A-2B73-4E57-829B-01A97B3BADAC}" type="presParOf" srcId="{43C8D023-4A08-46DB-AFBD-6200159D864A}" destId="{E9E1769E-B168-4CD8-BE69-23AD7E310373}" srcOrd="1" destOrd="0" presId="urn:microsoft.com/office/officeart/2005/8/layout/bProcess4"/>
    <dgm:cxn modelId="{46F1D55C-4CE6-49A1-9912-C94149F86EB8}" type="presParOf" srcId="{43C8D023-4A08-46DB-AFBD-6200159D864A}" destId="{E793C0DA-AA69-48FD-9E70-F056E6010C5E}" srcOrd="2" destOrd="0" presId="urn:microsoft.com/office/officeart/2005/8/layout/bProcess4"/>
    <dgm:cxn modelId="{814E8C88-ADCC-4947-A5EA-6BF1F09A5AE5}" type="presParOf" srcId="{E793C0DA-AA69-48FD-9E70-F056E6010C5E}" destId="{B6FE7EB7-DA67-4353-9A8C-616C8E809188}" srcOrd="0" destOrd="0" presId="urn:microsoft.com/office/officeart/2005/8/layout/bProcess4"/>
    <dgm:cxn modelId="{9413F28E-6CEF-4612-AC39-564CCE4458AE}" type="presParOf" srcId="{E793C0DA-AA69-48FD-9E70-F056E6010C5E}" destId="{D3A94AF2-A702-4098-BBF8-E78BBA5F1D6D}" srcOrd="1" destOrd="0" presId="urn:microsoft.com/office/officeart/2005/8/layout/bProcess4"/>
    <dgm:cxn modelId="{76E42A77-DF77-4827-8E0B-DC7BAE2E877B}" type="presParOf" srcId="{43C8D023-4A08-46DB-AFBD-6200159D864A}" destId="{1C87ED88-6481-4D07-9F24-87B0AE319D5F}" srcOrd="3" destOrd="0" presId="urn:microsoft.com/office/officeart/2005/8/layout/bProcess4"/>
    <dgm:cxn modelId="{96AA11ED-0BCE-4EF8-8DF2-0D3D4DC3C3E6}" type="presParOf" srcId="{43C8D023-4A08-46DB-AFBD-6200159D864A}" destId="{72ADED6A-C79C-460A-B9BC-0E47F81582D7}" srcOrd="4" destOrd="0" presId="urn:microsoft.com/office/officeart/2005/8/layout/bProcess4"/>
    <dgm:cxn modelId="{E25D0516-2EAA-402E-9B1B-2E9D3164366A}" type="presParOf" srcId="{72ADED6A-C79C-460A-B9BC-0E47F81582D7}" destId="{4C5AD02E-C3B9-49AC-A50B-79696A885476}" srcOrd="0" destOrd="0" presId="urn:microsoft.com/office/officeart/2005/8/layout/bProcess4"/>
    <dgm:cxn modelId="{686EFD9C-CB63-4805-B72E-CF787D3FCFDF}" type="presParOf" srcId="{72ADED6A-C79C-460A-B9BC-0E47F81582D7}" destId="{A7934C21-ADF7-422F-B47B-B5A5A9ACA79D}" srcOrd="1" destOrd="0" presId="urn:microsoft.com/office/officeart/2005/8/layout/bProcess4"/>
    <dgm:cxn modelId="{AFF56634-3025-4F06-A1ED-5DB80C0F0589}" type="presParOf" srcId="{43C8D023-4A08-46DB-AFBD-6200159D864A}" destId="{57E7BDAE-DCE6-47E5-8E9C-B8C08ABA3F38}" srcOrd="5" destOrd="0" presId="urn:microsoft.com/office/officeart/2005/8/layout/bProcess4"/>
    <dgm:cxn modelId="{36F3888D-53F9-4136-877A-8D865792F9F2}" type="presParOf" srcId="{43C8D023-4A08-46DB-AFBD-6200159D864A}" destId="{6C5397E5-F3BE-4F32-B8C6-7C663A7DA65C}" srcOrd="6" destOrd="0" presId="urn:microsoft.com/office/officeart/2005/8/layout/bProcess4"/>
    <dgm:cxn modelId="{5D923AF6-5592-44CF-85AE-B01981DD3E0D}" type="presParOf" srcId="{6C5397E5-F3BE-4F32-B8C6-7C663A7DA65C}" destId="{87C329B3-7004-4E96-9B2D-E12FBD2E3381}" srcOrd="0" destOrd="0" presId="urn:microsoft.com/office/officeart/2005/8/layout/bProcess4"/>
    <dgm:cxn modelId="{57C027D1-3D7E-4866-B963-F53A21A17370}" type="presParOf" srcId="{6C5397E5-F3BE-4F32-B8C6-7C663A7DA65C}" destId="{25792AB4-3AFD-4F68-897D-F8B7E034032A}" srcOrd="1" destOrd="0" presId="urn:microsoft.com/office/officeart/2005/8/layout/bProcess4"/>
    <dgm:cxn modelId="{552FAAA1-9C1A-4F45-BAFC-7A60ADF5241E}" type="presParOf" srcId="{43C8D023-4A08-46DB-AFBD-6200159D864A}" destId="{D5FA8DAC-FD33-47B2-AF30-E334B817887F}" srcOrd="7" destOrd="0" presId="urn:microsoft.com/office/officeart/2005/8/layout/bProcess4"/>
    <dgm:cxn modelId="{74FC7A71-B739-48DB-A462-7D9B5A4A302B}" type="presParOf" srcId="{43C8D023-4A08-46DB-AFBD-6200159D864A}" destId="{6122CEF0-EDE3-4782-957B-1C2FA1576804}" srcOrd="8" destOrd="0" presId="urn:microsoft.com/office/officeart/2005/8/layout/bProcess4"/>
    <dgm:cxn modelId="{9CA67B5D-E042-49A4-A4FC-F99E7328F50E}" type="presParOf" srcId="{6122CEF0-EDE3-4782-957B-1C2FA1576804}" destId="{C8C5E3A7-3FBD-4B24-BDDB-61B9A92D124D}" srcOrd="0" destOrd="0" presId="urn:microsoft.com/office/officeart/2005/8/layout/bProcess4"/>
    <dgm:cxn modelId="{31A22C15-8D48-4135-BBC2-5CBF41482287}" type="presParOf" srcId="{6122CEF0-EDE3-4782-957B-1C2FA1576804}" destId="{4E9A9EE7-92C5-4699-8669-56116A772C24}" srcOrd="1" destOrd="0" presId="urn:microsoft.com/office/officeart/2005/8/layout/bProcess4"/>
    <dgm:cxn modelId="{5A048CB3-B271-4BAF-9B14-206A370DFC90}" type="presParOf" srcId="{43C8D023-4A08-46DB-AFBD-6200159D864A}" destId="{F524A3C2-2F47-4EC7-9192-FF87140744A2}" srcOrd="9" destOrd="0" presId="urn:microsoft.com/office/officeart/2005/8/layout/bProcess4"/>
    <dgm:cxn modelId="{2891D193-0A14-4B71-9D9A-81294236CBC1}" type="presParOf" srcId="{43C8D023-4A08-46DB-AFBD-6200159D864A}" destId="{391FC91B-3709-4F26-A4A5-BD05E57ACFA2}" srcOrd="10" destOrd="0" presId="urn:microsoft.com/office/officeart/2005/8/layout/bProcess4"/>
    <dgm:cxn modelId="{7D0B4798-F266-4AA6-8A90-294AD8F22C70}" type="presParOf" srcId="{391FC91B-3709-4F26-A4A5-BD05E57ACFA2}" destId="{C3F51335-5D30-4D81-A83F-639D9F307E07}" srcOrd="0" destOrd="0" presId="urn:microsoft.com/office/officeart/2005/8/layout/bProcess4"/>
    <dgm:cxn modelId="{441EF688-9603-4B9B-9764-D2AEC2E2D130}" type="presParOf" srcId="{391FC91B-3709-4F26-A4A5-BD05E57ACFA2}" destId="{4857B1DA-2507-499A-A5D5-C0764C8CAA3E}" srcOrd="1" destOrd="0" presId="urn:microsoft.com/office/officeart/2005/8/layout/bProcess4"/>
    <dgm:cxn modelId="{BAA8BD11-7E4E-49A1-B6B4-A7C420C7383B}" type="presParOf" srcId="{43C8D023-4A08-46DB-AFBD-6200159D864A}" destId="{49E3A27E-2060-4282-930E-AB4FCEE55EDC}" srcOrd="11" destOrd="0" presId="urn:microsoft.com/office/officeart/2005/8/layout/bProcess4"/>
    <dgm:cxn modelId="{FE62FE96-AABB-4FAA-80FB-6D4AE05E313A}" type="presParOf" srcId="{43C8D023-4A08-46DB-AFBD-6200159D864A}" destId="{6A222A9C-1BE9-4CFF-BF72-D69C0110133F}" srcOrd="12" destOrd="0" presId="urn:microsoft.com/office/officeart/2005/8/layout/bProcess4"/>
    <dgm:cxn modelId="{6A467EB3-EBA1-4640-9CE6-DB0DF894D717}" type="presParOf" srcId="{6A222A9C-1BE9-4CFF-BF72-D69C0110133F}" destId="{9DCA24C9-AC31-443A-B417-F995E4531B81}" srcOrd="0" destOrd="0" presId="urn:microsoft.com/office/officeart/2005/8/layout/bProcess4"/>
    <dgm:cxn modelId="{30E18216-55A0-47B8-B00D-91B91068820B}" type="presParOf" srcId="{6A222A9C-1BE9-4CFF-BF72-D69C0110133F}" destId="{E035CB83-BBB4-4446-A112-13AF53CB77D8}" srcOrd="1" destOrd="0" presId="urn:microsoft.com/office/officeart/2005/8/layout/bProcess4"/>
    <dgm:cxn modelId="{1CC6CAD2-CFBF-4838-A6A5-109730296D85}" type="presParOf" srcId="{43C8D023-4A08-46DB-AFBD-6200159D864A}" destId="{B630B3E9-C976-4814-8F94-C0C4A230ADBF}" srcOrd="13" destOrd="0" presId="urn:microsoft.com/office/officeart/2005/8/layout/bProcess4"/>
    <dgm:cxn modelId="{6755CF0F-7A67-4A17-A3DD-1681E083A2A1}" type="presParOf" srcId="{43C8D023-4A08-46DB-AFBD-6200159D864A}" destId="{A97FF797-8A3F-4914-893E-02097BE29E8A}" srcOrd="14" destOrd="0" presId="urn:microsoft.com/office/officeart/2005/8/layout/bProcess4"/>
    <dgm:cxn modelId="{F61C79F0-DA2B-4E63-886C-CED02D4EC64B}" type="presParOf" srcId="{A97FF797-8A3F-4914-893E-02097BE29E8A}" destId="{5A65044A-DFA8-4F7D-A6E0-956032BCAD27}" srcOrd="0" destOrd="0" presId="urn:microsoft.com/office/officeart/2005/8/layout/bProcess4"/>
    <dgm:cxn modelId="{D2E715CD-CE1C-4C51-A3FF-F14AE6DF1ED4}" type="presParOf" srcId="{A97FF797-8A3F-4914-893E-02097BE29E8A}" destId="{D9FD8211-2BCA-47BB-831A-240575A82F59}" srcOrd="1" destOrd="0" presId="urn:microsoft.com/office/officeart/2005/8/layout/bProcess4"/>
    <dgm:cxn modelId="{921E8CE3-A8F0-4748-B90C-A245A4F3075F}" type="presParOf" srcId="{43C8D023-4A08-46DB-AFBD-6200159D864A}" destId="{102024F8-46FB-49EA-846C-1146B6011A6D}" srcOrd="15" destOrd="0" presId="urn:microsoft.com/office/officeart/2005/8/layout/bProcess4"/>
    <dgm:cxn modelId="{F766F4AB-0BB2-4AF2-ACAA-0422F6B69ED0}" type="presParOf" srcId="{43C8D023-4A08-46DB-AFBD-6200159D864A}" destId="{A2E1DB04-E89C-43B1-B7EE-58212005BA3D}" srcOrd="16" destOrd="0" presId="urn:microsoft.com/office/officeart/2005/8/layout/bProcess4"/>
    <dgm:cxn modelId="{61368F7C-62B9-4CB6-B9F5-0D9EDF3C0B42}" type="presParOf" srcId="{A2E1DB04-E89C-43B1-B7EE-58212005BA3D}" destId="{C51202BA-B9DC-45F2-AD89-03FEC7060355}" srcOrd="0" destOrd="0" presId="urn:microsoft.com/office/officeart/2005/8/layout/bProcess4"/>
    <dgm:cxn modelId="{51C5C420-6F00-43A6-8A70-7C1EEFF2256F}" type="presParOf" srcId="{A2E1DB04-E89C-43B1-B7EE-58212005BA3D}" destId="{5EA1F8C6-C86C-4503-BC0D-7BD03573E398}" srcOrd="1" destOrd="0" presId="urn:microsoft.com/office/officeart/2005/8/layout/bProcess4"/>
    <dgm:cxn modelId="{6207322F-BEF1-4260-B53F-37D8E6606BEB}" type="presParOf" srcId="{43C8D023-4A08-46DB-AFBD-6200159D864A}" destId="{26601E23-47AA-4256-A218-A825457954F3}" srcOrd="17" destOrd="0" presId="urn:microsoft.com/office/officeart/2005/8/layout/bProcess4"/>
    <dgm:cxn modelId="{2E1728BC-DC76-4736-A876-E666B3BD0C0C}" type="presParOf" srcId="{43C8D023-4A08-46DB-AFBD-6200159D864A}" destId="{C23A43D7-A0F1-4C9A-B826-4C0CBDCEC267}" srcOrd="18" destOrd="0" presId="urn:microsoft.com/office/officeart/2005/8/layout/bProcess4"/>
    <dgm:cxn modelId="{EEE52EE6-A6D5-46E7-B14F-8B231B69797B}" type="presParOf" srcId="{C23A43D7-A0F1-4C9A-B826-4C0CBDCEC267}" destId="{8846A12C-1553-4F83-8C62-8EBCEA55074C}" srcOrd="0" destOrd="0" presId="urn:microsoft.com/office/officeart/2005/8/layout/bProcess4"/>
    <dgm:cxn modelId="{36850D12-4CF4-4147-85BA-C2C85EC5334B}" type="presParOf" srcId="{C23A43D7-A0F1-4C9A-B826-4C0CBDCEC267}" destId="{1B50BFC0-B4D6-4BC3-B5E4-CF59BDFABE2A}" srcOrd="1" destOrd="0" presId="urn:microsoft.com/office/officeart/2005/8/layout/bProcess4"/>
    <dgm:cxn modelId="{054B4721-159F-41B2-A540-9A22AFA9E8F5}" type="presParOf" srcId="{43C8D023-4A08-46DB-AFBD-6200159D864A}" destId="{3C2DD09D-26A9-46AC-84EB-C215991B44BB}" srcOrd="19" destOrd="0" presId="urn:microsoft.com/office/officeart/2005/8/layout/bProcess4"/>
    <dgm:cxn modelId="{56A45CCE-92B4-4AAD-8C5E-3BC5926ABBFD}" type="presParOf" srcId="{43C8D023-4A08-46DB-AFBD-6200159D864A}" destId="{71078D0E-936B-46A5-9160-4F8666DDCB8F}" srcOrd="20" destOrd="0" presId="urn:microsoft.com/office/officeart/2005/8/layout/bProcess4"/>
    <dgm:cxn modelId="{4F033313-6A07-4616-8478-17AB362799DD}" type="presParOf" srcId="{71078D0E-936B-46A5-9160-4F8666DDCB8F}" destId="{21680056-C4D9-4771-912A-68D1D1FD5A4E}" srcOrd="0" destOrd="0" presId="urn:microsoft.com/office/officeart/2005/8/layout/bProcess4"/>
    <dgm:cxn modelId="{395ADFAC-CCE5-4A3E-A06B-859BC069A5F3}" type="presParOf" srcId="{71078D0E-936B-46A5-9160-4F8666DDCB8F}" destId="{A68F451B-07D1-4CC8-8C09-0A6CFF49BCE8}" srcOrd="1" destOrd="0" presId="urn:microsoft.com/office/officeart/2005/8/layout/bProcess4"/>
    <dgm:cxn modelId="{6F4B0F07-5432-4C92-8A40-0B2FBA43977D}" type="presParOf" srcId="{43C8D023-4A08-46DB-AFBD-6200159D864A}" destId="{EE1B6901-BA8E-4105-96F4-42FA568E72BE}" srcOrd="21" destOrd="0" presId="urn:microsoft.com/office/officeart/2005/8/layout/bProcess4"/>
    <dgm:cxn modelId="{604A63EE-6C3A-4679-AF96-B84A73E2D238}" type="presParOf" srcId="{43C8D023-4A08-46DB-AFBD-6200159D864A}" destId="{E1A51B93-D496-444F-A156-CAF74E809076}" srcOrd="22" destOrd="0" presId="urn:microsoft.com/office/officeart/2005/8/layout/bProcess4"/>
    <dgm:cxn modelId="{52331A60-FBBF-4A4A-91E3-2384B1B6E593}" type="presParOf" srcId="{E1A51B93-D496-444F-A156-CAF74E809076}" destId="{D95F7B6E-C843-4412-AD1C-14CA2FC5923C}" srcOrd="0" destOrd="0" presId="urn:microsoft.com/office/officeart/2005/8/layout/bProcess4"/>
    <dgm:cxn modelId="{F71B8C0E-62DE-4AB5-8DD5-01E3391FB05A}" type="presParOf" srcId="{E1A51B93-D496-444F-A156-CAF74E809076}" destId="{1B96307D-B72E-46CA-99C3-DF4964887F61}" srcOrd="1" destOrd="0" presId="urn:microsoft.com/office/officeart/2005/8/layout/bProcess4"/>
    <dgm:cxn modelId="{7CD6DBFF-83AD-4AC1-9F64-42C0F33B3050}" type="presParOf" srcId="{43C8D023-4A08-46DB-AFBD-6200159D864A}" destId="{6C96EEF3-BDD2-46B0-9775-DB0AD7122BCA}" srcOrd="23" destOrd="0" presId="urn:microsoft.com/office/officeart/2005/8/layout/bProcess4"/>
    <dgm:cxn modelId="{F8D741F4-DE66-4B22-B12C-8AB92267CA8C}" type="presParOf" srcId="{43C8D023-4A08-46DB-AFBD-6200159D864A}" destId="{6FBB79D9-3544-408E-8CD8-6C318341500A}" srcOrd="24" destOrd="0" presId="urn:microsoft.com/office/officeart/2005/8/layout/bProcess4"/>
    <dgm:cxn modelId="{1B5F81A4-7AFE-4956-8DAF-93EAC2BA2B1F}" type="presParOf" srcId="{6FBB79D9-3544-408E-8CD8-6C318341500A}" destId="{533E4288-8719-46AC-A924-EF3C8C5C8D40}" srcOrd="0" destOrd="0" presId="urn:microsoft.com/office/officeart/2005/8/layout/bProcess4"/>
    <dgm:cxn modelId="{FD867A18-E680-4F0A-ACB5-325175801147}" type="presParOf" srcId="{6FBB79D9-3544-408E-8CD8-6C318341500A}" destId="{B428A3B2-862D-4B94-BDCF-12B1A0C11E4D}" srcOrd="1" destOrd="0" presId="urn:microsoft.com/office/officeart/2005/8/layout/bProcess4"/>
    <dgm:cxn modelId="{2516B619-FB20-4CA6-88C8-B9E815BAF991}" type="presParOf" srcId="{43C8D023-4A08-46DB-AFBD-6200159D864A}" destId="{F6FC2ECE-CFEF-4937-9FA9-7386B67A1865}" srcOrd="25" destOrd="0" presId="urn:microsoft.com/office/officeart/2005/8/layout/bProcess4"/>
    <dgm:cxn modelId="{29113294-B16F-4285-9E65-04F1E90A0B19}" type="presParOf" srcId="{43C8D023-4A08-46DB-AFBD-6200159D864A}" destId="{14F0E3BB-2CCD-448D-963D-3688A898D237}" srcOrd="26" destOrd="0" presId="urn:microsoft.com/office/officeart/2005/8/layout/bProcess4"/>
    <dgm:cxn modelId="{47745887-2546-4C3D-AA04-D18BC7E6E010}" type="presParOf" srcId="{14F0E3BB-2CCD-448D-963D-3688A898D237}" destId="{446B60AE-F23C-4035-881C-0AFE6A5756DC}" srcOrd="0" destOrd="0" presId="urn:microsoft.com/office/officeart/2005/8/layout/bProcess4"/>
    <dgm:cxn modelId="{3A8D0467-D26F-45A9-9317-056665A0A66D}" type="presParOf" srcId="{14F0E3BB-2CCD-448D-963D-3688A898D237}" destId="{D46D306B-4D14-46FF-9643-9239C46D8CAC}" srcOrd="1" destOrd="0" presId="urn:microsoft.com/office/officeart/2005/8/layout/bProcess4"/>
    <dgm:cxn modelId="{8A575B72-7A66-43D5-A6E3-06DB2926485C}" type="presParOf" srcId="{43C8D023-4A08-46DB-AFBD-6200159D864A}" destId="{336F546F-1FDC-4E18-95BF-FE0101C6AA07}" srcOrd="27" destOrd="0" presId="urn:microsoft.com/office/officeart/2005/8/layout/bProcess4"/>
    <dgm:cxn modelId="{E87E5BCE-B483-4DFD-9AF3-E1E2CCAB73E2}" type="presParOf" srcId="{43C8D023-4A08-46DB-AFBD-6200159D864A}" destId="{BD498463-E07A-435B-B5E6-4BAAA18A372E}" srcOrd="28" destOrd="0" presId="urn:microsoft.com/office/officeart/2005/8/layout/bProcess4"/>
    <dgm:cxn modelId="{CA43D42A-EC1C-445A-8AAB-C1F5494337CE}" type="presParOf" srcId="{BD498463-E07A-435B-B5E6-4BAAA18A372E}" destId="{355AAA7F-3BF3-4C38-BD80-872636B0FC73}" srcOrd="0" destOrd="0" presId="urn:microsoft.com/office/officeart/2005/8/layout/bProcess4"/>
    <dgm:cxn modelId="{01E77C3C-07AF-4656-A657-33CAE18CF59B}" type="presParOf" srcId="{BD498463-E07A-435B-B5E6-4BAAA18A372E}" destId="{865CC9CB-4D1A-4BBD-89CB-C6A0A3D909BD}" srcOrd="1" destOrd="0" presId="urn:microsoft.com/office/officeart/2005/8/layout/bProcess4"/>
    <dgm:cxn modelId="{E84CBAFB-E09E-410A-BF8D-22B8BC7C6C77}" type="presParOf" srcId="{43C8D023-4A08-46DB-AFBD-6200159D864A}" destId="{71178B63-9DA7-4EB2-B893-CB8B1DDC5504}" srcOrd="29" destOrd="0" presId="urn:microsoft.com/office/officeart/2005/8/layout/bProcess4"/>
    <dgm:cxn modelId="{16075514-1B74-42AF-92A3-AFC988CC9B8D}" type="presParOf" srcId="{43C8D023-4A08-46DB-AFBD-6200159D864A}" destId="{0743C31E-A2CB-493A-A8DF-8F51DA863E01}" srcOrd="30" destOrd="0" presId="urn:microsoft.com/office/officeart/2005/8/layout/bProcess4"/>
    <dgm:cxn modelId="{8E4BC365-95AD-443B-9731-C234F417880B}" type="presParOf" srcId="{0743C31E-A2CB-493A-A8DF-8F51DA863E01}" destId="{045FEA87-D9C2-4D10-843C-930A5F98A373}" srcOrd="0" destOrd="0" presId="urn:microsoft.com/office/officeart/2005/8/layout/bProcess4"/>
    <dgm:cxn modelId="{0A451820-BC1A-4799-AEE0-B8CCDF46C2CE}" type="presParOf" srcId="{0743C31E-A2CB-493A-A8DF-8F51DA863E01}" destId="{032526AA-CA4F-47A6-8833-CC4E299DB417}" srcOrd="1" destOrd="0" presId="urn:microsoft.com/office/officeart/2005/8/layout/bProcess4"/>
    <dgm:cxn modelId="{8C308201-A71F-41E6-8A21-439BE810F66D}" type="presParOf" srcId="{43C8D023-4A08-46DB-AFBD-6200159D864A}" destId="{9B25D534-E41D-4E66-9ABC-EB6CCB037EBF}" srcOrd="31" destOrd="0" presId="urn:microsoft.com/office/officeart/2005/8/layout/bProcess4"/>
    <dgm:cxn modelId="{616FDFE3-25D2-4F1E-BEBB-C5F001CE4405}" type="presParOf" srcId="{43C8D023-4A08-46DB-AFBD-6200159D864A}" destId="{CCC07B11-DE30-4D37-9E33-7B3F122D2E49}" srcOrd="32" destOrd="0" presId="urn:microsoft.com/office/officeart/2005/8/layout/bProcess4"/>
    <dgm:cxn modelId="{C3AF3AE0-5299-4E60-8DEC-42F42050E6CE}" type="presParOf" srcId="{CCC07B11-DE30-4D37-9E33-7B3F122D2E49}" destId="{B1C23F8D-A0D2-465F-8A49-2D9214C7064B}" srcOrd="0" destOrd="0" presId="urn:microsoft.com/office/officeart/2005/8/layout/bProcess4"/>
    <dgm:cxn modelId="{7A3BE84A-0242-409D-87AA-8FDEF28BFCE4}" type="presParOf" srcId="{CCC07B11-DE30-4D37-9E33-7B3F122D2E49}" destId="{E85740BD-7D7E-4766-A8DC-1A35B1C1FEC9}" srcOrd="1" destOrd="0" presId="urn:microsoft.com/office/officeart/2005/8/layout/bProcess4"/>
    <dgm:cxn modelId="{DCC07E23-1ED0-4692-A6B0-2D38DA2AA544}" type="presParOf" srcId="{43C8D023-4A08-46DB-AFBD-6200159D864A}" destId="{89D00D1F-943B-48DA-A8FD-AC043957EA6D}" srcOrd="33" destOrd="0" presId="urn:microsoft.com/office/officeart/2005/8/layout/bProcess4"/>
    <dgm:cxn modelId="{20A15EE3-359B-456C-BA29-235E0A298C9A}" type="presParOf" srcId="{43C8D023-4A08-46DB-AFBD-6200159D864A}" destId="{DE01F387-6F26-481B-893B-A7B2038622EE}" srcOrd="34" destOrd="0" presId="urn:microsoft.com/office/officeart/2005/8/layout/bProcess4"/>
    <dgm:cxn modelId="{65BE86EC-41AF-4488-9E28-FA1CEA317601}" type="presParOf" srcId="{DE01F387-6F26-481B-893B-A7B2038622EE}" destId="{486799BC-36A2-4D59-815C-A49F4DD3A69C}" srcOrd="0" destOrd="0" presId="urn:microsoft.com/office/officeart/2005/8/layout/bProcess4"/>
    <dgm:cxn modelId="{4DF798E0-0169-4AD5-BFCB-060B4206A58D}" type="presParOf" srcId="{DE01F387-6F26-481B-893B-A7B2038622EE}" destId="{37C0B14A-2A81-4DA6-A4DE-8B0C0FD97FC1}" srcOrd="1" destOrd="0" presId="urn:microsoft.com/office/officeart/2005/8/layout/bProcess4"/>
    <dgm:cxn modelId="{273B58FC-59FC-41F1-9E64-3D44CFB1829B}" type="presParOf" srcId="{43C8D023-4A08-46DB-AFBD-6200159D864A}" destId="{A1C00C4B-A7DA-42E9-8FF6-0516DAF3992D}" srcOrd="35" destOrd="0" presId="urn:microsoft.com/office/officeart/2005/8/layout/bProcess4"/>
    <dgm:cxn modelId="{9627B387-966A-49C0-BF86-A6A4ECC15F67}" type="presParOf" srcId="{43C8D023-4A08-46DB-AFBD-6200159D864A}" destId="{E43C59BA-DBEA-4CF3-88EB-510F1480E057}" srcOrd="36" destOrd="0" presId="urn:microsoft.com/office/officeart/2005/8/layout/bProcess4"/>
    <dgm:cxn modelId="{71646C76-4AB5-4493-A775-228D9CFB5AA1}" type="presParOf" srcId="{E43C59BA-DBEA-4CF3-88EB-510F1480E057}" destId="{CB540A9B-E176-4615-BEA3-3F0C4A4D176D}" srcOrd="0" destOrd="0" presId="urn:microsoft.com/office/officeart/2005/8/layout/bProcess4"/>
    <dgm:cxn modelId="{F55D29DB-F50B-4F2A-9F67-F0E45101E058}" type="presParOf" srcId="{E43C59BA-DBEA-4CF3-88EB-510F1480E057}" destId="{944E00CC-E210-4FBC-BC90-6DD58207E1A0}" srcOrd="1" destOrd="0" presId="urn:microsoft.com/office/officeart/2005/8/layout/bProcess4"/>
    <dgm:cxn modelId="{D8EEA362-CD1B-4B73-98E3-0C7D17C17906}" type="presParOf" srcId="{43C8D023-4A08-46DB-AFBD-6200159D864A}" destId="{BB525EF4-11CA-4AF0-9D05-0890477F605B}" srcOrd="37" destOrd="0" presId="urn:microsoft.com/office/officeart/2005/8/layout/bProcess4"/>
    <dgm:cxn modelId="{6E211E0A-FD86-430D-BC14-5CCD436F5302}" type="presParOf" srcId="{43C8D023-4A08-46DB-AFBD-6200159D864A}" destId="{CC1DC260-BE15-4F47-87F2-8C3EEC978AF9}" srcOrd="38" destOrd="0" presId="urn:microsoft.com/office/officeart/2005/8/layout/bProcess4"/>
    <dgm:cxn modelId="{25C1C30F-B707-41FB-9BE2-043C13EC0FCB}" type="presParOf" srcId="{CC1DC260-BE15-4F47-87F2-8C3EEC978AF9}" destId="{47ED8017-C136-45AF-AB20-EBF3191025AD}" srcOrd="0" destOrd="0" presId="urn:microsoft.com/office/officeart/2005/8/layout/bProcess4"/>
    <dgm:cxn modelId="{C4DDA418-BF68-4403-B320-33D2F2747A49}" type="presParOf" srcId="{CC1DC260-BE15-4F47-87F2-8C3EEC978AF9}" destId="{AB49DBB2-8BF6-48D2-AD6B-E4C56A5DA215}" srcOrd="1" destOrd="0" presId="urn:microsoft.com/office/officeart/2005/8/layout/bProcess4"/>
    <dgm:cxn modelId="{E5A0E91B-9571-453D-A57E-FD3B2E955CB9}" type="presParOf" srcId="{43C8D023-4A08-46DB-AFBD-6200159D864A}" destId="{8AEDD5ED-C456-404E-A0C1-9FCD061445C8}" srcOrd="39" destOrd="0" presId="urn:microsoft.com/office/officeart/2005/8/layout/bProcess4"/>
    <dgm:cxn modelId="{DF9A6AF3-E376-4F97-9ED0-54701A772748}" type="presParOf" srcId="{43C8D023-4A08-46DB-AFBD-6200159D864A}" destId="{841806DD-7523-4B3F-AB4C-B3A82D8547BD}" srcOrd="40" destOrd="0" presId="urn:microsoft.com/office/officeart/2005/8/layout/bProcess4"/>
    <dgm:cxn modelId="{D3EFB393-9FB1-4439-A796-8D789CFFAB18}" type="presParOf" srcId="{841806DD-7523-4B3F-AB4C-B3A82D8547BD}" destId="{36102350-1BEA-4C65-837B-1A66EC1B7B5D}" srcOrd="0" destOrd="0" presId="urn:microsoft.com/office/officeart/2005/8/layout/bProcess4"/>
    <dgm:cxn modelId="{A8FBB53D-9183-4F5B-874A-7AEAD291161B}" type="presParOf" srcId="{841806DD-7523-4B3F-AB4C-B3A82D8547BD}" destId="{C50EEFDE-E4D4-43BF-B3E0-15EBCF9D5439}" srcOrd="1" destOrd="0" presId="urn:microsoft.com/office/officeart/2005/8/layout/bProcess4"/>
    <dgm:cxn modelId="{BA26E534-08EC-4299-8514-5672E905F9EB}" type="presParOf" srcId="{43C8D023-4A08-46DB-AFBD-6200159D864A}" destId="{FC461A49-6E8A-4765-BDC6-DF366118A9DB}" srcOrd="41" destOrd="0" presId="urn:microsoft.com/office/officeart/2005/8/layout/bProcess4"/>
    <dgm:cxn modelId="{2276C85D-4EB2-4E6C-BD42-4C3C64B4EDAC}" type="presParOf" srcId="{43C8D023-4A08-46DB-AFBD-6200159D864A}" destId="{A22ECE52-F2AE-43AB-9100-6F167B8A373B}" srcOrd="42" destOrd="0" presId="urn:microsoft.com/office/officeart/2005/8/layout/bProcess4"/>
    <dgm:cxn modelId="{EDBC13AC-D45C-45BC-A66B-711107A9F2F1}" type="presParOf" srcId="{A22ECE52-F2AE-43AB-9100-6F167B8A373B}" destId="{11463E47-5635-4402-9E35-D2128D49955F}" srcOrd="0" destOrd="0" presId="urn:microsoft.com/office/officeart/2005/8/layout/bProcess4"/>
    <dgm:cxn modelId="{AB02B890-76D9-4917-B5F7-1C5167C693DE}" type="presParOf" srcId="{A22ECE52-F2AE-43AB-9100-6F167B8A373B}" destId="{2847F226-AA4E-451E-8FA8-84F2FF69A214}" srcOrd="1" destOrd="0" presId="urn:microsoft.com/office/officeart/2005/8/layout/bProcess4"/>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0AF90E8-A1EA-4586-928D-0A2057E1CF18}"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E9F17FF9-84CB-4AA1-BBFD-68979FCDA9FF}">
      <dgm:prSet phldrT="[Text]" custT="1"/>
      <dgm:spPr>
        <a:solidFill>
          <a:schemeClr val="accent4"/>
        </a:solidFill>
        <a:ln>
          <a:noFill/>
        </a:ln>
      </dgm:spPr>
      <dgm:t>
        <a:bodyPr/>
        <a:lstStyle/>
        <a:p>
          <a:r>
            <a:rPr lang="en-US" sz="900" dirty="0" smtClean="0"/>
            <a:t>Release Management</a:t>
          </a:r>
          <a:endParaRPr lang="en-US" sz="900" dirty="0"/>
        </a:p>
      </dgm:t>
    </dgm:pt>
    <dgm:pt modelId="{C6B99BCA-809E-4DD8-9720-C996C7A9F8B2}" type="parTrans" cxnId="{101CE67B-E2B2-4A3D-A0DF-799E64986E46}">
      <dgm:prSet/>
      <dgm:spPr/>
      <dgm:t>
        <a:bodyPr/>
        <a:lstStyle/>
        <a:p>
          <a:endParaRPr lang="en-US"/>
        </a:p>
      </dgm:t>
    </dgm:pt>
    <dgm:pt modelId="{8CF5CB1E-B594-4492-81DF-BD90AD0D6918}" type="sibTrans" cxnId="{101CE67B-E2B2-4A3D-A0DF-799E64986E46}">
      <dgm:prSet/>
      <dgm:spPr>
        <a:solidFill>
          <a:schemeClr val="tx1">
            <a:lumMod val="50000"/>
            <a:lumOff val="50000"/>
          </a:schemeClr>
        </a:solidFill>
      </dgm:spPr>
      <dgm:t>
        <a:bodyPr/>
        <a:lstStyle/>
        <a:p>
          <a:endParaRPr lang="en-US"/>
        </a:p>
      </dgm:t>
    </dgm:pt>
    <dgm:pt modelId="{85779212-6661-4725-AB42-F7048CC39118}">
      <dgm:prSet phldrT="[Text]" custT="1"/>
      <dgm:spPr>
        <a:solidFill>
          <a:schemeClr val="bg2"/>
        </a:solidFill>
        <a:ln>
          <a:noFill/>
        </a:ln>
      </dgm:spPr>
      <dgm:t>
        <a:bodyPr/>
        <a:lstStyle/>
        <a:p>
          <a:r>
            <a:rPr lang="en-US" sz="900" dirty="0" smtClean="0"/>
            <a:t>Collaboration/ KM Management</a:t>
          </a:r>
          <a:endParaRPr lang="en-US" sz="900" dirty="0"/>
        </a:p>
      </dgm:t>
    </dgm:pt>
    <dgm:pt modelId="{6F580CD6-77FB-49E7-AB68-F4756DCC3BC8}" type="parTrans" cxnId="{5F6E4A05-A398-46E1-93E6-2AB004134746}">
      <dgm:prSet/>
      <dgm:spPr/>
      <dgm:t>
        <a:bodyPr/>
        <a:lstStyle/>
        <a:p>
          <a:endParaRPr lang="en-US"/>
        </a:p>
      </dgm:t>
    </dgm:pt>
    <dgm:pt modelId="{2215B2C2-F53F-48D4-AAEB-E3661D91D79C}" type="sibTrans" cxnId="{5F6E4A05-A398-46E1-93E6-2AB004134746}">
      <dgm:prSet/>
      <dgm:spPr>
        <a:solidFill>
          <a:schemeClr val="tx1">
            <a:lumMod val="50000"/>
            <a:lumOff val="50000"/>
          </a:schemeClr>
        </a:solidFill>
      </dgm:spPr>
      <dgm:t>
        <a:bodyPr/>
        <a:lstStyle/>
        <a:p>
          <a:endParaRPr lang="en-US"/>
        </a:p>
      </dgm:t>
    </dgm:pt>
    <dgm:pt modelId="{849F1AF7-80F2-4D94-9C87-042462653019}">
      <dgm:prSet phldrT="[Text]" custT="1"/>
      <dgm:spPr>
        <a:solidFill>
          <a:schemeClr val="bg2"/>
        </a:solidFill>
        <a:ln>
          <a:noFill/>
        </a:ln>
      </dgm:spPr>
      <dgm:t>
        <a:bodyPr/>
        <a:lstStyle/>
        <a:p>
          <a:r>
            <a:rPr lang="en-US" sz="900" dirty="0" smtClean="0"/>
            <a:t>Code Checkout</a:t>
          </a:r>
          <a:endParaRPr lang="en-US" sz="900" dirty="0"/>
        </a:p>
      </dgm:t>
    </dgm:pt>
    <dgm:pt modelId="{FD7D8452-F8C4-444D-AF53-6B0291A0CCC0}" type="parTrans" cxnId="{3322B252-840F-41F1-8A0C-0D572C8B8350}">
      <dgm:prSet/>
      <dgm:spPr/>
      <dgm:t>
        <a:bodyPr/>
        <a:lstStyle/>
        <a:p>
          <a:endParaRPr lang="en-US"/>
        </a:p>
      </dgm:t>
    </dgm:pt>
    <dgm:pt modelId="{7C2CE862-3CB4-48E1-8966-FEEE24307D57}" type="sibTrans" cxnId="{3322B252-840F-41F1-8A0C-0D572C8B8350}">
      <dgm:prSet/>
      <dgm:spPr>
        <a:solidFill>
          <a:schemeClr val="tx1">
            <a:lumMod val="50000"/>
            <a:lumOff val="50000"/>
          </a:schemeClr>
        </a:solidFill>
      </dgm:spPr>
      <dgm:t>
        <a:bodyPr/>
        <a:lstStyle/>
        <a:p>
          <a:endParaRPr lang="en-US"/>
        </a:p>
      </dgm:t>
    </dgm:pt>
    <dgm:pt modelId="{1BA9C312-3FC6-492C-A4A5-D1F5D3C47968}">
      <dgm:prSet phldrT="[Text]" custT="1"/>
      <dgm:spPr>
        <a:solidFill>
          <a:schemeClr val="bg2"/>
        </a:solidFill>
        <a:ln>
          <a:noFill/>
        </a:ln>
      </dgm:spPr>
      <dgm:t>
        <a:bodyPr/>
        <a:lstStyle/>
        <a:p>
          <a:r>
            <a:rPr lang="en-US" sz="900" dirty="0" smtClean="0"/>
            <a:t>Code Construction</a:t>
          </a:r>
          <a:endParaRPr lang="en-US" sz="900" dirty="0"/>
        </a:p>
      </dgm:t>
    </dgm:pt>
    <dgm:pt modelId="{A713E7FF-1CAD-4740-B3E0-EB45F4AAC7BE}" type="parTrans" cxnId="{35D90AA5-A97B-4370-B278-E9458FFB9BA6}">
      <dgm:prSet/>
      <dgm:spPr/>
      <dgm:t>
        <a:bodyPr/>
        <a:lstStyle/>
        <a:p>
          <a:endParaRPr lang="en-US"/>
        </a:p>
      </dgm:t>
    </dgm:pt>
    <dgm:pt modelId="{DFF57308-0DD1-475E-B2FA-E31BBB6A0860}" type="sibTrans" cxnId="{35D90AA5-A97B-4370-B278-E9458FFB9BA6}">
      <dgm:prSet/>
      <dgm:spPr>
        <a:solidFill>
          <a:schemeClr val="tx1">
            <a:lumMod val="50000"/>
            <a:lumOff val="50000"/>
          </a:schemeClr>
        </a:solidFill>
      </dgm:spPr>
      <dgm:t>
        <a:bodyPr/>
        <a:lstStyle/>
        <a:p>
          <a:endParaRPr lang="en-US"/>
        </a:p>
      </dgm:t>
    </dgm:pt>
    <dgm:pt modelId="{3930EB36-6FDA-44CB-ABCF-988A9BA436E3}">
      <dgm:prSet phldrT="[Text]" custT="1"/>
      <dgm:spPr>
        <a:solidFill>
          <a:schemeClr val="bg2"/>
        </a:solidFill>
        <a:ln>
          <a:noFill/>
        </a:ln>
      </dgm:spPr>
      <dgm:t>
        <a:bodyPr/>
        <a:lstStyle/>
        <a:p>
          <a:r>
            <a:rPr lang="en-US" sz="900" dirty="0" smtClean="0"/>
            <a:t>Unit Testing</a:t>
          </a:r>
          <a:endParaRPr lang="en-US" sz="900" dirty="0"/>
        </a:p>
      </dgm:t>
    </dgm:pt>
    <dgm:pt modelId="{A76573DD-7B52-434F-87C3-DD21C0CB5B23}" type="parTrans" cxnId="{7556444B-E586-4C76-B57A-7A3A3DE9645D}">
      <dgm:prSet/>
      <dgm:spPr/>
      <dgm:t>
        <a:bodyPr/>
        <a:lstStyle/>
        <a:p>
          <a:endParaRPr lang="en-US"/>
        </a:p>
      </dgm:t>
    </dgm:pt>
    <dgm:pt modelId="{F3DCA773-1244-4B9A-9ED9-C0FDC19BC45E}" type="sibTrans" cxnId="{7556444B-E586-4C76-B57A-7A3A3DE9645D}">
      <dgm:prSet/>
      <dgm:spPr>
        <a:solidFill>
          <a:schemeClr val="tx1">
            <a:lumMod val="50000"/>
            <a:lumOff val="50000"/>
          </a:schemeClr>
        </a:solidFill>
      </dgm:spPr>
      <dgm:t>
        <a:bodyPr/>
        <a:lstStyle/>
        <a:p>
          <a:endParaRPr lang="en-US"/>
        </a:p>
      </dgm:t>
    </dgm:pt>
    <dgm:pt modelId="{ADF668AF-3E12-4B37-BBC6-0A6519A77140}">
      <dgm:prSet phldrT="[Text]" custT="1"/>
      <dgm:spPr>
        <a:solidFill>
          <a:schemeClr val="accent4"/>
        </a:solidFill>
        <a:ln>
          <a:noFill/>
        </a:ln>
      </dgm:spPr>
      <dgm:t>
        <a:bodyPr/>
        <a:lstStyle/>
        <a:p>
          <a:r>
            <a:rPr lang="en-US" sz="900" dirty="0" smtClean="0"/>
            <a:t>Code Review</a:t>
          </a:r>
          <a:endParaRPr lang="en-US" sz="900" dirty="0"/>
        </a:p>
      </dgm:t>
    </dgm:pt>
    <dgm:pt modelId="{CC484BE2-A604-4608-8FEA-5A49472B3C2C}" type="parTrans" cxnId="{B16DEB27-96D6-4358-A383-83FF61A1507A}">
      <dgm:prSet/>
      <dgm:spPr/>
      <dgm:t>
        <a:bodyPr/>
        <a:lstStyle/>
        <a:p>
          <a:endParaRPr lang="en-US"/>
        </a:p>
      </dgm:t>
    </dgm:pt>
    <dgm:pt modelId="{588DFA08-AA0A-4B91-9359-5C2C4488A330}" type="sibTrans" cxnId="{B16DEB27-96D6-4358-A383-83FF61A1507A}">
      <dgm:prSet/>
      <dgm:spPr>
        <a:solidFill>
          <a:schemeClr val="tx1">
            <a:lumMod val="50000"/>
            <a:lumOff val="50000"/>
          </a:schemeClr>
        </a:solidFill>
      </dgm:spPr>
      <dgm:t>
        <a:bodyPr/>
        <a:lstStyle/>
        <a:p>
          <a:endParaRPr lang="en-US"/>
        </a:p>
      </dgm:t>
    </dgm:pt>
    <dgm:pt modelId="{37FE08DE-1395-40CA-9A0B-525CD6B5E831}">
      <dgm:prSet phldrT="[Text]" custT="1"/>
      <dgm:spPr>
        <a:solidFill>
          <a:schemeClr val="bg2"/>
        </a:solidFill>
        <a:ln>
          <a:noFill/>
        </a:ln>
      </dgm:spPr>
      <dgm:t>
        <a:bodyPr/>
        <a:lstStyle/>
        <a:p>
          <a:r>
            <a:rPr lang="en-US" sz="900" dirty="0" smtClean="0"/>
            <a:t>Code Conflict Management</a:t>
          </a:r>
          <a:endParaRPr lang="en-US" sz="900" dirty="0"/>
        </a:p>
      </dgm:t>
    </dgm:pt>
    <dgm:pt modelId="{5BEB020A-F5F5-4850-9980-5A4661CB3AD2}" type="parTrans" cxnId="{E4DB4185-9DF4-435B-8968-A0AAB99B9C73}">
      <dgm:prSet/>
      <dgm:spPr/>
      <dgm:t>
        <a:bodyPr/>
        <a:lstStyle/>
        <a:p>
          <a:endParaRPr lang="en-US"/>
        </a:p>
      </dgm:t>
    </dgm:pt>
    <dgm:pt modelId="{57271963-C7A4-4669-BFA6-3618812B92AB}" type="sibTrans" cxnId="{E4DB4185-9DF4-435B-8968-A0AAB99B9C73}">
      <dgm:prSet/>
      <dgm:spPr>
        <a:solidFill>
          <a:schemeClr val="tx1">
            <a:lumMod val="50000"/>
            <a:lumOff val="50000"/>
          </a:schemeClr>
        </a:solidFill>
      </dgm:spPr>
      <dgm:t>
        <a:bodyPr/>
        <a:lstStyle/>
        <a:p>
          <a:endParaRPr lang="en-US"/>
        </a:p>
      </dgm:t>
    </dgm:pt>
    <dgm:pt modelId="{3738A1B5-90CF-463A-8275-7F3A4F3727AB}">
      <dgm:prSet phldrT="[Text]" custT="1"/>
      <dgm:spPr>
        <a:solidFill>
          <a:schemeClr val="bg2"/>
        </a:solidFill>
        <a:ln>
          <a:noFill/>
        </a:ln>
      </dgm:spPr>
      <dgm:t>
        <a:bodyPr/>
        <a:lstStyle/>
        <a:p>
          <a:r>
            <a:rPr lang="en-US" sz="900" dirty="0" smtClean="0"/>
            <a:t>Version Management</a:t>
          </a:r>
          <a:endParaRPr lang="en-US" sz="900" dirty="0"/>
        </a:p>
      </dgm:t>
    </dgm:pt>
    <dgm:pt modelId="{62E7C633-B086-48CB-B985-A62A961F08C3}" type="parTrans" cxnId="{32A49BFC-A3EA-4549-844A-F84528076B00}">
      <dgm:prSet/>
      <dgm:spPr/>
      <dgm:t>
        <a:bodyPr/>
        <a:lstStyle/>
        <a:p>
          <a:endParaRPr lang="en-US"/>
        </a:p>
      </dgm:t>
    </dgm:pt>
    <dgm:pt modelId="{83DCAC2A-0010-44F2-ABC6-53BAD1DF01BB}" type="sibTrans" cxnId="{32A49BFC-A3EA-4549-844A-F84528076B00}">
      <dgm:prSet/>
      <dgm:spPr>
        <a:solidFill>
          <a:schemeClr val="tx1">
            <a:lumMod val="50000"/>
            <a:lumOff val="50000"/>
          </a:schemeClr>
        </a:solidFill>
      </dgm:spPr>
      <dgm:t>
        <a:bodyPr/>
        <a:lstStyle/>
        <a:p>
          <a:endParaRPr lang="en-US"/>
        </a:p>
      </dgm:t>
    </dgm:pt>
    <dgm:pt modelId="{5F563FDF-68E0-4532-A238-F2B4F40D514C}">
      <dgm:prSet phldrT="[Text]" custT="1"/>
      <dgm:spPr>
        <a:solidFill>
          <a:schemeClr val="bg2"/>
        </a:solidFill>
        <a:ln>
          <a:noFill/>
        </a:ln>
      </dgm:spPr>
      <dgm:t>
        <a:bodyPr/>
        <a:lstStyle/>
        <a:p>
          <a:r>
            <a:rPr lang="en-US" sz="900" dirty="0" smtClean="0"/>
            <a:t>Build</a:t>
          </a:r>
          <a:endParaRPr lang="en-US" sz="900" dirty="0"/>
        </a:p>
      </dgm:t>
    </dgm:pt>
    <dgm:pt modelId="{07F5E03E-FE05-4817-9E56-E2A4F8CB0CAA}" type="parTrans" cxnId="{E036A73C-ACC6-48D5-B446-DD3B0833955B}">
      <dgm:prSet/>
      <dgm:spPr/>
      <dgm:t>
        <a:bodyPr/>
        <a:lstStyle/>
        <a:p>
          <a:endParaRPr lang="en-US"/>
        </a:p>
      </dgm:t>
    </dgm:pt>
    <dgm:pt modelId="{2E6F1F50-D4EB-4BC1-8C05-7F4BB60E1095}" type="sibTrans" cxnId="{E036A73C-ACC6-48D5-B446-DD3B0833955B}">
      <dgm:prSet/>
      <dgm:spPr>
        <a:solidFill>
          <a:schemeClr val="tx1">
            <a:lumMod val="50000"/>
            <a:lumOff val="50000"/>
          </a:schemeClr>
        </a:solidFill>
      </dgm:spPr>
      <dgm:t>
        <a:bodyPr/>
        <a:lstStyle/>
        <a:p>
          <a:endParaRPr lang="en-US"/>
        </a:p>
      </dgm:t>
    </dgm:pt>
    <dgm:pt modelId="{9E968A82-C2C9-4708-8C57-1EDF4EDF7FAA}">
      <dgm:prSet phldrT="[Text]" custT="1"/>
      <dgm:spPr>
        <a:solidFill>
          <a:schemeClr val="bg2"/>
        </a:solidFill>
        <a:ln>
          <a:noFill/>
        </a:ln>
      </dgm:spPr>
      <dgm:t>
        <a:bodyPr/>
        <a:lstStyle/>
        <a:p>
          <a:r>
            <a:rPr lang="en-US" sz="900" dirty="0" smtClean="0">
              <a:solidFill>
                <a:schemeClr val="bg1"/>
              </a:solidFill>
            </a:rPr>
            <a:t>Functional Testing</a:t>
          </a:r>
          <a:endParaRPr lang="en-US" sz="900" dirty="0">
            <a:solidFill>
              <a:schemeClr val="bg1"/>
            </a:solidFill>
          </a:endParaRPr>
        </a:p>
      </dgm:t>
    </dgm:pt>
    <dgm:pt modelId="{DDD34AAC-5BA3-4936-9F7A-826950BBBFBE}" type="parTrans" cxnId="{8E2F635B-4747-43A5-9185-4AD3BA51060C}">
      <dgm:prSet/>
      <dgm:spPr/>
      <dgm:t>
        <a:bodyPr/>
        <a:lstStyle/>
        <a:p>
          <a:endParaRPr lang="en-US"/>
        </a:p>
      </dgm:t>
    </dgm:pt>
    <dgm:pt modelId="{1033E4E2-0E1D-4720-83E1-31115BA38D7F}" type="sibTrans" cxnId="{8E2F635B-4747-43A5-9185-4AD3BA51060C}">
      <dgm:prSet/>
      <dgm:spPr>
        <a:solidFill>
          <a:schemeClr val="tx1">
            <a:lumMod val="50000"/>
            <a:lumOff val="50000"/>
          </a:schemeClr>
        </a:solidFill>
      </dgm:spPr>
      <dgm:t>
        <a:bodyPr/>
        <a:lstStyle/>
        <a:p>
          <a:endParaRPr lang="en-US"/>
        </a:p>
      </dgm:t>
    </dgm:pt>
    <dgm:pt modelId="{126F406E-6F8A-49A3-979C-4B0D96D833E5}">
      <dgm:prSet phldrT="[Text]" custT="1"/>
      <dgm:spPr>
        <a:solidFill>
          <a:schemeClr val="bg2"/>
        </a:solidFill>
        <a:ln>
          <a:noFill/>
        </a:ln>
      </dgm:spPr>
      <dgm:t>
        <a:bodyPr/>
        <a:lstStyle/>
        <a:p>
          <a:r>
            <a:rPr lang="en-US" sz="900" dirty="0" smtClean="0"/>
            <a:t>Deployment – QA/SIT/UAT</a:t>
          </a:r>
          <a:endParaRPr lang="en-US" sz="900" dirty="0"/>
        </a:p>
      </dgm:t>
    </dgm:pt>
    <dgm:pt modelId="{C4478F16-E7D2-4394-AF82-5A2B6E0FA2DF}" type="parTrans" cxnId="{7D213385-4BB4-41F8-A2CD-6FBCDD16C446}">
      <dgm:prSet/>
      <dgm:spPr/>
      <dgm:t>
        <a:bodyPr/>
        <a:lstStyle/>
        <a:p>
          <a:endParaRPr lang="en-US"/>
        </a:p>
      </dgm:t>
    </dgm:pt>
    <dgm:pt modelId="{958EC8D5-2E09-4E39-8BCC-89A628BFA8D6}" type="sibTrans" cxnId="{7D213385-4BB4-41F8-A2CD-6FBCDD16C446}">
      <dgm:prSet/>
      <dgm:spPr>
        <a:solidFill>
          <a:schemeClr val="tx1">
            <a:lumMod val="50000"/>
            <a:lumOff val="50000"/>
          </a:schemeClr>
        </a:solidFill>
      </dgm:spPr>
      <dgm:t>
        <a:bodyPr/>
        <a:lstStyle/>
        <a:p>
          <a:endParaRPr lang="en-US"/>
        </a:p>
      </dgm:t>
    </dgm:pt>
    <dgm:pt modelId="{3341D280-779C-4D0C-A39C-F0051812E018}">
      <dgm:prSet phldrT="[Text]" custT="1"/>
      <dgm:spPr>
        <a:solidFill>
          <a:schemeClr val="bg2"/>
        </a:solidFill>
        <a:ln>
          <a:noFill/>
        </a:ln>
      </dgm:spPr>
      <dgm:t>
        <a:bodyPr/>
        <a:lstStyle/>
        <a:p>
          <a:r>
            <a:rPr lang="en-US" sz="900" dirty="0" smtClean="0"/>
            <a:t>Package and Artifact </a:t>
          </a:r>
          <a:r>
            <a:rPr lang="en-US" sz="900" dirty="0" err="1" smtClean="0"/>
            <a:t>Mngt</a:t>
          </a:r>
          <a:r>
            <a:rPr lang="en-US" sz="900" dirty="0" smtClean="0"/>
            <a:t>.</a:t>
          </a:r>
          <a:endParaRPr lang="en-US" sz="900" dirty="0"/>
        </a:p>
      </dgm:t>
    </dgm:pt>
    <dgm:pt modelId="{F4752A0A-B395-446A-A9AB-3D77A4ED6267}" type="parTrans" cxnId="{0D19982F-0F85-4A97-BCFA-6E65A7C00129}">
      <dgm:prSet/>
      <dgm:spPr/>
      <dgm:t>
        <a:bodyPr/>
        <a:lstStyle/>
        <a:p>
          <a:endParaRPr lang="en-US"/>
        </a:p>
      </dgm:t>
    </dgm:pt>
    <dgm:pt modelId="{E446F138-EBED-4CF1-9103-188FE94E650D}" type="sibTrans" cxnId="{0D19982F-0F85-4A97-BCFA-6E65A7C00129}">
      <dgm:prSet/>
      <dgm:spPr>
        <a:solidFill>
          <a:schemeClr val="tx1">
            <a:lumMod val="50000"/>
            <a:lumOff val="50000"/>
          </a:schemeClr>
        </a:solidFill>
      </dgm:spPr>
      <dgm:t>
        <a:bodyPr/>
        <a:lstStyle/>
        <a:p>
          <a:endParaRPr lang="en-US"/>
        </a:p>
      </dgm:t>
    </dgm:pt>
    <dgm:pt modelId="{239473F6-9DFA-4CBB-B80C-93A081707E6A}">
      <dgm:prSet phldrT="[Text]" custT="1"/>
      <dgm:spPr>
        <a:solidFill>
          <a:schemeClr val="bg2"/>
        </a:solidFill>
        <a:ln>
          <a:noFill/>
        </a:ln>
      </dgm:spPr>
      <dgm:t>
        <a:bodyPr/>
        <a:lstStyle/>
        <a:p>
          <a:r>
            <a:rPr lang="en-US" sz="900" dirty="0" smtClean="0"/>
            <a:t>Tag Release</a:t>
          </a:r>
          <a:endParaRPr lang="en-US" sz="900" dirty="0"/>
        </a:p>
      </dgm:t>
    </dgm:pt>
    <dgm:pt modelId="{43FB8A35-13BC-4F57-8130-ED887FC3598E}" type="parTrans" cxnId="{0353A571-4EAC-4846-A2D7-C7D32E188DFB}">
      <dgm:prSet/>
      <dgm:spPr/>
      <dgm:t>
        <a:bodyPr/>
        <a:lstStyle/>
        <a:p>
          <a:endParaRPr lang="en-US"/>
        </a:p>
      </dgm:t>
    </dgm:pt>
    <dgm:pt modelId="{CB3E1638-FD94-40EE-8343-708E939E8EA2}" type="sibTrans" cxnId="{0353A571-4EAC-4846-A2D7-C7D32E188DFB}">
      <dgm:prSet/>
      <dgm:spPr>
        <a:solidFill>
          <a:schemeClr val="tx1">
            <a:lumMod val="50000"/>
            <a:lumOff val="50000"/>
          </a:schemeClr>
        </a:solidFill>
      </dgm:spPr>
      <dgm:t>
        <a:bodyPr/>
        <a:lstStyle/>
        <a:p>
          <a:endParaRPr lang="en-US"/>
        </a:p>
      </dgm:t>
    </dgm:pt>
    <dgm:pt modelId="{5A340EBB-0CD1-4298-95DA-27F72796D99F}">
      <dgm:prSet phldrT="[Text]" custT="1"/>
      <dgm:spPr>
        <a:solidFill>
          <a:schemeClr val="bg2"/>
        </a:solidFill>
        <a:ln>
          <a:noFill/>
        </a:ln>
      </dgm:spPr>
      <dgm:t>
        <a:bodyPr/>
        <a:lstStyle/>
        <a:p>
          <a:r>
            <a:rPr lang="en-US" sz="900" dirty="0" smtClean="0"/>
            <a:t>Static/Dynamic Code Analysis</a:t>
          </a:r>
          <a:endParaRPr lang="en-US" sz="900" dirty="0"/>
        </a:p>
      </dgm:t>
    </dgm:pt>
    <dgm:pt modelId="{363361E4-A48B-4E35-A16F-3EA81F494ADD}" type="parTrans" cxnId="{F960A199-D1F8-4E7B-96E2-49F2A8F69B55}">
      <dgm:prSet/>
      <dgm:spPr/>
      <dgm:t>
        <a:bodyPr/>
        <a:lstStyle/>
        <a:p>
          <a:endParaRPr lang="en-US"/>
        </a:p>
      </dgm:t>
    </dgm:pt>
    <dgm:pt modelId="{9605F4AE-7274-4589-894C-1B1A3A565BF5}" type="sibTrans" cxnId="{F960A199-D1F8-4E7B-96E2-49F2A8F69B55}">
      <dgm:prSet/>
      <dgm:spPr>
        <a:solidFill>
          <a:schemeClr val="tx1">
            <a:lumMod val="50000"/>
            <a:lumOff val="50000"/>
          </a:schemeClr>
        </a:solidFill>
      </dgm:spPr>
      <dgm:t>
        <a:bodyPr/>
        <a:lstStyle/>
        <a:p>
          <a:endParaRPr lang="en-US"/>
        </a:p>
      </dgm:t>
    </dgm:pt>
    <dgm:pt modelId="{4D86363D-FCDF-405A-A7D2-DF82B39338D2}">
      <dgm:prSet phldrT="[Text]" custT="1"/>
      <dgm:spPr>
        <a:solidFill>
          <a:schemeClr val="accent4"/>
        </a:solidFill>
        <a:ln>
          <a:noFill/>
        </a:ln>
      </dgm:spPr>
      <dgm:t>
        <a:bodyPr/>
        <a:lstStyle/>
        <a:p>
          <a:r>
            <a:rPr lang="en-US" sz="900" dirty="0" smtClean="0"/>
            <a:t>Integration Testing</a:t>
          </a:r>
          <a:endParaRPr lang="en-US" sz="900" dirty="0"/>
        </a:p>
      </dgm:t>
    </dgm:pt>
    <dgm:pt modelId="{319D7107-C98F-4A2E-8239-05A3900CF85D}" type="parTrans" cxnId="{21D8CC83-DBDA-4724-A583-9B46B319AACE}">
      <dgm:prSet/>
      <dgm:spPr/>
      <dgm:t>
        <a:bodyPr/>
        <a:lstStyle/>
        <a:p>
          <a:endParaRPr lang="en-US"/>
        </a:p>
      </dgm:t>
    </dgm:pt>
    <dgm:pt modelId="{ECAFCB15-B4D1-453D-90E4-AA983B48832A}" type="sibTrans" cxnId="{21D8CC83-DBDA-4724-A583-9B46B319AACE}">
      <dgm:prSet/>
      <dgm:spPr>
        <a:solidFill>
          <a:schemeClr val="tx1">
            <a:lumMod val="50000"/>
            <a:lumOff val="50000"/>
          </a:schemeClr>
        </a:solidFill>
      </dgm:spPr>
      <dgm:t>
        <a:bodyPr/>
        <a:lstStyle/>
        <a:p>
          <a:endParaRPr lang="en-US"/>
        </a:p>
      </dgm:t>
    </dgm:pt>
    <dgm:pt modelId="{9DD5A6BA-862F-4A08-93A2-7D63C651E05C}">
      <dgm:prSet phldrT="[Text]" custT="1"/>
      <dgm:spPr>
        <a:solidFill>
          <a:schemeClr val="accent4"/>
        </a:solidFill>
        <a:ln>
          <a:noFill/>
        </a:ln>
      </dgm:spPr>
      <dgm:t>
        <a:bodyPr/>
        <a:lstStyle/>
        <a:p>
          <a:r>
            <a:rPr lang="en-US" sz="900" dirty="0" smtClean="0"/>
            <a:t>Security Testing</a:t>
          </a:r>
          <a:endParaRPr lang="en-US" sz="900" dirty="0"/>
        </a:p>
      </dgm:t>
    </dgm:pt>
    <dgm:pt modelId="{2F63AA87-74B1-49C8-9AE0-9B4065810AD2}" type="parTrans" cxnId="{10C10951-F977-4EFC-8ECD-13875A766D4B}">
      <dgm:prSet/>
      <dgm:spPr/>
      <dgm:t>
        <a:bodyPr/>
        <a:lstStyle/>
        <a:p>
          <a:endParaRPr lang="en-US"/>
        </a:p>
      </dgm:t>
    </dgm:pt>
    <dgm:pt modelId="{30E84380-30DC-4FA7-8248-189A4FD5B85B}" type="sibTrans" cxnId="{10C10951-F977-4EFC-8ECD-13875A766D4B}">
      <dgm:prSet/>
      <dgm:spPr>
        <a:solidFill>
          <a:schemeClr val="tx1">
            <a:lumMod val="50000"/>
            <a:lumOff val="50000"/>
          </a:schemeClr>
        </a:solidFill>
      </dgm:spPr>
      <dgm:t>
        <a:bodyPr/>
        <a:lstStyle/>
        <a:p>
          <a:endParaRPr lang="en-US"/>
        </a:p>
      </dgm:t>
    </dgm:pt>
    <dgm:pt modelId="{B23BB066-8472-44EB-B86D-AA6CC44B4FC0}">
      <dgm:prSet phldrT="[Text]" custT="1"/>
      <dgm:spPr>
        <a:solidFill>
          <a:schemeClr val="accent4"/>
        </a:solidFill>
        <a:ln>
          <a:noFill/>
        </a:ln>
      </dgm:spPr>
      <dgm:t>
        <a:bodyPr/>
        <a:lstStyle/>
        <a:p>
          <a:r>
            <a:rPr lang="en-US" sz="900" dirty="0" smtClean="0"/>
            <a:t>Performance Testing</a:t>
          </a:r>
          <a:endParaRPr lang="en-US" sz="900" dirty="0"/>
        </a:p>
      </dgm:t>
    </dgm:pt>
    <dgm:pt modelId="{BE4DD27B-62D9-435E-A8B1-FD632B88B8F0}" type="parTrans" cxnId="{C9AFB386-382E-4180-B7E7-CF4884CB8E5F}">
      <dgm:prSet/>
      <dgm:spPr/>
      <dgm:t>
        <a:bodyPr/>
        <a:lstStyle/>
        <a:p>
          <a:endParaRPr lang="en-US"/>
        </a:p>
      </dgm:t>
    </dgm:pt>
    <dgm:pt modelId="{CB760776-D8BE-4281-B64D-797A4660DBCA}" type="sibTrans" cxnId="{C9AFB386-382E-4180-B7E7-CF4884CB8E5F}">
      <dgm:prSet/>
      <dgm:spPr>
        <a:solidFill>
          <a:schemeClr val="tx1">
            <a:lumMod val="50000"/>
            <a:lumOff val="50000"/>
          </a:schemeClr>
        </a:solidFill>
      </dgm:spPr>
      <dgm:t>
        <a:bodyPr/>
        <a:lstStyle/>
        <a:p>
          <a:endParaRPr lang="en-US"/>
        </a:p>
      </dgm:t>
    </dgm:pt>
    <dgm:pt modelId="{39DEF6C6-E8FB-4ECE-ACD4-2E49036603D1}">
      <dgm:prSet phldrT="[Text]" custT="1"/>
      <dgm:spPr>
        <a:solidFill>
          <a:schemeClr val="accent4"/>
        </a:solidFill>
        <a:ln>
          <a:noFill/>
        </a:ln>
      </dgm:spPr>
      <dgm:t>
        <a:bodyPr/>
        <a:lstStyle/>
        <a:p>
          <a:r>
            <a:rPr lang="en-US" sz="900" dirty="0" smtClean="0"/>
            <a:t>User Acceptance Testing</a:t>
          </a:r>
          <a:endParaRPr lang="en-US" sz="900" dirty="0"/>
        </a:p>
      </dgm:t>
    </dgm:pt>
    <dgm:pt modelId="{9B69F6C1-27C2-480B-B0BE-3D826ADE007D}" type="parTrans" cxnId="{795763E9-4225-4BC6-B9EC-AB6874E2B24C}">
      <dgm:prSet/>
      <dgm:spPr/>
      <dgm:t>
        <a:bodyPr/>
        <a:lstStyle/>
        <a:p>
          <a:endParaRPr lang="en-US"/>
        </a:p>
      </dgm:t>
    </dgm:pt>
    <dgm:pt modelId="{38CC07E6-E536-40AC-A8C1-C3B8006F5027}" type="sibTrans" cxnId="{795763E9-4225-4BC6-B9EC-AB6874E2B24C}">
      <dgm:prSet/>
      <dgm:spPr>
        <a:solidFill>
          <a:schemeClr val="tx1">
            <a:lumMod val="50000"/>
            <a:lumOff val="50000"/>
          </a:schemeClr>
        </a:solidFill>
      </dgm:spPr>
      <dgm:t>
        <a:bodyPr/>
        <a:lstStyle/>
        <a:p>
          <a:endParaRPr lang="en-US"/>
        </a:p>
      </dgm:t>
    </dgm:pt>
    <dgm:pt modelId="{B0791259-9104-4F93-B8AD-DAEF5DF1EA80}">
      <dgm:prSet phldrT="[Text]" custT="1"/>
      <dgm:spPr>
        <a:solidFill>
          <a:schemeClr val="bg2"/>
        </a:solidFill>
        <a:ln>
          <a:noFill/>
        </a:ln>
      </dgm:spPr>
      <dgm:t>
        <a:bodyPr/>
        <a:lstStyle/>
        <a:p>
          <a:r>
            <a:rPr lang="en-US" sz="900" dirty="0" smtClean="0"/>
            <a:t>Service Management</a:t>
          </a:r>
          <a:endParaRPr lang="en-US" sz="900" dirty="0"/>
        </a:p>
      </dgm:t>
    </dgm:pt>
    <dgm:pt modelId="{1117126B-BFDF-432E-BA44-B7FDC3D8F145}" type="parTrans" cxnId="{245674ED-6B22-4C31-97D7-0FB63B7EB25C}">
      <dgm:prSet/>
      <dgm:spPr/>
      <dgm:t>
        <a:bodyPr/>
        <a:lstStyle/>
        <a:p>
          <a:endParaRPr lang="en-US"/>
        </a:p>
      </dgm:t>
    </dgm:pt>
    <dgm:pt modelId="{32BFCE23-CACB-4BAC-9396-91B12F6DFBA7}" type="sibTrans" cxnId="{245674ED-6B22-4C31-97D7-0FB63B7EB25C}">
      <dgm:prSet/>
      <dgm:spPr>
        <a:solidFill>
          <a:schemeClr val="tx1">
            <a:lumMod val="50000"/>
            <a:lumOff val="50000"/>
          </a:schemeClr>
        </a:solidFill>
      </dgm:spPr>
      <dgm:t>
        <a:bodyPr/>
        <a:lstStyle/>
        <a:p>
          <a:endParaRPr lang="en-US"/>
        </a:p>
      </dgm:t>
    </dgm:pt>
    <dgm:pt modelId="{F83289A8-9306-490E-B0CC-4C4053ADF858}">
      <dgm:prSet phldrT="[Text]" custT="1"/>
      <dgm:spPr>
        <a:solidFill>
          <a:schemeClr val="accent4"/>
        </a:solidFill>
        <a:ln>
          <a:noFill/>
        </a:ln>
      </dgm:spPr>
      <dgm:t>
        <a:bodyPr/>
        <a:lstStyle/>
        <a:p>
          <a:r>
            <a:rPr lang="en-US" sz="900" dirty="0" smtClean="0"/>
            <a:t>Deployment – Production</a:t>
          </a:r>
          <a:endParaRPr lang="en-US" sz="900" dirty="0"/>
        </a:p>
      </dgm:t>
    </dgm:pt>
    <dgm:pt modelId="{0D525162-730F-47CA-A7E4-BD772A86EEE9}" type="parTrans" cxnId="{52A8CA28-B741-4D34-9589-6E498E64E742}">
      <dgm:prSet/>
      <dgm:spPr/>
      <dgm:t>
        <a:bodyPr/>
        <a:lstStyle/>
        <a:p>
          <a:endParaRPr lang="en-US"/>
        </a:p>
      </dgm:t>
    </dgm:pt>
    <dgm:pt modelId="{F6C80EDB-E3A4-45B5-B30F-984A993975C6}" type="sibTrans" cxnId="{52A8CA28-B741-4D34-9589-6E498E64E742}">
      <dgm:prSet/>
      <dgm:spPr>
        <a:solidFill>
          <a:schemeClr val="tx1">
            <a:lumMod val="50000"/>
            <a:lumOff val="50000"/>
          </a:schemeClr>
        </a:solidFill>
      </dgm:spPr>
      <dgm:t>
        <a:bodyPr/>
        <a:lstStyle/>
        <a:p>
          <a:endParaRPr lang="en-US"/>
        </a:p>
      </dgm:t>
    </dgm:pt>
    <dgm:pt modelId="{B55A334A-32D7-4815-BEAC-C5617F56BF7E}">
      <dgm:prSet phldrT="[Text]" custT="1"/>
      <dgm:spPr>
        <a:solidFill>
          <a:schemeClr val="bg2"/>
        </a:solidFill>
        <a:ln>
          <a:noFill/>
        </a:ln>
      </dgm:spPr>
      <dgm:t>
        <a:bodyPr/>
        <a:lstStyle/>
        <a:p>
          <a:r>
            <a:rPr lang="en-US" sz="900" dirty="0" smtClean="0"/>
            <a:t>Monitoring</a:t>
          </a:r>
          <a:endParaRPr lang="en-US" sz="900" dirty="0"/>
        </a:p>
      </dgm:t>
    </dgm:pt>
    <dgm:pt modelId="{195971A1-7E37-4C83-A020-1379109DAEB1}" type="parTrans" cxnId="{402E7BE7-09FD-4117-8A11-E14DAF96F16D}">
      <dgm:prSet/>
      <dgm:spPr/>
      <dgm:t>
        <a:bodyPr/>
        <a:lstStyle/>
        <a:p>
          <a:endParaRPr lang="en-US"/>
        </a:p>
      </dgm:t>
    </dgm:pt>
    <dgm:pt modelId="{7FF30CD9-FB12-4C43-A294-99F48E60C536}" type="sibTrans" cxnId="{402E7BE7-09FD-4117-8A11-E14DAF96F16D}">
      <dgm:prSet/>
      <dgm:spPr/>
      <dgm:t>
        <a:bodyPr/>
        <a:lstStyle/>
        <a:p>
          <a:endParaRPr lang="en-US"/>
        </a:p>
      </dgm:t>
    </dgm:pt>
    <dgm:pt modelId="{CC219B65-9C10-4B15-9620-A0F17B12EAEF}">
      <dgm:prSet phldrT="[Text]" custT="1"/>
      <dgm:spPr>
        <a:solidFill>
          <a:schemeClr val="bg2"/>
        </a:solidFill>
        <a:ln>
          <a:noFill/>
        </a:ln>
      </dgm:spPr>
      <dgm:t>
        <a:bodyPr/>
        <a:lstStyle/>
        <a:p>
          <a:r>
            <a:rPr lang="en-US" sz="900" dirty="0" smtClean="0"/>
            <a:t>Requirement Management</a:t>
          </a:r>
          <a:endParaRPr lang="en-US" sz="900" dirty="0"/>
        </a:p>
      </dgm:t>
    </dgm:pt>
    <dgm:pt modelId="{A6E99459-E0B4-41A3-9891-91D01B67ADC5}" type="parTrans" cxnId="{3EC5E5B6-5FD2-4834-90D3-D2C1FB6FA5C1}">
      <dgm:prSet/>
      <dgm:spPr/>
      <dgm:t>
        <a:bodyPr/>
        <a:lstStyle/>
        <a:p>
          <a:endParaRPr lang="en-US"/>
        </a:p>
      </dgm:t>
    </dgm:pt>
    <dgm:pt modelId="{FDA29CFD-5F1F-43BC-A078-6D753895F6EC}" type="sibTrans" cxnId="{3EC5E5B6-5FD2-4834-90D3-D2C1FB6FA5C1}">
      <dgm:prSet/>
      <dgm:spPr>
        <a:solidFill>
          <a:schemeClr val="tx1">
            <a:lumMod val="50000"/>
            <a:lumOff val="50000"/>
          </a:schemeClr>
        </a:solidFill>
      </dgm:spPr>
      <dgm:t>
        <a:bodyPr/>
        <a:lstStyle/>
        <a:p>
          <a:endParaRPr lang="en-US"/>
        </a:p>
      </dgm:t>
    </dgm:pt>
    <dgm:pt modelId="{43C8D023-4A08-46DB-AFBD-6200159D864A}" type="pres">
      <dgm:prSet presAssocID="{80AF90E8-A1EA-4586-928D-0A2057E1CF18}" presName="Name0" presStyleCnt="0">
        <dgm:presLayoutVars>
          <dgm:dir/>
          <dgm:resizeHandles/>
        </dgm:presLayoutVars>
      </dgm:prSet>
      <dgm:spPr/>
      <dgm:t>
        <a:bodyPr/>
        <a:lstStyle/>
        <a:p>
          <a:endParaRPr lang="en-US"/>
        </a:p>
      </dgm:t>
    </dgm:pt>
    <dgm:pt modelId="{7CF6DC72-9EB1-4CE1-8062-055148110538}" type="pres">
      <dgm:prSet presAssocID="{E9F17FF9-84CB-4AA1-BBFD-68979FCDA9FF}" presName="compNode" presStyleCnt="0"/>
      <dgm:spPr/>
    </dgm:pt>
    <dgm:pt modelId="{AD9E0B91-5ADB-4817-A7F5-254540FCE215}" type="pres">
      <dgm:prSet presAssocID="{E9F17FF9-84CB-4AA1-BBFD-68979FCDA9FF}" presName="dummyConnPt" presStyleCnt="0"/>
      <dgm:spPr/>
    </dgm:pt>
    <dgm:pt modelId="{D8032C8F-07F8-49E7-971C-FCC8CFA0A309}" type="pres">
      <dgm:prSet presAssocID="{E9F17FF9-84CB-4AA1-BBFD-68979FCDA9FF}" presName="node" presStyleLbl="node1" presStyleIdx="0" presStyleCnt="22">
        <dgm:presLayoutVars>
          <dgm:bulletEnabled val="1"/>
        </dgm:presLayoutVars>
      </dgm:prSet>
      <dgm:spPr/>
      <dgm:t>
        <a:bodyPr/>
        <a:lstStyle/>
        <a:p>
          <a:endParaRPr lang="en-US"/>
        </a:p>
      </dgm:t>
    </dgm:pt>
    <dgm:pt modelId="{E9E1769E-B168-4CD8-BE69-23AD7E310373}" type="pres">
      <dgm:prSet presAssocID="{8CF5CB1E-B594-4492-81DF-BD90AD0D6918}" presName="sibTrans" presStyleLbl="bgSibTrans2D1" presStyleIdx="0" presStyleCnt="21"/>
      <dgm:spPr/>
      <dgm:t>
        <a:bodyPr/>
        <a:lstStyle/>
        <a:p>
          <a:endParaRPr lang="en-US"/>
        </a:p>
      </dgm:t>
    </dgm:pt>
    <dgm:pt modelId="{E793C0DA-AA69-48FD-9E70-F056E6010C5E}" type="pres">
      <dgm:prSet presAssocID="{85779212-6661-4725-AB42-F7048CC39118}" presName="compNode" presStyleCnt="0"/>
      <dgm:spPr/>
    </dgm:pt>
    <dgm:pt modelId="{B6FE7EB7-DA67-4353-9A8C-616C8E809188}" type="pres">
      <dgm:prSet presAssocID="{85779212-6661-4725-AB42-F7048CC39118}" presName="dummyConnPt" presStyleCnt="0"/>
      <dgm:spPr/>
    </dgm:pt>
    <dgm:pt modelId="{D3A94AF2-A702-4098-BBF8-E78BBA5F1D6D}" type="pres">
      <dgm:prSet presAssocID="{85779212-6661-4725-AB42-F7048CC39118}" presName="node" presStyleLbl="node1" presStyleIdx="1" presStyleCnt="22">
        <dgm:presLayoutVars>
          <dgm:bulletEnabled val="1"/>
        </dgm:presLayoutVars>
      </dgm:prSet>
      <dgm:spPr/>
      <dgm:t>
        <a:bodyPr/>
        <a:lstStyle/>
        <a:p>
          <a:endParaRPr lang="en-US"/>
        </a:p>
      </dgm:t>
    </dgm:pt>
    <dgm:pt modelId="{1C87ED88-6481-4D07-9F24-87B0AE319D5F}" type="pres">
      <dgm:prSet presAssocID="{2215B2C2-F53F-48D4-AAEB-E3661D91D79C}" presName="sibTrans" presStyleLbl="bgSibTrans2D1" presStyleIdx="1" presStyleCnt="21"/>
      <dgm:spPr/>
      <dgm:t>
        <a:bodyPr/>
        <a:lstStyle/>
        <a:p>
          <a:endParaRPr lang="en-US"/>
        </a:p>
      </dgm:t>
    </dgm:pt>
    <dgm:pt modelId="{72ADED6A-C79C-460A-B9BC-0E47F81582D7}" type="pres">
      <dgm:prSet presAssocID="{CC219B65-9C10-4B15-9620-A0F17B12EAEF}" presName="compNode" presStyleCnt="0"/>
      <dgm:spPr/>
    </dgm:pt>
    <dgm:pt modelId="{4C5AD02E-C3B9-49AC-A50B-79696A885476}" type="pres">
      <dgm:prSet presAssocID="{CC219B65-9C10-4B15-9620-A0F17B12EAEF}" presName="dummyConnPt" presStyleCnt="0"/>
      <dgm:spPr/>
    </dgm:pt>
    <dgm:pt modelId="{A7934C21-ADF7-422F-B47B-B5A5A9ACA79D}" type="pres">
      <dgm:prSet presAssocID="{CC219B65-9C10-4B15-9620-A0F17B12EAEF}" presName="node" presStyleLbl="node1" presStyleIdx="2" presStyleCnt="22">
        <dgm:presLayoutVars>
          <dgm:bulletEnabled val="1"/>
        </dgm:presLayoutVars>
      </dgm:prSet>
      <dgm:spPr/>
      <dgm:t>
        <a:bodyPr/>
        <a:lstStyle/>
        <a:p>
          <a:endParaRPr lang="en-US"/>
        </a:p>
      </dgm:t>
    </dgm:pt>
    <dgm:pt modelId="{57E7BDAE-DCE6-47E5-8E9C-B8C08ABA3F38}" type="pres">
      <dgm:prSet presAssocID="{FDA29CFD-5F1F-43BC-A078-6D753895F6EC}" presName="sibTrans" presStyleLbl="bgSibTrans2D1" presStyleIdx="2" presStyleCnt="21"/>
      <dgm:spPr/>
      <dgm:t>
        <a:bodyPr/>
        <a:lstStyle/>
        <a:p>
          <a:endParaRPr lang="en-US"/>
        </a:p>
      </dgm:t>
    </dgm:pt>
    <dgm:pt modelId="{6C5397E5-F3BE-4F32-B8C6-7C663A7DA65C}" type="pres">
      <dgm:prSet presAssocID="{849F1AF7-80F2-4D94-9C87-042462653019}" presName="compNode" presStyleCnt="0"/>
      <dgm:spPr/>
    </dgm:pt>
    <dgm:pt modelId="{87C329B3-7004-4E96-9B2D-E12FBD2E3381}" type="pres">
      <dgm:prSet presAssocID="{849F1AF7-80F2-4D94-9C87-042462653019}" presName="dummyConnPt" presStyleCnt="0"/>
      <dgm:spPr/>
    </dgm:pt>
    <dgm:pt modelId="{25792AB4-3AFD-4F68-897D-F8B7E034032A}" type="pres">
      <dgm:prSet presAssocID="{849F1AF7-80F2-4D94-9C87-042462653019}" presName="node" presStyleLbl="node1" presStyleIdx="3" presStyleCnt="22">
        <dgm:presLayoutVars>
          <dgm:bulletEnabled val="1"/>
        </dgm:presLayoutVars>
      </dgm:prSet>
      <dgm:spPr/>
      <dgm:t>
        <a:bodyPr/>
        <a:lstStyle/>
        <a:p>
          <a:endParaRPr lang="en-US"/>
        </a:p>
      </dgm:t>
    </dgm:pt>
    <dgm:pt modelId="{D5FA8DAC-FD33-47B2-AF30-E334B817887F}" type="pres">
      <dgm:prSet presAssocID="{7C2CE862-3CB4-48E1-8966-FEEE24307D57}" presName="sibTrans" presStyleLbl="bgSibTrans2D1" presStyleIdx="3" presStyleCnt="21"/>
      <dgm:spPr/>
      <dgm:t>
        <a:bodyPr/>
        <a:lstStyle/>
        <a:p>
          <a:endParaRPr lang="en-US"/>
        </a:p>
      </dgm:t>
    </dgm:pt>
    <dgm:pt modelId="{6122CEF0-EDE3-4782-957B-1C2FA1576804}" type="pres">
      <dgm:prSet presAssocID="{1BA9C312-3FC6-492C-A4A5-D1F5D3C47968}" presName="compNode" presStyleCnt="0"/>
      <dgm:spPr/>
    </dgm:pt>
    <dgm:pt modelId="{C8C5E3A7-3FBD-4B24-BDDB-61B9A92D124D}" type="pres">
      <dgm:prSet presAssocID="{1BA9C312-3FC6-492C-A4A5-D1F5D3C47968}" presName="dummyConnPt" presStyleCnt="0"/>
      <dgm:spPr/>
    </dgm:pt>
    <dgm:pt modelId="{4E9A9EE7-92C5-4699-8669-56116A772C24}" type="pres">
      <dgm:prSet presAssocID="{1BA9C312-3FC6-492C-A4A5-D1F5D3C47968}" presName="node" presStyleLbl="node1" presStyleIdx="4" presStyleCnt="22">
        <dgm:presLayoutVars>
          <dgm:bulletEnabled val="1"/>
        </dgm:presLayoutVars>
      </dgm:prSet>
      <dgm:spPr/>
      <dgm:t>
        <a:bodyPr/>
        <a:lstStyle/>
        <a:p>
          <a:endParaRPr lang="en-US"/>
        </a:p>
      </dgm:t>
    </dgm:pt>
    <dgm:pt modelId="{F524A3C2-2F47-4EC7-9192-FF87140744A2}" type="pres">
      <dgm:prSet presAssocID="{DFF57308-0DD1-475E-B2FA-E31BBB6A0860}" presName="sibTrans" presStyleLbl="bgSibTrans2D1" presStyleIdx="4" presStyleCnt="21"/>
      <dgm:spPr/>
      <dgm:t>
        <a:bodyPr/>
        <a:lstStyle/>
        <a:p>
          <a:endParaRPr lang="en-US"/>
        </a:p>
      </dgm:t>
    </dgm:pt>
    <dgm:pt modelId="{391FC91B-3709-4F26-A4A5-BD05E57ACFA2}" type="pres">
      <dgm:prSet presAssocID="{3930EB36-6FDA-44CB-ABCF-988A9BA436E3}" presName="compNode" presStyleCnt="0"/>
      <dgm:spPr/>
    </dgm:pt>
    <dgm:pt modelId="{C3F51335-5D30-4D81-A83F-639D9F307E07}" type="pres">
      <dgm:prSet presAssocID="{3930EB36-6FDA-44CB-ABCF-988A9BA436E3}" presName="dummyConnPt" presStyleCnt="0"/>
      <dgm:spPr/>
    </dgm:pt>
    <dgm:pt modelId="{4857B1DA-2507-499A-A5D5-C0764C8CAA3E}" type="pres">
      <dgm:prSet presAssocID="{3930EB36-6FDA-44CB-ABCF-988A9BA436E3}" presName="node" presStyleLbl="node1" presStyleIdx="5" presStyleCnt="22">
        <dgm:presLayoutVars>
          <dgm:bulletEnabled val="1"/>
        </dgm:presLayoutVars>
      </dgm:prSet>
      <dgm:spPr/>
      <dgm:t>
        <a:bodyPr/>
        <a:lstStyle/>
        <a:p>
          <a:endParaRPr lang="en-US"/>
        </a:p>
      </dgm:t>
    </dgm:pt>
    <dgm:pt modelId="{49E3A27E-2060-4282-930E-AB4FCEE55EDC}" type="pres">
      <dgm:prSet presAssocID="{F3DCA773-1244-4B9A-9ED9-C0FDC19BC45E}" presName="sibTrans" presStyleLbl="bgSibTrans2D1" presStyleIdx="5" presStyleCnt="21"/>
      <dgm:spPr/>
      <dgm:t>
        <a:bodyPr/>
        <a:lstStyle/>
        <a:p>
          <a:endParaRPr lang="en-US"/>
        </a:p>
      </dgm:t>
    </dgm:pt>
    <dgm:pt modelId="{6A222A9C-1BE9-4CFF-BF72-D69C0110133F}" type="pres">
      <dgm:prSet presAssocID="{ADF668AF-3E12-4B37-BBC6-0A6519A77140}" presName="compNode" presStyleCnt="0"/>
      <dgm:spPr/>
    </dgm:pt>
    <dgm:pt modelId="{9DCA24C9-AC31-443A-B417-F995E4531B81}" type="pres">
      <dgm:prSet presAssocID="{ADF668AF-3E12-4B37-BBC6-0A6519A77140}" presName="dummyConnPt" presStyleCnt="0"/>
      <dgm:spPr/>
    </dgm:pt>
    <dgm:pt modelId="{E035CB83-BBB4-4446-A112-13AF53CB77D8}" type="pres">
      <dgm:prSet presAssocID="{ADF668AF-3E12-4B37-BBC6-0A6519A77140}" presName="node" presStyleLbl="node1" presStyleIdx="6" presStyleCnt="22">
        <dgm:presLayoutVars>
          <dgm:bulletEnabled val="1"/>
        </dgm:presLayoutVars>
      </dgm:prSet>
      <dgm:spPr/>
      <dgm:t>
        <a:bodyPr/>
        <a:lstStyle/>
        <a:p>
          <a:endParaRPr lang="en-US"/>
        </a:p>
      </dgm:t>
    </dgm:pt>
    <dgm:pt modelId="{B630B3E9-C976-4814-8F94-C0C4A230ADBF}" type="pres">
      <dgm:prSet presAssocID="{588DFA08-AA0A-4B91-9359-5C2C4488A330}" presName="sibTrans" presStyleLbl="bgSibTrans2D1" presStyleIdx="6" presStyleCnt="21"/>
      <dgm:spPr/>
      <dgm:t>
        <a:bodyPr/>
        <a:lstStyle/>
        <a:p>
          <a:endParaRPr lang="en-US"/>
        </a:p>
      </dgm:t>
    </dgm:pt>
    <dgm:pt modelId="{A97FF797-8A3F-4914-893E-02097BE29E8A}" type="pres">
      <dgm:prSet presAssocID="{37FE08DE-1395-40CA-9A0B-525CD6B5E831}" presName="compNode" presStyleCnt="0"/>
      <dgm:spPr/>
    </dgm:pt>
    <dgm:pt modelId="{5A65044A-DFA8-4F7D-A6E0-956032BCAD27}" type="pres">
      <dgm:prSet presAssocID="{37FE08DE-1395-40CA-9A0B-525CD6B5E831}" presName="dummyConnPt" presStyleCnt="0"/>
      <dgm:spPr/>
    </dgm:pt>
    <dgm:pt modelId="{D9FD8211-2BCA-47BB-831A-240575A82F59}" type="pres">
      <dgm:prSet presAssocID="{37FE08DE-1395-40CA-9A0B-525CD6B5E831}" presName="node" presStyleLbl="node1" presStyleIdx="7" presStyleCnt="22">
        <dgm:presLayoutVars>
          <dgm:bulletEnabled val="1"/>
        </dgm:presLayoutVars>
      </dgm:prSet>
      <dgm:spPr/>
      <dgm:t>
        <a:bodyPr/>
        <a:lstStyle/>
        <a:p>
          <a:endParaRPr lang="en-US"/>
        </a:p>
      </dgm:t>
    </dgm:pt>
    <dgm:pt modelId="{102024F8-46FB-49EA-846C-1146B6011A6D}" type="pres">
      <dgm:prSet presAssocID="{57271963-C7A4-4669-BFA6-3618812B92AB}" presName="sibTrans" presStyleLbl="bgSibTrans2D1" presStyleIdx="7" presStyleCnt="21"/>
      <dgm:spPr/>
      <dgm:t>
        <a:bodyPr/>
        <a:lstStyle/>
        <a:p>
          <a:endParaRPr lang="en-US"/>
        </a:p>
      </dgm:t>
    </dgm:pt>
    <dgm:pt modelId="{A2E1DB04-E89C-43B1-B7EE-58212005BA3D}" type="pres">
      <dgm:prSet presAssocID="{3738A1B5-90CF-463A-8275-7F3A4F3727AB}" presName="compNode" presStyleCnt="0"/>
      <dgm:spPr/>
    </dgm:pt>
    <dgm:pt modelId="{C51202BA-B9DC-45F2-AD89-03FEC7060355}" type="pres">
      <dgm:prSet presAssocID="{3738A1B5-90CF-463A-8275-7F3A4F3727AB}" presName="dummyConnPt" presStyleCnt="0"/>
      <dgm:spPr/>
    </dgm:pt>
    <dgm:pt modelId="{5EA1F8C6-C86C-4503-BC0D-7BD03573E398}" type="pres">
      <dgm:prSet presAssocID="{3738A1B5-90CF-463A-8275-7F3A4F3727AB}" presName="node" presStyleLbl="node1" presStyleIdx="8" presStyleCnt="22">
        <dgm:presLayoutVars>
          <dgm:bulletEnabled val="1"/>
        </dgm:presLayoutVars>
      </dgm:prSet>
      <dgm:spPr/>
      <dgm:t>
        <a:bodyPr/>
        <a:lstStyle/>
        <a:p>
          <a:endParaRPr lang="en-US"/>
        </a:p>
      </dgm:t>
    </dgm:pt>
    <dgm:pt modelId="{26601E23-47AA-4256-A218-A825457954F3}" type="pres">
      <dgm:prSet presAssocID="{83DCAC2A-0010-44F2-ABC6-53BAD1DF01BB}" presName="sibTrans" presStyleLbl="bgSibTrans2D1" presStyleIdx="8" presStyleCnt="21"/>
      <dgm:spPr/>
      <dgm:t>
        <a:bodyPr/>
        <a:lstStyle/>
        <a:p>
          <a:endParaRPr lang="en-US"/>
        </a:p>
      </dgm:t>
    </dgm:pt>
    <dgm:pt modelId="{C23A43D7-A0F1-4C9A-B826-4C0CBDCEC267}" type="pres">
      <dgm:prSet presAssocID="{5F563FDF-68E0-4532-A238-F2B4F40D514C}" presName="compNode" presStyleCnt="0"/>
      <dgm:spPr/>
    </dgm:pt>
    <dgm:pt modelId="{8846A12C-1553-4F83-8C62-8EBCEA55074C}" type="pres">
      <dgm:prSet presAssocID="{5F563FDF-68E0-4532-A238-F2B4F40D514C}" presName="dummyConnPt" presStyleCnt="0"/>
      <dgm:spPr/>
    </dgm:pt>
    <dgm:pt modelId="{1B50BFC0-B4D6-4BC3-B5E4-CF59BDFABE2A}" type="pres">
      <dgm:prSet presAssocID="{5F563FDF-68E0-4532-A238-F2B4F40D514C}" presName="node" presStyleLbl="node1" presStyleIdx="9" presStyleCnt="22">
        <dgm:presLayoutVars>
          <dgm:bulletEnabled val="1"/>
        </dgm:presLayoutVars>
      </dgm:prSet>
      <dgm:spPr/>
      <dgm:t>
        <a:bodyPr/>
        <a:lstStyle/>
        <a:p>
          <a:endParaRPr lang="en-US"/>
        </a:p>
      </dgm:t>
    </dgm:pt>
    <dgm:pt modelId="{3C2DD09D-26A9-46AC-84EB-C215991B44BB}" type="pres">
      <dgm:prSet presAssocID="{2E6F1F50-D4EB-4BC1-8C05-7F4BB60E1095}" presName="sibTrans" presStyleLbl="bgSibTrans2D1" presStyleIdx="9" presStyleCnt="21"/>
      <dgm:spPr/>
      <dgm:t>
        <a:bodyPr/>
        <a:lstStyle/>
        <a:p>
          <a:endParaRPr lang="en-US"/>
        </a:p>
      </dgm:t>
    </dgm:pt>
    <dgm:pt modelId="{71078D0E-936B-46A5-9160-4F8666DDCB8F}" type="pres">
      <dgm:prSet presAssocID="{5A340EBB-0CD1-4298-95DA-27F72796D99F}" presName="compNode" presStyleCnt="0"/>
      <dgm:spPr/>
    </dgm:pt>
    <dgm:pt modelId="{21680056-C4D9-4771-912A-68D1D1FD5A4E}" type="pres">
      <dgm:prSet presAssocID="{5A340EBB-0CD1-4298-95DA-27F72796D99F}" presName="dummyConnPt" presStyleCnt="0"/>
      <dgm:spPr/>
    </dgm:pt>
    <dgm:pt modelId="{A68F451B-07D1-4CC8-8C09-0A6CFF49BCE8}" type="pres">
      <dgm:prSet presAssocID="{5A340EBB-0CD1-4298-95DA-27F72796D99F}" presName="node" presStyleLbl="node1" presStyleIdx="10" presStyleCnt="22">
        <dgm:presLayoutVars>
          <dgm:bulletEnabled val="1"/>
        </dgm:presLayoutVars>
      </dgm:prSet>
      <dgm:spPr/>
      <dgm:t>
        <a:bodyPr/>
        <a:lstStyle/>
        <a:p>
          <a:endParaRPr lang="en-US"/>
        </a:p>
      </dgm:t>
    </dgm:pt>
    <dgm:pt modelId="{EE1B6901-BA8E-4105-96F4-42FA568E72BE}" type="pres">
      <dgm:prSet presAssocID="{9605F4AE-7274-4589-894C-1B1A3A565BF5}" presName="sibTrans" presStyleLbl="bgSibTrans2D1" presStyleIdx="10" presStyleCnt="21"/>
      <dgm:spPr/>
      <dgm:t>
        <a:bodyPr/>
        <a:lstStyle/>
        <a:p>
          <a:endParaRPr lang="en-US"/>
        </a:p>
      </dgm:t>
    </dgm:pt>
    <dgm:pt modelId="{E1A51B93-D496-444F-A156-CAF74E809076}" type="pres">
      <dgm:prSet presAssocID="{239473F6-9DFA-4CBB-B80C-93A081707E6A}" presName="compNode" presStyleCnt="0"/>
      <dgm:spPr/>
    </dgm:pt>
    <dgm:pt modelId="{D95F7B6E-C843-4412-AD1C-14CA2FC5923C}" type="pres">
      <dgm:prSet presAssocID="{239473F6-9DFA-4CBB-B80C-93A081707E6A}" presName="dummyConnPt" presStyleCnt="0"/>
      <dgm:spPr/>
    </dgm:pt>
    <dgm:pt modelId="{1B96307D-B72E-46CA-99C3-DF4964887F61}" type="pres">
      <dgm:prSet presAssocID="{239473F6-9DFA-4CBB-B80C-93A081707E6A}" presName="node" presStyleLbl="node1" presStyleIdx="11" presStyleCnt="22">
        <dgm:presLayoutVars>
          <dgm:bulletEnabled val="1"/>
        </dgm:presLayoutVars>
      </dgm:prSet>
      <dgm:spPr/>
      <dgm:t>
        <a:bodyPr/>
        <a:lstStyle/>
        <a:p>
          <a:endParaRPr lang="en-US"/>
        </a:p>
      </dgm:t>
    </dgm:pt>
    <dgm:pt modelId="{6C96EEF3-BDD2-46B0-9775-DB0AD7122BCA}" type="pres">
      <dgm:prSet presAssocID="{CB3E1638-FD94-40EE-8343-708E939E8EA2}" presName="sibTrans" presStyleLbl="bgSibTrans2D1" presStyleIdx="11" presStyleCnt="21"/>
      <dgm:spPr/>
      <dgm:t>
        <a:bodyPr/>
        <a:lstStyle/>
        <a:p>
          <a:endParaRPr lang="en-US"/>
        </a:p>
      </dgm:t>
    </dgm:pt>
    <dgm:pt modelId="{6FBB79D9-3544-408E-8CD8-6C318341500A}" type="pres">
      <dgm:prSet presAssocID="{3341D280-779C-4D0C-A39C-F0051812E018}" presName="compNode" presStyleCnt="0"/>
      <dgm:spPr/>
    </dgm:pt>
    <dgm:pt modelId="{533E4288-8719-46AC-A924-EF3C8C5C8D40}" type="pres">
      <dgm:prSet presAssocID="{3341D280-779C-4D0C-A39C-F0051812E018}" presName="dummyConnPt" presStyleCnt="0"/>
      <dgm:spPr/>
    </dgm:pt>
    <dgm:pt modelId="{B428A3B2-862D-4B94-BDCF-12B1A0C11E4D}" type="pres">
      <dgm:prSet presAssocID="{3341D280-779C-4D0C-A39C-F0051812E018}" presName="node" presStyleLbl="node1" presStyleIdx="12" presStyleCnt="22">
        <dgm:presLayoutVars>
          <dgm:bulletEnabled val="1"/>
        </dgm:presLayoutVars>
      </dgm:prSet>
      <dgm:spPr/>
      <dgm:t>
        <a:bodyPr/>
        <a:lstStyle/>
        <a:p>
          <a:endParaRPr lang="en-US"/>
        </a:p>
      </dgm:t>
    </dgm:pt>
    <dgm:pt modelId="{F6FC2ECE-CFEF-4937-9FA9-7386B67A1865}" type="pres">
      <dgm:prSet presAssocID="{E446F138-EBED-4CF1-9103-188FE94E650D}" presName="sibTrans" presStyleLbl="bgSibTrans2D1" presStyleIdx="12" presStyleCnt="21"/>
      <dgm:spPr/>
      <dgm:t>
        <a:bodyPr/>
        <a:lstStyle/>
        <a:p>
          <a:endParaRPr lang="en-US"/>
        </a:p>
      </dgm:t>
    </dgm:pt>
    <dgm:pt modelId="{14F0E3BB-2CCD-448D-963D-3688A898D237}" type="pres">
      <dgm:prSet presAssocID="{126F406E-6F8A-49A3-979C-4B0D96D833E5}" presName="compNode" presStyleCnt="0"/>
      <dgm:spPr/>
    </dgm:pt>
    <dgm:pt modelId="{446B60AE-F23C-4035-881C-0AFE6A5756DC}" type="pres">
      <dgm:prSet presAssocID="{126F406E-6F8A-49A3-979C-4B0D96D833E5}" presName="dummyConnPt" presStyleCnt="0"/>
      <dgm:spPr/>
    </dgm:pt>
    <dgm:pt modelId="{D46D306B-4D14-46FF-9643-9239C46D8CAC}" type="pres">
      <dgm:prSet presAssocID="{126F406E-6F8A-49A3-979C-4B0D96D833E5}" presName="node" presStyleLbl="node1" presStyleIdx="13" presStyleCnt="22">
        <dgm:presLayoutVars>
          <dgm:bulletEnabled val="1"/>
        </dgm:presLayoutVars>
      </dgm:prSet>
      <dgm:spPr/>
      <dgm:t>
        <a:bodyPr/>
        <a:lstStyle/>
        <a:p>
          <a:endParaRPr lang="en-US"/>
        </a:p>
      </dgm:t>
    </dgm:pt>
    <dgm:pt modelId="{336F546F-1FDC-4E18-95BF-FE0101C6AA07}" type="pres">
      <dgm:prSet presAssocID="{958EC8D5-2E09-4E39-8BCC-89A628BFA8D6}" presName="sibTrans" presStyleLbl="bgSibTrans2D1" presStyleIdx="13" presStyleCnt="21"/>
      <dgm:spPr/>
      <dgm:t>
        <a:bodyPr/>
        <a:lstStyle/>
        <a:p>
          <a:endParaRPr lang="en-US"/>
        </a:p>
      </dgm:t>
    </dgm:pt>
    <dgm:pt modelId="{BD498463-E07A-435B-B5E6-4BAAA18A372E}" type="pres">
      <dgm:prSet presAssocID="{9E968A82-C2C9-4708-8C57-1EDF4EDF7FAA}" presName="compNode" presStyleCnt="0"/>
      <dgm:spPr/>
    </dgm:pt>
    <dgm:pt modelId="{355AAA7F-3BF3-4C38-BD80-872636B0FC73}" type="pres">
      <dgm:prSet presAssocID="{9E968A82-C2C9-4708-8C57-1EDF4EDF7FAA}" presName="dummyConnPt" presStyleCnt="0"/>
      <dgm:spPr/>
    </dgm:pt>
    <dgm:pt modelId="{865CC9CB-4D1A-4BBD-89CB-C6A0A3D909BD}" type="pres">
      <dgm:prSet presAssocID="{9E968A82-C2C9-4708-8C57-1EDF4EDF7FAA}" presName="node" presStyleLbl="node1" presStyleIdx="14" presStyleCnt="22">
        <dgm:presLayoutVars>
          <dgm:bulletEnabled val="1"/>
        </dgm:presLayoutVars>
      </dgm:prSet>
      <dgm:spPr/>
      <dgm:t>
        <a:bodyPr/>
        <a:lstStyle/>
        <a:p>
          <a:endParaRPr lang="en-US"/>
        </a:p>
      </dgm:t>
    </dgm:pt>
    <dgm:pt modelId="{71178B63-9DA7-4EB2-B893-CB8B1DDC5504}" type="pres">
      <dgm:prSet presAssocID="{1033E4E2-0E1D-4720-83E1-31115BA38D7F}" presName="sibTrans" presStyleLbl="bgSibTrans2D1" presStyleIdx="14" presStyleCnt="21"/>
      <dgm:spPr/>
      <dgm:t>
        <a:bodyPr/>
        <a:lstStyle/>
        <a:p>
          <a:endParaRPr lang="en-US"/>
        </a:p>
      </dgm:t>
    </dgm:pt>
    <dgm:pt modelId="{0743C31E-A2CB-493A-A8DF-8F51DA863E01}" type="pres">
      <dgm:prSet presAssocID="{4D86363D-FCDF-405A-A7D2-DF82B39338D2}" presName="compNode" presStyleCnt="0"/>
      <dgm:spPr/>
    </dgm:pt>
    <dgm:pt modelId="{045FEA87-D9C2-4D10-843C-930A5F98A373}" type="pres">
      <dgm:prSet presAssocID="{4D86363D-FCDF-405A-A7D2-DF82B39338D2}" presName="dummyConnPt" presStyleCnt="0"/>
      <dgm:spPr/>
    </dgm:pt>
    <dgm:pt modelId="{032526AA-CA4F-47A6-8833-CC4E299DB417}" type="pres">
      <dgm:prSet presAssocID="{4D86363D-FCDF-405A-A7D2-DF82B39338D2}" presName="node" presStyleLbl="node1" presStyleIdx="15" presStyleCnt="22">
        <dgm:presLayoutVars>
          <dgm:bulletEnabled val="1"/>
        </dgm:presLayoutVars>
      </dgm:prSet>
      <dgm:spPr/>
      <dgm:t>
        <a:bodyPr/>
        <a:lstStyle/>
        <a:p>
          <a:endParaRPr lang="en-US"/>
        </a:p>
      </dgm:t>
    </dgm:pt>
    <dgm:pt modelId="{9B25D534-E41D-4E66-9ABC-EB6CCB037EBF}" type="pres">
      <dgm:prSet presAssocID="{ECAFCB15-B4D1-453D-90E4-AA983B48832A}" presName="sibTrans" presStyleLbl="bgSibTrans2D1" presStyleIdx="15" presStyleCnt="21"/>
      <dgm:spPr/>
      <dgm:t>
        <a:bodyPr/>
        <a:lstStyle/>
        <a:p>
          <a:endParaRPr lang="en-US"/>
        </a:p>
      </dgm:t>
    </dgm:pt>
    <dgm:pt modelId="{CCC07B11-DE30-4D37-9E33-7B3F122D2E49}" type="pres">
      <dgm:prSet presAssocID="{9DD5A6BA-862F-4A08-93A2-7D63C651E05C}" presName="compNode" presStyleCnt="0"/>
      <dgm:spPr/>
    </dgm:pt>
    <dgm:pt modelId="{B1C23F8D-A0D2-465F-8A49-2D9214C7064B}" type="pres">
      <dgm:prSet presAssocID="{9DD5A6BA-862F-4A08-93A2-7D63C651E05C}" presName="dummyConnPt" presStyleCnt="0"/>
      <dgm:spPr/>
    </dgm:pt>
    <dgm:pt modelId="{E85740BD-7D7E-4766-A8DC-1A35B1C1FEC9}" type="pres">
      <dgm:prSet presAssocID="{9DD5A6BA-862F-4A08-93A2-7D63C651E05C}" presName="node" presStyleLbl="node1" presStyleIdx="16" presStyleCnt="22">
        <dgm:presLayoutVars>
          <dgm:bulletEnabled val="1"/>
        </dgm:presLayoutVars>
      </dgm:prSet>
      <dgm:spPr/>
      <dgm:t>
        <a:bodyPr/>
        <a:lstStyle/>
        <a:p>
          <a:endParaRPr lang="en-US"/>
        </a:p>
      </dgm:t>
    </dgm:pt>
    <dgm:pt modelId="{89D00D1F-943B-48DA-A8FD-AC043957EA6D}" type="pres">
      <dgm:prSet presAssocID="{30E84380-30DC-4FA7-8248-189A4FD5B85B}" presName="sibTrans" presStyleLbl="bgSibTrans2D1" presStyleIdx="16" presStyleCnt="21"/>
      <dgm:spPr/>
      <dgm:t>
        <a:bodyPr/>
        <a:lstStyle/>
        <a:p>
          <a:endParaRPr lang="en-US"/>
        </a:p>
      </dgm:t>
    </dgm:pt>
    <dgm:pt modelId="{DE01F387-6F26-481B-893B-A7B2038622EE}" type="pres">
      <dgm:prSet presAssocID="{B23BB066-8472-44EB-B86D-AA6CC44B4FC0}" presName="compNode" presStyleCnt="0"/>
      <dgm:spPr/>
    </dgm:pt>
    <dgm:pt modelId="{486799BC-36A2-4D59-815C-A49F4DD3A69C}" type="pres">
      <dgm:prSet presAssocID="{B23BB066-8472-44EB-B86D-AA6CC44B4FC0}" presName="dummyConnPt" presStyleCnt="0"/>
      <dgm:spPr/>
    </dgm:pt>
    <dgm:pt modelId="{37C0B14A-2A81-4DA6-A4DE-8B0C0FD97FC1}" type="pres">
      <dgm:prSet presAssocID="{B23BB066-8472-44EB-B86D-AA6CC44B4FC0}" presName="node" presStyleLbl="node1" presStyleIdx="17" presStyleCnt="22">
        <dgm:presLayoutVars>
          <dgm:bulletEnabled val="1"/>
        </dgm:presLayoutVars>
      </dgm:prSet>
      <dgm:spPr/>
      <dgm:t>
        <a:bodyPr/>
        <a:lstStyle/>
        <a:p>
          <a:endParaRPr lang="en-US"/>
        </a:p>
      </dgm:t>
    </dgm:pt>
    <dgm:pt modelId="{A1C00C4B-A7DA-42E9-8FF6-0516DAF3992D}" type="pres">
      <dgm:prSet presAssocID="{CB760776-D8BE-4281-B64D-797A4660DBCA}" presName="sibTrans" presStyleLbl="bgSibTrans2D1" presStyleIdx="17" presStyleCnt="21"/>
      <dgm:spPr/>
      <dgm:t>
        <a:bodyPr/>
        <a:lstStyle/>
        <a:p>
          <a:endParaRPr lang="en-US"/>
        </a:p>
      </dgm:t>
    </dgm:pt>
    <dgm:pt modelId="{E43C59BA-DBEA-4CF3-88EB-510F1480E057}" type="pres">
      <dgm:prSet presAssocID="{39DEF6C6-E8FB-4ECE-ACD4-2E49036603D1}" presName="compNode" presStyleCnt="0"/>
      <dgm:spPr/>
    </dgm:pt>
    <dgm:pt modelId="{CB540A9B-E176-4615-BEA3-3F0C4A4D176D}" type="pres">
      <dgm:prSet presAssocID="{39DEF6C6-E8FB-4ECE-ACD4-2E49036603D1}" presName="dummyConnPt" presStyleCnt="0"/>
      <dgm:spPr/>
    </dgm:pt>
    <dgm:pt modelId="{944E00CC-E210-4FBC-BC90-6DD58207E1A0}" type="pres">
      <dgm:prSet presAssocID="{39DEF6C6-E8FB-4ECE-ACD4-2E49036603D1}" presName="node" presStyleLbl="node1" presStyleIdx="18" presStyleCnt="22">
        <dgm:presLayoutVars>
          <dgm:bulletEnabled val="1"/>
        </dgm:presLayoutVars>
      </dgm:prSet>
      <dgm:spPr/>
      <dgm:t>
        <a:bodyPr/>
        <a:lstStyle/>
        <a:p>
          <a:endParaRPr lang="en-US"/>
        </a:p>
      </dgm:t>
    </dgm:pt>
    <dgm:pt modelId="{BB525EF4-11CA-4AF0-9D05-0890477F605B}" type="pres">
      <dgm:prSet presAssocID="{38CC07E6-E536-40AC-A8C1-C3B8006F5027}" presName="sibTrans" presStyleLbl="bgSibTrans2D1" presStyleIdx="18" presStyleCnt="21"/>
      <dgm:spPr/>
      <dgm:t>
        <a:bodyPr/>
        <a:lstStyle/>
        <a:p>
          <a:endParaRPr lang="en-US"/>
        </a:p>
      </dgm:t>
    </dgm:pt>
    <dgm:pt modelId="{CC1DC260-BE15-4F47-87F2-8C3EEC978AF9}" type="pres">
      <dgm:prSet presAssocID="{B0791259-9104-4F93-B8AD-DAEF5DF1EA80}" presName="compNode" presStyleCnt="0"/>
      <dgm:spPr/>
    </dgm:pt>
    <dgm:pt modelId="{47ED8017-C136-45AF-AB20-EBF3191025AD}" type="pres">
      <dgm:prSet presAssocID="{B0791259-9104-4F93-B8AD-DAEF5DF1EA80}" presName="dummyConnPt" presStyleCnt="0"/>
      <dgm:spPr/>
    </dgm:pt>
    <dgm:pt modelId="{AB49DBB2-8BF6-48D2-AD6B-E4C56A5DA215}" type="pres">
      <dgm:prSet presAssocID="{B0791259-9104-4F93-B8AD-DAEF5DF1EA80}" presName="node" presStyleLbl="node1" presStyleIdx="19" presStyleCnt="22">
        <dgm:presLayoutVars>
          <dgm:bulletEnabled val="1"/>
        </dgm:presLayoutVars>
      </dgm:prSet>
      <dgm:spPr/>
      <dgm:t>
        <a:bodyPr/>
        <a:lstStyle/>
        <a:p>
          <a:endParaRPr lang="en-US"/>
        </a:p>
      </dgm:t>
    </dgm:pt>
    <dgm:pt modelId="{8AEDD5ED-C456-404E-A0C1-9FCD061445C8}" type="pres">
      <dgm:prSet presAssocID="{32BFCE23-CACB-4BAC-9396-91B12F6DFBA7}" presName="sibTrans" presStyleLbl="bgSibTrans2D1" presStyleIdx="19" presStyleCnt="21"/>
      <dgm:spPr/>
      <dgm:t>
        <a:bodyPr/>
        <a:lstStyle/>
        <a:p>
          <a:endParaRPr lang="en-US"/>
        </a:p>
      </dgm:t>
    </dgm:pt>
    <dgm:pt modelId="{841806DD-7523-4B3F-AB4C-B3A82D8547BD}" type="pres">
      <dgm:prSet presAssocID="{F83289A8-9306-490E-B0CC-4C4053ADF858}" presName="compNode" presStyleCnt="0"/>
      <dgm:spPr/>
    </dgm:pt>
    <dgm:pt modelId="{36102350-1BEA-4C65-837B-1A66EC1B7B5D}" type="pres">
      <dgm:prSet presAssocID="{F83289A8-9306-490E-B0CC-4C4053ADF858}" presName="dummyConnPt" presStyleCnt="0"/>
      <dgm:spPr/>
    </dgm:pt>
    <dgm:pt modelId="{C50EEFDE-E4D4-43BF-B3E0-15EBCF9D5439}" type="pres">
      <dgm:prSet presAssocID="{F83289A8-9306-490E-B0CC-4C4053ADF858}" presName="node" presStyleLbl="node1" presStyleIdx="20" presStyleCnt="22">
        <dgm:presLayoutVars>
          <dgm:bulletEnabled val="1"/>
        </dgm:presLayoutVars>
      </dgm:prSet>
      <dgm:spPr/>
      <dgm:t>
        <a:bodyPr/>
        <a:lstStyle/>
        <a:p>
          <a:endParaRPr lang="en-US"/>
        </a:p>
      </dgm:t>
    </dgm:pt>
    <dgm:pt modelId="{FC461A49-6E8A-4765-BDC6-DF366118A9DB}" type="pres">
      <dgm:prSet presAssocID="{F6C80EDB-E3A4-45B5-B30F-984A993975C6}" presName="sibTrans" presStyleLbl="bgSibTrans2D1" presStyleIdx="20" presStyleCnt="21"/>
      <dgm:spPr/>
      <dgm:t>
        <a:bodyPr/>
        <a:lstStyle/>
        <a:p>
          <a:endParaRPr lang="en-US"/>
        </a:p>
      </dgm:t>
    </dgm:pt>
    <dgm:pt modelId="{A22ECE52-F2AE-43AB-9100-6F167B8A373B}" type="pres">
      <dgm:prSet presAssocID="{B55A334A-32D7-4815-BEAC-C5617F56BF7E}" presName="compNode" presStyleCnt="0"/>
      <dgm:spPr/>
    </dgm:pt>
    <dgm:pt modelId="{11463E47-5635-4402-9E35-D2128D49955F}" type="pres">
      <dgm:prSet presAssocID="{B55A334A-32D7-4815-BEAC-C5617F56BF7E}" presName="dummyConnPt" presStyleCnt="0"/>
      <dgm:spPr/>
    </dgm:pt>
    <dgm:pt modelId="{2847F226-AA4E-451E-8FA8-84F2FF69A214}" type="pres">
      <dgm:prSet presAssocID="{B55A334A-32D7-4815-BEAC-C5617F56BF7E}" presName="node" presStyleLbl="node1" presStyleIdx="21" presStyleCnt="22">
        <dgm:presLayoutVars>
          <dgm:bulletEnabled val="1"/>
        </dgm:presLayoutVars>
      </dgm:prSet>
      <dgm:spPr/>
      <dgm:t>
        <a:bodyPr/>
        <a:lstStyle/>
        <a:p>
          <a:endParaRPr lang="en-US"/>
        </a:p>
      </dgm:t>
    </dgm:pt>
  </dgm:ptLst>
  <dgm:cxnLst>
    <dgm:cxn modelId="{2B220A96-B793-4032-8340-239D44D50414}" type="presOf" srcId="{ECAFCB15-B4D1-453D-90E4-AA983B48832A}" destId="{9B25D534-E41D-4E66-9ABC-EB6CCB037EBF}" srcOrd="0" destOrd="0" presId="urn:microsoft.com/office/officeart/2005/8/layout/bProcess4"/>
    <dgm:cxn modelId="{379FE0F6-EE65-4E95-A528-70A2C32772B3}" type="presOf" srcId="{CC219B65-9C10-4B15-9620-A0F17B12EAEF}" destId="{A7934C21-ADF7-422F-B47B-B5A5A9ACA79D}" srcOrd="0" destOrd="0" presId="urn:microsoft.com/office/officeart/2005/8/layout/bProcess4"/>
    <dgm:cxn modelId="{2A635C05-857B-4CEB-9D4A-5D905462A0B9}" type="presOf" srcId="{3341D280-779C-4D0C-A39C-F0051812E018}" destId="{B428A3B2-862D-4B94-BDCF-12B1A0C11E4D}" srcOrd="0" destOrd="0" presId="urn:microsoft.com/office/officeart/2005/8/layout/bProcess4"/>
    <dgm:cxn modelId="{911D0D1D-EB94-43AE-8668-1A6DA97726CD}" type="presOf" srcId="{30E84380-30DC-4FA7-8248-189A4FD5B85B}" destId="{89D00D1F-943B-48DA-A8FD-AC043957EA6D}" srcOrd="0" destOrd="0" presId="urn:microsoft.com/office/officeart/2005/8/layout/bProcess4"/>
    <dgm:cxn modelId="{101CE67B-E2B2-4A3D-A0DF-799E64986E46}" srcId="{80AF90E8-A1EA-4586-928D-0A2057E1CF18}" destId="{E9F17FF9-84CB-4AA1-BBFD-68979FCDA9FF}" srcOrd="0" destOrd="0" parTransId="{C6B99BCA-809E-4DD8-9720-C996C7A9F8B2}" sibTransId="{8CF5CB1E-B594-4492-81DF-BD90AD0D6918}"/>
    <dgm:cxn modelId="{0353A571-4EAC-4846-A2D7-C7D32E188DFB}" srcId="{80AF90E8-A1EA-4586-928D-0A2057E1CF18}" destId="{239473F6-9DFA-4CBB-B80C-93A081707E6A}" srcOrd="11" destOrd="0" parTransId="{43FB8A35-13BC-4F57-8130-ED887FC3598E}" sibTransId="{CB3E1638-FD94-40EE-8343-708E939E8EA2}"/>
    <dgm:cxn modelId="{46BA7C96-FCDC-4377-89B9-01D8C8CD76C6}" type="presOf" srcId="{9E968A82-C2C9-4708-8C57-1EDF4EDF7FAA}" destId="{865CC9CB-4D1A-4BBD-89CB-C6A0A3D909BD}" srcOrd="0" destOrd="0" presId="urn:microsoft.com/office/officeart/2005/8/layout/bProcess4"/>
    <dgm:cxn modelId="{35390E6D-00C7-4023-9135-4CDEF126D18A}" type="presOf" srcId="{126F406E-6F8A-49A3-979C-4B0D96D833E5}" destId="{D46D306B-4D14-46FF-9643-9239C46D8CAC}" srcOrd="0" destOrd="0" presId="urn:microsoft.com/office/officeart/2005/8/layout/bProcess4"/>
    <dgm:cxn modelId="{10C10951-F977-4EFC-8ECD-13875A766D4B}" srcId="{80AF90E8-A1EA-4586-928D-0A2057E1CF18}" destId="{9DD5A6BA-862F-4A08-93A2-7D63C651E05C}" srcOrd="16" destOrd="0" parTransId="{2F63AA87-74B1-49C8-9AE0-9B4065810AD2}" sibTransId="{30E84380-30DC-4FA7-8248-189A4FD5B85B}"/>
    <dgm:cxn modelId="{32A49BFC-A3EA-4549-844A-F84528076B00}" srcId="{80AF90E8-A1EA-4586-928D-0A2057E1CF18}" destId="{3738A1B5-90CF-463A-8275-7F3A4F3727AB}" srcOrd="8" destOrd="0" parTransId="{62E7C633-B086-48CB-B985-A62A961F08C3}" sibTransId="{83DCAC2A-0010-44F2-ABC6-53BAD1DF01BB}"/>
    <dgm:cxn modelId="{0D19982F-0F85-4A97-BCFA-6E65A7C00129}" srcId="{80AF90E8-A1EA-4586-928D-0A2057E1CF18}" destId="{3341D280-779C-4D0C-A39C-F0051812E018}" srcOrd="12" destOrd="0" parTransId="{F4752A0A-B395-446A-A9AB-3D77A4ED6267}" sibTransId="{E446F138-EBED-4CF1-9103-188FE94E650D}"/>
    <dgm:cxn modelId="{E036A73C-ACC6-48D5-B446-DD3B0833955B}" srcId="{80AF90E8-A1EA-4586-928D-0A2057E1CF18}" destId="{5F563FDF-68E0-4532-A238-F2B4F40D514C}" srcOrd="9" destOrd="0" parTransId="{07F5E03E-FE05-4817-9E56-E2A4F8CB0CAA}" sibTransId="{2E6F1F50-D4EB-4BC1-8C05-7F4BB60E1095}"/>
    <dgm:cxn modelId="{E2C2B985-EDB9-4A45-98E1-1FAF12406E90}" type="presOf" srcId="{E9F17FF9-84CB-4AA1-BBFD-68979FCDA9FF}" destId="{D8032C8F-07F8-49E7-971C-FCC8CFA0A309}" srcOrd="0" destOrd="0" presId="urn:microsoft.com/office/officeart/2005/8/layout/bProcess4"/>
    <dgm:cxn modelId="{226E6765-EA38-4D30-B04E-E2D5A4E9E5AE}" type="presOf" srcId="{B0791259-9104-4F93-B8AD-DAEF5DF1EA80}" destId="{AB49DBB2-8BF6-48D2-AD6B-E4C56A5DA215}" srcOrd="0" destOrd="0" presId="urn:microsoft.com/office/officeart/2005/8/layout/bProcess4"/>
    <dgm:cxn modelId="{3322B252-840F-41F1-8A0C-0D572C8B8350}" srcId="{80AF90E8-A1EA-4586-928D-0A2057E1CF18}" destId="{849F1AF7-80F2-4D94-9C87-042462653019}" srcOrd="3" destOrd="0" parTransId="{FD7D8452-F8C4-444D-AF53-6B0291A0CCC0}" sibTransId="{7C2CE862-3CB4-48E1-8966-FEEE24307D57}"/>
    <dgm:cxn modelId="{C9AFB386-382E-4180-B7E7-CF4884CB8E5F}" srcId="{80AF90E8-A1EA-4586-928D-0A2057E1CF18}" destId="{B23BB066-8472-44EB-B86D-AA6CC44B4FC0}" srcOrd="17" destOrd="0" parTransId="{BE4DD27B-62D9-435E-A8B1-FD632B88B8F0}" sibTransId="{CB760776-D8BE-4281-B64D-797A4660DBCA}"/>
    <dgm:cxn modelId="{8618C96C-0910-4962-AFA6-1430A7F01435}" type="presOf" srcId="{7C2CE862-3CB4-48E1-8966-FEEE24307D57}" destId="{D5FA8DAC-FD33-47B2-AF30-E334B817887F}" srcOrd="0" destOrd="0" presId="urn:microsoft.com/office/officeart/2005/8/layout/bProcess4"/>
    <dgm:cxn modelId="{5C884BB1-9880-4FE0-A59D-DC5695E78377}" type="presOf" srcId="{83DCAC2A-0010-44F2-ABC6-53BAD1DF01BB}" destId="{26601E23-47AA-4256-A218-A825457954F3}" srcOrd="0" destOrd="0" presId="urn:microsoft.com/office/officeart/2005/8/layout/bProcess4"/>
    <dgm:cxn modelId="{35D90AA5-A97B-4370-B278-E9458FFB9BA6}" srcId="{80AF90E8-A1EA-4586-928D-0A2057E1CF18}" destId="{1BA9C312-3FC6-492C-A4A5-D1F5D3C47968}" srcOrd="4" destOrd="0" parTransId="{A713E7FF-1CAD-4740-B3E0-EB45F4AAC7BE}" sibTransId="{DFF57308-0DD1-475E-B2FA-E31BBB6A0860}"/>
    <dgm:cxn modelId="{91BA9C8C-F724-4120-8576-66DBEA691AEB}" type="presOf" srcId="{2215B2C2-F53F-48D4-AAEB-E3661D91D79C}" destId="{1C87ED88-6481-4D07-9F24-87B0AE319D5F}" srcOrd="0" destOrd="0" presId="urn:microsoft.com/office/officeart/2005/8/layout/bProcess4"/>
    <dgm:cxn modelId="{FA56C442-2590-487F-9A2A-BDEC2B6E28A2}" type="presOf" srcId="{5A340EBB-0CD1-4298-95DA-27F72796D99F}" destId="{A68F451B-07D1-4CC8-8C09-0A6CFF49BCE8}" srcOrd="0" destOrd="0" presId="urn:microsoft.com/office/officeart/2005/8/layout/bProcess4"/>
    <dgm:cxn modelId="{F811CB07-4282-4A83-A358-FA8ACE870F0B}" type="presOf" srcId="{5F563FDF-68E0-4532-A238-F2B4F40D514C}" destId="{1B50BFC0-B4D6-4BC3-B5E4-CF59BDFABE2A}" srcOrd="0" destOrd="0" presId="urn:microsoft.com/office/officeart/2005/8/layout/bProcess4"/>
    <dgm:cxn modelId="{A4B48E44-3E84-4651-9314-ABCC65480C16}" type="presOf" srcId="{588DFA08-AA0A-4B91-9359-5C2C4488A330}" destId="{B630B3E9-C976-4814-8F94-C0C4A230ADBF}" srcOrd="0" destOrd="0" presId="urn:microsoft.com/office/officeart/2005/8/layout/bProcess4"/>
    <dgm:cxn modelId="{B0696F55-6786-4EDC-886F-104AF1085BAD}" type="presOf" srcId="{E446F138-EBED-4CF1-9103-188FE94E650D}" destId="{F6FC2ECE-CFEF-4937-9FA9-7386B67A1865}" srcOrd="0" destOrd="0" presId="urn:microsoft.com/office/officeart/2005/8/layout/bProcess4"/>
    <dgm:cxn modelId="{8EB99836-5A09-4A80-9212-A68EFBBCDDFB}" type="presOf" srcId="{3930EB36-6FDA-44CB-ABCF-988A9BA436E3}" destId="{4857B1DA-2507-499A-A5D5-C0764C8CAA3E}" srcOrd="0" destOrd="0" presId="urn:microsoft.com/office/officeart/2005/8/layout/bProcess4"/>
    <dgm:cxn modelId="{F960A199-D1F8-4E7B-96E2-49F2A8F69B55}" srcId="{80AF90E8-A1EA-4586-928D-0A2057E1CF18}" destId="{5A340EBB-0CD1-4298-95DA-27F72796D99F}" srcOrd="10" destOrd="0" parTransId="{363361E4-A48B-4E35-A16F-3EA81F494ADD}" sibTransId="{9605F4AE-7274-4589-894C-1B1A3A565BF5}"/>
    <dgm:cxn modelId="{BE1C2240-8FD5-4089-8EBB-94495036316F}" type="presOf" srcId="{F3DCA773-1244-4B9A-9ED9-C0FDC19BC45E}" destId="{49E3A27E-2060-4282-930E-AB4FCEE55EDC}" srcOrd="0" destOrd="0" presId="urn:microsoft.com/office/officeart/2005/8/layout/bProcess4"/>
    <dgm:cxn modelId="{2D922E3F-DA06-474E-808F-E2B7DC6A6F86}" type="presOf" srcId="{FDA29CFD-5F1F-43BC-A078-6D753895F6EC}" destId="{57E7BDAE-DCE6-47E5-8E9C-B8C08ABA3F38}" srcOrd="0" destOrd="0" presId="urn:microsoft.com/office/officeart/2005/8/layout/bProcess4"/>
    <dgm:cxn modelId="{5F6E4A05-A398-46E1-93E6-2AB004134746}" srcId="{80AF90E8-A1EA-4586-928D-0A2057E1CF18}" destId="{85779212-6661-4725-AB42-F7048CC39118}" srcOrd="1" destOrd="0" parTransId="{6F580CD6-77FB-49E7-AB68-F4756DCC3BC8}" sibTransId="{2215B2C2-F53F-48D4-AAEB-E3661D91D79C}"/>
    <dgm:cxn modelId="{B16DEB27-96D6-4358-A383-83FF61A1507A}" srcId="{80AF90E8-A1EA-4586-928D-0A2057E1CF18}" destId="{ADF668AF-3E12-4B37-BBC6-0A6519A77140}" srcOrd="6" destOrd="0" parTransId="{CC484BE2-A604-4608-8FEA-5A49472B3C2C}" sibTransId="{588DFA08-AA0A-4B91-9359-5C2C4488A330}"/>
    <dgm:cxn modelId="{88493D4F-5C5B-4235-AA6E-41459DFAA19F}" type="presOf" srcId="{F83289A8-9306-490E-B0CC-4C4053ADF858}" destId="{C50EEFDE-E4D4-43BF-B3E0-15EBCF9D5439}" srcOrd="0" destOrd="0" presId="urn:microsoft.com/office/officeart/2005/8/layout/bProcess4"/>
    <dgm:cxn modelId="{8AC2D1BA-D495-4D6E-8BC2-5375340C4836}" type="presOf" srcId="{1BA9C312-3FC6-492C-A4A5-D1F5D3C47968}" destId="{4E9A9EE7-92C5-4699-8669-56116A772C24}" srcOrd="0" destOrd="0" presId="urn:microsoft.com/office/officeart/2005/8/layout/bProcess4"/>
    <dgm:cxn modelId="{F3C4E190-1976-4293-BC20-2B4C7DDA985B}" type="presOf" srcId="{F6C80EDB-E3A4-45B5-B30F-984A993975C6}" destId="{FC461A49-6E8A-4765-BDC6-DF366118A9DB}" srcOrd="0" destOrd="0" presId="urn:microsoft.com/office/officeart/2005/8/layout/bProcess4"/>
    <dgm:cxn modelId="{FB81E22B-791B-49C1-B1CC-9EB700059E0B}" type="presOf" srcId="{8CF5CB1E-B594-4492-81DF-BD90AD0D6918}" destId="{E9E1769E-B168-4CD8-BE69-23AD7E310373}" srcOrd="0" destOrd="0" presId="urn:microsoft.com/office/officeart/2005/8/layout/bProcess4"/>
    <dgm:cxn modelId="{E4DB4185-9DF4-435B-8968-A0AAB99B9C73}" srcId="{80AF90E8-A1EA-4586-928D-0A2057E1CF18}" destId="{37FE08DE-1395-40CA-9A0B-525CD6B5E831}" srcOrd="7" destOrd="0" parTransId="{5BEB020A-F5F5-4850-9980-5A4661CB3AD2}" sibTransId="{57271963-C7A4-4669-BFA6-3618812B92AB}"/>
    <dgm:cxn modelId="{F245E1CF-D233-400D-9235-746B9D58A635}" type="presOf" srcId="{ADF668AF-3E12-4B37-BBC6-0A6519A77140}" destId="{E035CB83-BBB4-4446-A112-13AF53CB77D8}" srcOrd="0" destOrd="0" presId="urn:microsoft.com/office/officeart/2005/8/layout/bProcess4"/>
    <dgm:cxn modelId="{7556444B-E586-4C76-B57A-7A3A3DE9645D}" srcId="{80AF90E8-A1EA-4586-928D-0A2057E1CF18}" destId="{3930EB36-6FDA-44CB-ABCF-988A9BA436E3}" srcOrd="5" destOrd="0" parTransId="{A76573DD-7B52-434F-87C3-DD21C0CB5B23}" sibTransId="{F3DCA773-1244-4B9A-9ED9-C0FDC19BC45E}"/>
    <dgm:cxn modelId="{E1752E63-61F7-4652-939A-C6888C5B4F9B}" type="presOf" srcId="{1033E4E2-0E1D-4720-83E1-31115BA38D7F}" destId="{71178B63-9DA7-4EB2-B893-CB8B1DDC5504}" srcOrd="0" destOrd="0" presId="urn:microsoft.com/office/officeart/2005/8/layout/bProcess4"/>
    <dgm:cxn modelId="{73B3AA26-DC69-41FD-B96D-522E6204B583}" type="presOf" srcId="{4D86363D-FCDF-405A-A7D2-DF82B39338D2}" destId="{032526AA-CA4F-47A6-8833-CC4E299DB417}" srcOrd="0" destOrd="0" presId="urn:microsoft.com/office/officeart/2005/8/layout/bProcess4"/>
    <dgm:cxn modelId="{98B084E2-A518-49DC-81E3-D457DDC882A9}" type="presOf" srcId="{B55A334A-32D7-4815-BEAC-C5617F56BF7E}" destId="{2847F226-AA4E-451E-8FA8-84F2FF69A214}" srcOrd="0" destOrd="0" presId="urn:microsoft.com/office/officeart/2005/8/layout/bProcess4"/>
    <dgm:cxn modelId="{3BEE3AD0-4CAB-4304-9C09-5DA7573F2C56}" type="presOf" srcId="{B23BB066-8472-44EB-B86D-AA6CC44B4FC0}" destId="{37C0B14A-2A81-4DA6-A4DE-8B0C0FD97FC1}" srcOrd="0" destOrd="0" presId="urn:microsoft.com/office/officeart/2005/8/layout/bProcess4"/>
    <dgm:cxn modelId="{72EBE6C8-89AA-4C9F-AF6D-3E7ACA7E09BD}" type="presOf" srcId="{CB3E1638-FD94-40EE-8343-708E939E8EA2}" destId="{6C96EEF3-BDD2-46B0-9775-DB0AD7122BCA}" srcOrd="0" destOrd="0" presId="urn:microsoft.com/office/officeart/2005/8/layout/bProcess4"/>
    <dgm:cxn modelId="{7D213385-4BB4-41F8-A2CD-6FBCDD16C446}" srcId="{80AF90E8-A1EA-4586-928D-0A2057E1CF18}" destId="{126F406E-6F8A-49A3-979C-4B0D96D833E5}" srcOrd="13" destOrd="0" parTransId="{C4478F16-E7D2-4394-AF82-5A2B6E0FA2DF}" sibTransId="{958EC8D5-2E09-4E39-8BCC-89A628BFA8D6}"/>
    <dgm:cxn modelId="{3EB6EB7A-E43B-4EB4-A520-BA156A2673F7}" type="presOf" srcId="{80AF90E8-A1EA-4586-928D-0A2057E1CF18}" destId="{43C8D023-4A08-46DB-AFBD-6200159D864A}" srcOrd="0" destOrd="0" presId="urn:microsoft.com/office/officeart/2005/8/layout/bProcess4"/>
    <dgm:cxn modelId="{B1B70087-CBE9-4168-8B9F-1EACAFDF4AAD}" type="presOf" srcId="{39DEF6C6-E8FB-4ECE-ACD4-2E49036603D1}" destId="{944E00CC-E210-4FBC-BC90-6DD58207E1A0}" srcOrd="0" destOrd="0" presId="urn:microsoft.com/office/officeart/2005/8/layout/bProcess4"/>
    <dgm:cxn modelId="{5A918AFF-4DF5-43BE-92C5-7981F98BA7DE}" type="presOf" srcId="{958EC8D5-2E09-4E39-8BCC-89A628BFA8D6}" destId="{336F546F-1FDC-4E18-95BF-FE0101C6AA07}" srcOrd="0" destOrd="0" presId="urn:microsoft.com/office/officeart/2005/8/layout/bProcess4"/>
    <dgm:cxn modelId="{21D8CC83-DBDA-4724-A583-9B46B319AACE}" srcId="{80AF90E8-A1EA-4586-928D-0A2057E1CF18}" destId="{4D86363D-FCDF-405A-A7D2-DF82B39338D2}" srcOrd="15" destOrd="0" parTransId="{319D7107-C98F-4A2E-8239-05A3900CF85D}" sibTransId="{ECAFCB15-B4D1-453D-90E4-AA983B48832A}"/>
    <dgm:cxn modelId="{30FA14B0-855F-472A-B66C-D8B9F93A0C1E}" type="presOf" srcId="{85779212-6661-4725-AB42-F7048CC39118}" destId="{D3A94AF2-A702-4098-BBF8-E78BBA5F1D6D}" srcOrd="0" destOrd="0" presId="urn:microsoft.com/office/officeart/2005/8/layout/bProcess4"/>
    <dgm:cxn modelId="{245674ED-6B22-4C31-97D7-0FB63B7EB25C}" srcId="{80AF90E8-A1EA-4586-928D-0A2057E1CF18}" destId="{B0791259-9104-4F93-B8AD-DAEF5DF1EA80}" srcOrd="19" destOrd="0" parTransId="{1117126B-BFDF-432E-BA44-B7FDC3D8F145}" sibTransId="{32BFCE23-CACB-4BAC-9396-91B12F6DFBA7}"/>
    <dgm:cxn modelId="{C52AF203-352C-49AD-806A-97DC0AA9D717}" type="presOf" srcId="{849F1AF7-80F2-4D94-9C87-042462653019}" destId="{25792AB4-3AFD-4F68-897D-F8B7E034032A}" srcOrd="0" destOrd="0" presId="urn:microsoft.com/office/officeart/2005/8/layout/bProcess4"/>
    <dgm:cxn modelId="{A75808A6-C8E5-4B3C-A8B2-1F1BA37CA718}" type="presOf" srcId="{CB760776-D8BE-4281-B64D-797A4660DBCA}" destId="{A1C00C4B-A7DA-42E9-8FF6-0516DAF3992D}" srcOrd="0" destOrd="0" presId="urn:microsoft.com/office/officeart/2005/8/layout/bProcess4"/>
    <dgm:cxn modelId="{2E8D60BF-E593-4EF7-AA41-915DB7F86B7C}" type="presOf" srcId="{239473F6-9DFA-4CBB-B80C-93A081707E6A}" destId="{1B96307D-B72E-46CA-99C3-DF4964887F61}" srcOrd="0" destOrd="0" presId="urn:microsoft.com/office/officeart/2005/8/layout/bProcess4"/>
    <dgm:cxn modelId="{8660C810-2EB2-4A6D-969E-194E72A34116}" type="presOf" srcId="{57271963-C7A4-4669-BFA6-3618812B92AB}" destId="{102024F8-46FB-49EA-846C-1146B6011A6D}" srcOrd="0" destOrd="0" presId="urn:microsoft.com/office/officeart/2005/8/layout/bProcess4"/>
    <dgm:cxn modelId="{2580BCDC-2222-483F-B2F1-8DB758BDA076}" type="presOf" srcId="{2E6F1F50-D4EB-4BC1-8C05-7F4BB60E1095}" destId="{3C2DD09D-26A9-46AC-84EB-C215991B44BB}" srcOrd="0" destOrd="0" presId="urn:microsoft.com/office/officeart/2005/8/layout/bProcess4"/>
    <dgm:cxn modelId="{795763E9-4225-4BC6-B9EC-AB6874E2B24C}" srcId="{80AF90E8-A1EA-4586-928D-0A2057E1CF18}" destId="{39DEF6C6-E8FB-4ECE-ACD4-2E49036603D1}" srcOrd="18" destOrd="0" parTransId="{9B69F6C1-27C2-480B-B0BE-3D826ADE007D}" sibTransId="{38CC07E6-E536-40AC-A8C1-C3B8006F5027}"/>
    <dgm:cxn modelId="{52A8CA28-B741-4D34-9589-6E498E64E742}" srcId="{80AF90E8-A1EA-4586-928D-0A2057E1CF18}" destId="{F83289A8-9306-490E-B0CC-4C4053ADF858}" srcOrd="20" destOrd="0" parTransId="{0D525162-730F-47CA-A7E4-BD772A86EEE9}" sibTransId="{F6C80EDB-E3A4-45B5-B30F-984A993975C6}"/>
    <dgm:cxn modelId="{8E2F635B-4747-43A5-9185-4AD3BA51060C}" srcId="{80AF90E8-A1EA-4586-928D-0A2057E1CF18}" destId="{9E968A82-C2C9-4708-8C57-1EDF4EDF7FAA}" srcOrd="14" destOrd="0" parTransId="{DDD34AAC-5BA3-4936-9F7A-826950BBBFBE}" sibTransId="{1033E4E2-0E1D-4720-83E1-31115BA38D7F}"/>
    <dgm:cxn modelId="{402E7BE7-09FD-4117-8A11-E14DAF96F16D}" srcId="{80AF90E8-A1EA-4586-928D-0A2057E1CF18}" destId="{B55A334A-32D7-4815-BEAC-C5617F56BF7E}" srcOrd="21" destOrd="0" parTransId="{195971A1-7E37-4C83-A020-1379109DAEB1}" sibTransId="{7FF30CD9-FB12-4C43-A294-99F48E60C536}"/>
    <dgm:cxn modelId="{C1792F61-9991-44B3-9EF1-F9A9267E395E}" type="presOf" srcId="{DFF57308-0DD1-475E-B2FA-E31BBB6A0860}" destId="{F524A3C2-2F47-4EC7-9192-FF87140744A2}" srcOrd="0" destOrd="0" presId="urn:microsoft.com/office/officeart/2005/8/layout/bProcess4"/>
    <dgm:cxn modelId="{F27AF0C7-1688-49DD-8F20-B9A230DA5711}" type="presOf" srcId="{9605F4AE-7274-4589-894C-1B1A3A565BF5}" destId="{EE1B6901-BA8E-4105-96F4-42FA568E72BE}" srcOrd="0" destOrd="0" presId="urn:microsoft.com/office/officeart/2005/8/layout/bProcess4"/>
    <dgm:cxn modelId="{9ED35F90-2C75-4B97-8F3E-B94CEF9CB228}" type="presOf" srcId="{9DD5A6BA-862F-4A08-93A2-7D63C651E05C}" destId="{E85740BD-7D7E-4766-A8DC-1A35B1C1FEC9}" srcOrd="0" destOrd="0" presId="urn:microsoft.com/office/officeart/2005/8/layout/bProcess4"/>
    <dgm:cxn modelId="{80BD2429-6C49-4A6B-92D1-C3543B03A210}" type="presOf" srcId="{38CC07E6-E536-40AC-A8C1-C3B8006F5027}" destId="{BB525EF4-11CA-4AF0-9D05-0890477F605B}" srcOrd="0" destOrd="0" presId="urn:microsoft.com/office/officeart/2005/8/layout/bProcess4"/>
    <dgm:cxn modelId="{3EC5E5B6-5FD2-4834-90D3-D2C1FB6FA5C1}" srcId="{80AF90E8-A1EA-4586-928D-0A2057E1CF18}" destId="{CC219B65-9C10-4B15-9620-A0F17B12EAEF}" srcOrd="2" destOrd="0" parTransId="{A6E99459-E0B4-41A3-9891-91D01B67ADC5}" sibTransId="{FDA29CFD-5F1F-43BC-A078-6D753895F6EC}"/>
    <dgm:cxn modelId="{237FCFD8-A37A-4E8F-A9FA-0A5384F43910}" type="presOf" srcId="{32BFCE23-CACB-4BAC-9396-91B12F6DFBA7}" destId="{8AEDD5ED-C456-404E-A0C1-9FCD061445C8}" srcOrd="0" destOrd="0" presId="urn:microsoft.com/office/officeart/2005/8/layout/bProcess4"/>
    <dgm:cxn modelId="{594F0B68-CC1F-4E0B-8A8B-6DA9CC7E3826}" type="presOf" srcId="{3738A1B5-90CF-463A-8275-7F3A4F3727AB}" destId="{5EA1F8C6-C86C-4503-BC0D-7BD03573E398}" srcOrd="0" destOrd="0" presId="urn:microsoft.com/office/officeart/2005/8/layout/bProcess4"/>
    <dgm:cxn modelId="{0E1AF4FD-C198-4869-99B4-AFD5C663490F}" type="presOf" srcId="{37FE08DE-1395-40CA-9A0B-525CD6B5E831}" destId="{D9FD8211-2BCA-47BB-831A-240575A82F59}" srcOrd="0" destOrd="0" presId="urn:microsoft.com/office/officeart/2005/8/layout/bProcess4"/>
    <dgm:cxn modelId="{E618EC1B-2A5C-46B4-AB9A-9A9C3842AC22}" type="presParOf" srcId="{43C8D023-4A08-46DB-AFBD-6200159D864A}" destId="{7CF6DC72-9EB1-4CE1-8062-055148110538}" srcOrd="0" destOrd="0" presId="urn:microsoft.com/office/officeart/2005/8/layout/bProcess4"/>
    <dgm:cxn modelId="{73995D12-3DD3-4552-8F6B-6AC4286841E5}" type="presParOf" srcId="{7CF6DC72-9EB1-4CE1-8062-055148110538}" destId="{AD9E0B91-5ADB-4817-A7F5-254540FCE215}" srcOrd="0" destOrd="0" presId="urn:microsoft.com/office/officeart/2005/8/layout/bProcess4"/>
    <dgm:cxn modelId="{F356C193-FED9-4FD5-91CA-96D4120A830E}" type="presParOf" srcId="{7CF6DC72-9EB1-4CE1-8062-055148110538}" destId="{D8032C8F-07F8-49E7-971C-FCC8CFA0A309}" srcOrd="1" destOrd="0" presId="urn:microsoft.com/office/officeart/2005/8/layout/bProcess4"/>
    <dgm:cxn modelId="{A5F012E9-DE8E-4C54-9509-50C732DD0D33}" type="presParOf" srcId="{43C8D023-4A08-46DB-AFBD-6200159D864A}" destId="{E9E1769E-B168-4CD8-BE69-23AD7E310373}" srcOrd="1" destOrd="0" presId="urn:microsoft.com/office/officeart/2005/8/layout/bProcess4"/>
    <dgm:cxn modelId="{85EDB5A0-E223-47B6-9459-E2688D655581}" type="presParOf" srcId="{43C8D023-4A08-46DB-AFBD-6200159D864A}" destId="{E793C0DA-AA69-48FD-9E70-F056E6010C5E}" srcOrd="2" destOrd="0" presId="urn:microsoft.com/office/officeart/2005/8/layout/bProcess4"/>
    <dgm:cxn modelId="{2C77C612-572E-4A4E-9E42-462A23279953}" type="presParOf" srcId="{E793C0DA-AA69-48FD-9E70-F056E6010C5E}" destId="{B6FE7EB7-DA67-4353-9A8C-616C8E809188}" srcOrd="0" destOrd="0" presId="urn:microsoft.com/office/officeart/2005/8/layout/bProcess4"/>
    <dgm:cxn modelId="{10030735-D05A-4739-89CF-DA35059B897E}" type="presParOf" srcId="{E793C0DA-AA69-48FD-9E70-F056E6010C5E}" destId="{D3A94AF2-A702-4098-BBF8-E78BBA5F1D6D}" srcOrd="1" destOrd="0" presId="urn:microsoft.com/office/officeart/2005/8/layout/bProcess4"/>
    <dgm:cxn modelId="{E4A56420-CA22-45F5-83D2-21DD2F038A69}" type="presParOf" srcId="{43C8D023-4A08-46DB-AFBD-6200159D864A}" destId="{1C87ED88-6481-4D07-9F24-87B0AE319D5F}" srcOrd="3" destOrd="0" presId="urn:microsoft.com/office/officeart/2005/8/layout/bProcess4"/>
    <dgm:cxn modelId="{2C91EA77-205B-45DA-8039-C0778ECA24CD}" type="presParOf" srcId="{43C8D023-4A08-46DB-AFBD-6200159D864A}" destId="{72ADED6A-C79C-460A-B9BC-0E47F81582D7}" srcOrd="4" destOrd="0" presId="urn:microsoft.com/office/officeart/2005/8/layout/bProcess4"/>
    <dgm:cxn modelId="{D1B03601-D4C4-448C-9719-A42A496FA05A}" type="presParOf" srcId="{72ADED6A-C79C-460A-B9BC-0E47F81582D7}" destId="{4C5AD02E-C3B9-49AC-A50B-79696A885476}" srcOrd="0" destOrd="0" presId="urn:microsoft.com/office/officeart/2005/8/layout/bProcess4"/>
    <dgm:cxn modelId="{14D57E7E-D5B3-4836-A783-6355AAE91ED7}" type="presParOf" srcId="{72ADED6A-C79C-460A-B9BC-0E47F81582D7}" destId="{A7934C21-ADF7-422F-B47B-B5A5A9ACA79D}" srcOrd="1" destOrd="0" presId="urn:microsoft.com/office/officeart/2005/8/layout/bProcess4"/>
    <dgm:cxn modelId="{5D9351F7-1B17-4F1B-8B9B-927E1E74F675}" type="presParOf" srcId="{43C8D023-4A08-46DB-AFBD-6200159D864A}" destId="{57E7BDAE-DCE6-47E5-8E9C-B8C08ABA3F38}" srcOrd="5" destOrd="0" presId="urn:microsoft.com/office/officeart/2005/8/layout/bProcess4"/>
    <dgm:cxn modelId="{8A24F70D-010B-4C87-9C51-DAD994B378F0}" type="presParOf" srcId="{43C8D023-4A08-46DB-AFBD-6200159D864A}" destId="{6C5397E5-F3BE-4F32-B8C6-7C663A7DA65C}" srcOrd="6" destOrd="0" presId="urn:microsoft.com/office/officeart/2005/8/layout/bProcess4"/>
    <dgm:cxn modelId="{F34F8C8A-FFD6-4246-A905-83AAB328A41D}" type="presParOf" srcId="{6C5397E5-F3BE-4F32-B8C6-7C663A7DA65C}" destId="{87C329B3-7004-4E96-9B2D-E12FBD2E3381}" srcOrd="0" destOrd="0" presId="urn:microsoft.com/office/officeart/2005/8/layout/bProcess4"/>
    <dgm:cxn modelId="{CB7282CC-C940-4661-BB30-54F037E3F3D7}" type="presParOf" srcId="{6C5397E5-F3BE-4F32-B8C6-7C663A7DA65C}" destId="{25792AB4-3AFD-4F68-897D-F8B7E034032A}" srcOrd="1" destOrd="0" presId="urn:microsoft.com/office/officeart/2005/8/layout/bProcess4"/>
    <dgm:cxn modelId="{0F87B850-1825-4E0B-8017-36F7D91DA127}" type="presParOf" srcId="{43C8D023-4A08-46DB-AFBD-6200159D864A}" destId="{D5FA8DAC-FD33-47B2-AF30-E334B817887F}" srcOrd="7" destOrd="0" presId="urn:microsoft.com/office/officeart/2005/8/layout/bProcess4"/>
    <dgm:cxn modelId="{FF9D3FD1-8BEE-4DCD-AF0A-E3C53B34B2E3}" type="presParOf" srcId="{43C8D023-4A08-46DB-AFBD-6200159D864A}" destId="{6122CEF0-EDE3-4782-957B-1C2FA1576804}" srcOrd="8" destOrd="0" presId="urn:microsoft.com/office/officeart/2005/8/layout/bProcess4"/>
    <dgm:cxn modelId="{2FA7013B-D81B-4B67-B256-7B2ED4E3A231}" type="presParOf" srcId="{6122CEF0-EDE3-4782-957B-1C2FA1576804}" destId="{C8C5E3A7-3FBD-4B24-BDDB-61B9A92D124D}" srcOrd="0" destOrd="0" presId="urn:microsoft.com/office/officeart/2005/8/layout/bProcess4"/>
    <dgm:cxn modelId="{74B9827B-4BFD-4C63-BAC1-B545687DADCC}" type="presParOf" srcId="{6122CEF0-EDE3-4782-957B-1C2FA1576804}" destId="{4E9A9EE7-92C5-4699-8669-56116A772C24}" srcOrd="1" destOrd="0" presId="urn:microsoft.com/office/officeart/2005/8/layout/bProcess4"/>
    <dgm:cxn modelId="{FF8CFB30-79F2-48E1-9387-8F46343A70D7}" type="presParOf" srcId="{43C8D023-4A08-46DB-AFBD-6200159D864A}" destId="{F524A3C2-2F47-4EC7-9192-FF87140744A2}" srcOrd="9" destOrd="0" presId="urn:microsoft.com/office/officeart/2005/8/layout/bProcess4"/>
    <dgm:cxn modelId="{A364223C-90BE-4DAF-9A73-B6171F216065}" type="presParOf" srcId="{43C8D023-4A08-46DB-AFBD-6200159D864A}" destId="{391FC91B-3709-4F26-A4A5-BD05E57ACFA2}" srcOrd="10" destOrd="0" presId="urn:microsoft.com/office/officeart/2005/8/layout/bProcess4"/>
    <dgm:cxn modelId="{B77FE265-A187-4634-BA49-5DCE8A7B7A1E}" type="presParOf" srcId="{391FC91B-3709-4F26-A4A5-BD05E57ACFA2}" destId="{C3F51335-5D30-4D81-A83F-639D9F307E07}" srcOrd="0" destOrd="0" presId="urn:microsoft.com/office/officeart/2005/8/layout/bProcess4"/>
    <dgm:cxn modelId="{C3D3407F-3527-439D-A5D0-2C8DF92440F1}" type="presParOf" srcId="{391FC91B-3709-4F26-A4A5-BD05E57ACFA2}" destId="{4857B1DA-2507-499A-A5D5-C0764C8CAA3E}" srcOrd="1" destOrd="0" presId="urn:microsoft.com/office/officeart/2005/8/layout/bProcess4"/>
    <dgm:cxn modelId="{8CEAB39C-5417-4CB3-BCE8-9A5CDA6D17AC}" type="presParOf" srcId="{43C8D023-4A08-46DB-AFBD-6200159D864A}" destId="{49E3A27E-2060-4282-930E-AB4FCEE55EDC}" srcOrd="11" destOrd="0" presId="urn:microsoft.com/office/officeart/2005/8/layout/bProcess4"/>
    <dgm:cxn modelId="{E2B7E614-DDF7-4B3B-8443-73E4236AE4C9}" type="presParOf" srcId="{43C8D023-4A08-46DB-AFBD-6200159D864A}" destId="{6A222A9C-1BE9-4CFF-BF72-D69C0110133F}" srcOrd="12" destOrd="0" presId="urn:microsoft.com/office/officeart/2005/8/layout/bProcess4"/>
    <dgm:cxn modelId="{4CA2954E-9606-41B1-9644-77CAE64390FA}" type="presParOf" srcId="{6A222A9C-1BE9-4CFF-BF72-D69C0110133F}" destId="{9DCA24C9-AC31-443A-B417-F995E4531B81}" srcOrd="0" destOrd="0" presId="urn:microsoft.com/office/officeart/2005/8/layout/bProcess4"/>
    <dgm:cxn modelId="{3D186B88-04A9-46A2-8C9D-45ED2F65DDF9}" type="presParOf" srcId="{6A222A9C-1BE9-4CFF-BF72-D69C0110133F}" destId="{E035CB83-BBB4-4446-A112-13AF53CB77D8}" srcOrd="1" destOrd="0" presId="urn:microsoft.com/office/officeart/2005/8/layout/bProcess4"/>
    <dgm:cxn modelId="{4238AA3F-2275-4CFD-908A-CD636DCC673A}" type="presParOf" srcId="{43C8D023-4A08-46DB-AFBD-6200159D864A}" destId="{B630B3E9-C976-4814-8F94-C0C4A230ADBF}" srcOrd="13" destOrd="0" presId="urn:microsoft.com/office/officeart/2005/8/layout/bProcess4"/>
    <dgm:cxn modelId="{27773F2A-2763-4884-82C2-943525BE3F49}" type="presParOf" srcId="{43C8D023-4A08-46DB-AFBD-6200159D864A}" destId="{A97FF797-8A3F-4914-893E-02097BE29E8A}" srcOrd="14" destOrd="0" presId="urn:microsoft.com/office/officeart/2005/8/layout/bProcess4"/>
    <dgm:cxn modelId="{B4C6795F-240C-445A-AB2F-41C12FA241C9}" type="presParOf" srcId="{A97FF797-8A3F-4914-893E-02097BE29E8A}" destId="{5A65044A-DFA8-4F7D-A6E0-956032BCAD27}" srcOrd="0" destOrd="0" presId="urn:microsoft.com/office/officeart/2005/8/layout/bProcess4"/>
    <dgm:cxn modelId="{B3EBC7C1-5E40-43F7-A7B5-2C8B953BDC92}" type="presParOf" srcId="{A97FF797-8A3F-4914-893E-02097BE29E8A}" destId="{D9FD8211-2BCA-47BB-831A-240575A82F59}" srcOrd="1" destOrd="0" presId="urn:microsoft.com/office/officeart/2005/8/layout/bProcess4"/>
    <dgm:cxn modelId="{F4B00C66-A5D2-487C-8709-80993C43EEE1}" type="presParOf" srcId="{43C8D023-4A08-46DB-AFBD-6200159D864A}" destId="{102024F8-46FB-49EA-846C-1146B6011A6D}" srcOrd="15" destOrd="0" presId="urn:microsoft.com/office/officeart/2005/8/layout/bProcess4"/>
    <dgm:cxn modelId="{78AE1827-17DF-4CC6-B057-D2696504C386}" type="presParOf" srcId="{43C8D023-4A08-46DB-AFBD-6200159D864A}" destId="{A2E1DB04-E89C-43B1-B7EE-58212005BA3D}" srcOrd="16" destOrd="0" presId="urn:microsoft.com/office/officeart/2005/8/layout/bProcess4"/>
    <dgm:cxn modelId="{7BA54109-6C7C-494C-A454-A847F9E4F4FF}" type="presParOf" srcId="{A2E1DB04-E89C-43B1-B7EE-58212005BA3D}" destId="{C51202BA-B9DC-45F2-AD89-03FEC7060355}" srcOrd="0" destOrd="0" presId="urn:microsoft.com/office/officeart/2005/8/layout/bProcess4"/>
    <dgm:cxn modelId="{36696C65-D9E6-4426-AF3A-669DEE79B111}" type="presParOf" srcId="{A2E1DB04-E89C-43B1-B7EE-58212005BA3D}" destId="{5EA1F8C6-C86C-4503-BC0D-7BD03573E398}" srcOrd="1" destOrd="0" presId="urn:microsoft.com/office/officeart/2005/8/layout/bProcess4"/>
    <dgm:cxn modelId="{7F102E0D-65AE-4F1E-98A3-4DA9073B767F}" type="presParOf" srcId="{43C8D023-4A08-46DB-AFBD-6200159D864A}" destId="{26601E23-47AA-4256-A218-A825457954F3}" srcOrd="17" destOrd="0" presId="urn:microsoft.com/office/officeart/2005/8/layout/bProcess4"/>
    <dgm:cxn modelId="{68E029C6-498A-441C-A2A8-F16ED2823B12}" type="presParOf" srcId="{43C8D023-4A08-46DB-AFBD-6200159D864A}" destId="{C23A43D7-A0F1-4C9A-B826-4C0CBDCEC267}" srcOrd="18" destOrd="0" presId="urn:microsoft.com/office/officeart/2005/8/layout/bProcess4"/>
    <dgm:cxn modelId="{3AEEBF32-C0ED-43C2-8C8C-AB1D5848433D}" type="presParOf" srcId="{C23A43D7-A0F1-4C9A-B826-4C0CBDCEC267}" destId="{8846A12C-1553-4F83-8C62-8EBCEA55074C}" srcOrd="0" destOrd="0" presId="urn:microsoft.com/office/officeart/2005/8/layout/bProcess4"/>
    <dgm:cxn modelId="{6A0061F1-710C-46BF-B474-4225E8C65718}" type="presParOf" srcId="{C23A43D7-A0F1-4C9A-B826-4C0CBDCEC267}" destId="{1B50BFC0-B4D6-4BC3-B5E4-CF59BDFABE2A}" srcOrd="1" destOrd="0" presId="urn:microsoft.com/office/officeart/2005/8/layout/bProcess4"/>
    <dgm:cxn modelId="{43650632-CC84-4B7B-A592-13508D733D4C}" type="presParOf" srcId="{43C8D023-4A08-46DB-AFBD-6200159D864A}" destId="{3C2DD09D-26A9-46AC-84EB-C215991B44BB}" srcOrd="19" destOrd="0" presId="urn:microsoft.com/office/officeart/2005/8/layout/bProcess4"/>
    <dgm:cxn modelId="{5380F634-067F-4428-92A8-24A52F20CD99}" type="presParOf" srcId="{43C8D023-4A08-46DB-AFBD-6200159D864A}" destId="{71078D0E-936B-46A5-9160-4F8666DDCB8F}" srcOrd="20" destOrd="0" presId="urn:microsoft.com/office/officeart/2005/8/layout/bProcess4"/>
    <dgm:cxn modelId="{985CDBA2-3A0B-4D65-9F4C-85AE7DD1963D}" type="presParOf" srcId="{71078D0E-936B-46A5-9160-4F8666DDCB8F}" destId="{21680056-C4D9-4771-912A-68D1D1FD5A4E}" srcOrd="0" destOrd="0" presId="urn:microsoft.com/office/officeart/2005/8/layout/bProcess4"/>
    <dgm:cxn modelId="{E7F7F64E-C122-457B-AB9F-B4CE3DCC7C5B}" type="presParOf" srcId="{71078D0E-936B-46A5-9160-4F8666DDCB8F}" destId="{A68F451B-07D1-4CC8-8C09-0A6CFF49BCE8}" srcOrd="1" destOrd="0" presId="urn:microsoft.com/office/officeart/2005/8/layout/bProcess4"/>
    <dgm:cxn modelId="{7DDA0D1F-8B4C-464D-A1CA-D4BBE4813E9D}" type="presParOf" srcId="{43C8D023-4A08-46DB-AFBD-6200159D864A}" destId="{EE1B6901-BA8E-4105-96F4-42FA568E72BE}" srcOrd="21" destOrd="0" presId="urn:microsoft.com/office/officeart/2005/8/layout/bProcess4"/>
    <dgm:cxn modelId="{57A9A18C-5813-4BD0-B9A4-0623F82E5187}" type="presParOf" srcId="{43C8D023-4A08-46DB-AFBD-6200159D864A}" destId="{E1A51B93-D496-444F-A156-CAF74E809076}" srcOrd="22" destOrd="0" presId="urn:microsoft.com/office/officeart/2005/8/layout/bProcess4"/>
    <dgm:cxn modelId="{F9DA8D36-9957-4492-8B08-2C1FC3ED1CB2}" type="presParOf" srcId="{E1A51B93-D496-444F-A156-CAF74E809076}" destId="{D95F7B6E-C843-4412-AD1C-14CA2FC5923C}" srcOrd="0" destOrd="0" presId="urn:microsoft.com/office/officeart/2005/8/layout/bProcess4"/>
    <dgm:cxn modelId="{CC781E0F-3182-4887-81DA-EA5F2DA48C79}" type="presParOf" srcId="{E1A51B93-D496-444F-A156-CAF74E809076}" destId="{1B96307D-B72E-46CA-99C3-DF4964887F61}" srcOrd="1" destOrd="0" presId="urn:microsoft.com/office/officeart/2005/8/layout/bProcess4"/>
    <dgm:cxn modelId="{ADD62DC0-EFC6-4779-8022-B2C5354D06B1}" type="presParOf" srcId="{43C8D023-4A08-46DB-AFBD-6200159D864A}" destId="{6C96EEF3-BDD2-46B0-9775-DB0AD7122BCA}" srcOrd="23" destOrd="0" presId="urn:microsoft.com/office/officeart/2005/8/layout/bProcess4"/>
    <dgm:cxn modelId="{87DE33CE-F2C8-492D-917F-546AAF9E4606}" type="presParOf" srcId="{43C8D023-4A08-46DB-AFBD-6200159D864A}" destId="{6FBB79D9-3544-408E-8CD8-6C318341500A}" srcOrd="24" destOrd="0" presId="urn:microsoft.com/office/officeart/2005/8/layout/bProcess4"/>
    <dgm:cxn modelId="{9DE82DB0-0ED1-4C6C-9B54-4987B071107A}" type="presParOf" srcId="{6FBB79D9-3544-408E-8CD8-6C318341500A}" destId="{533E4288-8719-46AC-A924-EF3C8C5C8D40}" srcOrd="0" destOrd="0" presId="urn:microsoft.com/office/officeart/2005/8/layout/bProcess4"/>
    <dgm:cxn modelId="{D83168BF-48F6-43E7-A148-1461ED8BC4C5}" type="presParOf" srcId="{6FBB79D9-3544-408E-8CD8-6C318341500A}" destId="{B428A3B2-862D-4B94-BDCF-12B1A0C11E4D}" srcOrd="1" destOrd="0" presId="urn:microsoft.com/office/officeart/2005/8/layout/bProcess4"/>
    <dgm:cxn modelId="{6255AA24-1A32-4541-90E5-88F6FC029A75}" type="presParOf" srcId="{43C8D023-4A08-46DB-AFBD-6200159D864A}" destId="{F6FC2ECE-CFEF-4937-9FA9-7386B67A1865}" srcOrd="25" destOrd="0" presId="urn:microsoft.com/office/officeart/2005/8/layout/bProcess4"/>
    <dgm:cxn modelId="{CE7BAE20-236E-4B25-984C-B3CA8789E760}" type="presParOf" srcId="{43C8D023-4A08-46DB-AFBD-6200159D864A}" destId="{14F0E3BB-2CCD-448D-963D-3688A898D237}" srcOrd="26" destOrd="0" presId="urn:microsoft.com/office/officeart/2005/8/layout/bProcess4"/>
    <dgm:cxn modelId="{874FA66E-2BEF-4673-A21D-21EBF7310F70}" type="presParOf" srcId="{14F0E3BB-2CCD-448D-963D-3688A898D237}" destId="{446B60AE-F23C-4035-881C-0AFE6A5756DC}" srcOrd="0" destOrd="0" presId="urn:microsoft.com/office/officeart/2005/8/layout/bProcess4"/>
    <dgm:cxn modelId="{6CDE19D3-5F08-471B-90C2-70152EB25BFC}" type="presParOf" srcId="{14F0E3BB-2CCD-448D-963D-3688A898D237}" destId="{D46D306B-4D14-46FF-9643-9239C46D8CAC}" srcOrd="1" destOrd="0" presId="urn:microsoft.com/office/officeart/2005/8/layout/bProcess4"/>
    <dgm:cxn modelId="{C8F4FE45-50C2-446B-A6F5-25A393A072F0}" type="presParOf" srcId="{43C8D023-4A08-46DB-AFBD-6200159D864A}" destId="{336F546F-1FDC-4E18-95BF-FE0101C6AA07}" srcOrd="27" destOrd="0" presId="urn:microsoft.com/office/officeart/2005/8/layout/bProcess4"/>
    <dgm:cxn modelId="{3678CE35-34E0-4A93-AA95-1FC03C843F6D}" type="presParOf" srcId="{43C8D023-4A08-46DB-AFBD-6200159D864A}" destId="{BD498463-E07A-435B-B5E6-4BAAA18A372E}" srcOrd="28" destOrd="0" presId="urn:microsoft.com/office/officeart/2005/8/layout/bProcess4"/>
    <dgm:cxn modelId="{7D550737-4745-4D43-9B4D-1E7EDB3D1AA3}" type="presParOf" srcId="{BD498463-E07A-435B-B5E6-4BAAA18A372E}" destId="{355AAA7F-3BF3-4C38-BD80-872636B0FC73}" srcOrd="0" destOrd="0" presId="urn:microsoft.com/office/officeart/2005/8/layout/bProcess4"/>
    <dgm:cxn modelId="{932BADDC-9A83-4238-AAE9-8D802C053ED3}" type="presParOf" srcId="{BD498463-E07A-435B-B5E6-4BAAA18A372E}" destId="{865CC9CB-4D1A-4BBD-89CB-C6A0A3D909BD}" srcOrd="1" destOrd="0" presId="urn:microsoft.com/office/officeart/2005/8/layout/bProcess4"/>
    <dgm:cxn modelId="{1B7AF9E2-F45D-45C7-91B2-D72CE87F3FB2}" type="presParOf" srcId="{43C8D023-4A08-46DB-AFBD-6200159D864A}" destId="{71178B63-9DA7-4EB2-B893-CB8B1DDC5504}" srcOrd="29" destOrd="0" presId="urn:microsoft.com/office/officeart/2005/8/layout/bProcess4"/>
    <dgm:cxn modelId="{C3741F12-4739-4540-9408-0B3DAEEA9747}" type="presParOf" srcId="{43C8D023-4A08-46DB-AFBD-6200159D864A}" destId="{0743C31E-A2CB-493A-A8DF-8F51DA863E01}" srcOrd="30" destOrd="0" presId="urn:microsoft.com/office/officeart/2005/8/layout/bProcess4"/>
    <dgm:cxn modelId="{F80FDD61-FACF-4EB1-AAB4-DF1A7145F5D9}" type="presParOf" srcId="{0743C31E-A2CB-493A-A8DF-8F51DA863E01}" destId="{045FEA87-D9C2-4D10-843C-930A5F98A373}" srcOrd="0" destOrd="0" presId="urn:microsoft.com/office/officeart/2005/8/layout/bProcess4"/>
    <dgm:cxn modelId="{B01A01EA-6DAD-49EC-9AD8-9C6B624656AC}" type="presParOf" srcId="{0743C31E-A2CB-493A-A8DF-8F51DA863E01}" destId="{032526AA-CA4F-47A6-8833-CC4E299DB417}" srcOrd="1" destOrd="0" presId="urn:microsoft.com/office/officeart/2005/8/layout/bProcess4"/>
    <dgm:cxn modelId="{E2E201D6-69B5-424A-8B45-1370B652E81C}" type="presParOf" srcId="{43C8D023-4A08-46DB-AFBD-6200159D864A}" destId="{9B25D534-E41D-4E66-9ABC-EB6CCB037EBF}" srcOrd="31" destOrd="0" presId="urn:microsoft.com/office/officeart/2005/8/layout/bProcess4"/>
    <dgm:cxn modelId="{EE403914-D889-491C-811D-6EC12B2CD129}" type="presParOf" srcId="{43C8D023-4A08-46DB-AFBD-6200159D864A}" destId="{CCC07B11-DE30-4D37-9E33-7B3F122D2E49}" srcOrd="32" destOrd="0" presId="urn:microsoft.com/office/officeart/2005/8/layout/bProcess4"/>
    <dgm:cxn modelId="{6C576732-3D98-4A01-8576-20419071C7D4}" type="presParOf" srcId="{CCC07B11-DE30-4D37-9E33-7B3F122D2E49}" destId="{B1C23F8D-A0D2-465F-8A49-2D9214C7064B}" srcOrd="0" destOrd="0" presId="urn:microsoft.com/office/officeart/2005/8/layout/bProcess4"/>
    <dgm:cxn modelId="{BD3F998F-395C-4F2E-A144-F92D94CD68EB}" type="presParOf" srcId="{CCC07B11-DE30-4D37-9E33-7B3F122D2E49}" destId="{E85740BD-7D7E-4766-A8DC-1A35B1C1FEC9}" srcOrd="1" destOrd="0" presId="urn:microsoft.com/office/officeart/2005/8/layout/bProcess4"/>
    <dgm:cxn modelId="{6FBEC395-4380-4F2A-8DE7-AB5FC8768002}" type="presParOf" srcId="{43C8D023-4A08-46DB-AFBD-6200159D864A}" destId="{89D00D1F-943B-48DA-A8FD-AC043957EA6D}" srcOrd="33" destOrd="0" presId="urn:microsoft.com/office/officeart/2005/8/layout/bProcess4"/>
    <dgm:cxn modelId="{40B3DDC6-18A3-4C9C-B007-87F68EF7FA9D}" type="presParOf" srcId="{43C8D023-4A08-46DB-AFBD-6200159D864A}" destId="{DE01F387-6F26-481B-893B-A7B2038622EE}" srcOrd="34" destOrd="0" presId="urn:microsoft.com/office/officeart/2005/8/layout/bProcess4"/>
    <dgm:cxn modelId="{7D9AB264-56F2-4FC0-9547-A67B5178E56A}" type="presParOf" srcId="{DE01F387-6F26-481B-893B-A7B2038622EE}" destId="{486799BC-36A2-4D59-815C-A49F4DD3A69C}" srcOrd="0" destOrd="0" presId="urn:microsoft.com/office/officeart/2005/8/layout/bProcess4"/>
    <dgm:cxn modelId="{52103ACB-8937-4253-9691-675B75DC1A4A}" type="presParOf" srcId="{DE01F387-6F26-481B-893B-A7B2038622EE}" destId="{37C0B14A-2A81-4DA6-A4DE-8B0C0FD97FC1}" srcOrd="1" destOrd="0" presId="urn:microsoft.com/office/officeart/2005/8/layout/bProcess4"/>
    <dgm:cxn modelId="{80912A4E-9730-4EEF-A58B-9200B74A0630}" type="presParOf" srcId="{43C8D023-4A08-46DB-AFBD-6200159D864A}" destId="{A1C00C4B-A7DA-42E9-8FF6-0516DAF3992D}" srcOrd="35" destOrd="0" presId="urn:microsoft.com/office/officeart/2005/8/layout/bProcess4"/>
    <dgm:cxn modelId="{1B39034C-2BFF-40A2-AE4D-93C416C19E8C}" type="presParOf" srcId="{43C8D023-4A08-46DB-AFBD-6200159D864A}" destId="{E43C59BA-DBEA-4CF3-88EB-510F1480E057}" srcOrd="36" destOrd="0" presId="urn:microsoft.com/office/officeart/2005/8/layout/bProcess4"/>
    <dgm:cxn modelId="{F13F9924-7402-45D7-84A0-01CA9E9FA75D}" type="presParOf" srcId="{E43C59BA-DBEA-4CF3-88EB-510F1480E057}" destId="{CB540A9B-E176-4615-BEA3-3F0C4A4D176D}" srcOrd="0" destOrd="0" presId="urn:microsoft.com/office/officeart/2005/8/layout/bProcess4"/>
    <dgm:cxn modelId="{F8ABD89C-62E4-4054-BF87-ABA6941E8950}" type="presParOf" srcId="{E43C59BA-DBEA-4CF3-88EB-510F1480E057}" destId="{944E00CC-E210-4FBC-BC90-6DD58207E1A0}" srcOrd="1" destOrd="0" presId="urn:microsoft.com/office/officeart/2005/8/layout/bProcess4"/>
    <dgm:cxn modelId="{49572C1E-CEF1-430F-8F74-3406B5BF43A3}" type="presParOf" srcId="{43C8D023-4A08-46DB-AFBD-6200159D864A}" destId="{BB525EF4-11CA-4AF0-9D05-0890477F605B}" srcOrd="37" destOrd="0" presId="urn:microsoft.com/office/officeart/2005/8/layout/bProcess4"/>
    <dgm:cxn modelId="{6FDAE5AC-F6EE-44DA-8997-E7F7F464EFCF}" type="presParOf" srcId="{43C8D023-4A08-46DB-AFBD-6200159D864A}" destId="{CC1DC260-BE15-4F47-87F2-8C3EEC978AF9}" srcOrd="38" destOrd="0" presId="urn:microsoft.com/office/officeart/2005/8/layout/bProcess4"/>
    <dgm:cxn modelId="{97488DA6-ED2A-4514-88EE-25D833A69B20}" type="presParOf" srcId="{CC1DC260-BE15-4F47-87F2-8C3EEC978AF9}" destId="{47ED8017-C136-45AF-AB20-EBF3191025AD}" srcOrd="0" destOrd="0" presId="urn:microsoft.com/office/officeart/2005/8/layout/bProcess4"/>
    <dgm:cxn modelId="{A12465F5-8DD1-4A77-8B3B-08BA3AC176A1}" type="presParOf" srcId="{CC1DC260-BE15-4F47-87F2-8C3EEC978AF9}" destId="{AB49DBB2-8BF6-48D2-AD6B-E4C56A5DA215}" srcOrd="1" destOrd="0" presId="urn:microsoft.com/office/officeart/2005/8/layout/bProcess4"/>
    <dgm:cxn modelId="{43D27AF1-5EE6-4664-A505-FA5CD9A7FAD2}" type="presParOf" srcId="{43C8D023-4A08-46DB-AFBD-6200159D864A}" destId="{8AEDD5ED-C456-404E-A0C1-9FCD061445C8}" srcOrd="39" destOrd="0" presId="urn:microsoft.com/office/officeart/2005/8/layout/bProcess4"/>
    <dgm:cxn modelId="{BCAEADC7-CCBA-4B60-9634-37C4C280C295}" type="presParOf" srcId="{43C8D023-4A08-46DB-AFBD-6200159D864A}" destId="{841806DD-7523-4B3F-AB4C-B3A82D8547BD}" srcOrd="40" destOrd="0" presId="urn:microsoft.com/office/officeart/2005/8/layout/bProcess4"/>
    <dgm:cxn modelId="{328C4565-BA62-4C29-8134-A5B4F2BAD7DF}" type="presParOf" srcId="{841806DD-7523-4B3F-AB4C-B3A82D8547BD}" destId="{36102350-1BEA-4C65-837B-1A66EC1B7B5D}" srcOrd="0" destOrd="0" presId="urn:microsoft.com/office/officeart/2005/8/layout/bProcess4"/>
    <dgm:cxn modelId="{1ABD5B30-94E9-4F77-8959-82C2A1123E24}" type="presParOf" srcId="{841806DD-7523-4B3F-AB4C-B3A82D8547BD}" destId="{C50EEFDE-E4D4-43BF-B3E0-15EBCF9D5439}" srcOrd="1" destOrd="0" presId="urn:microsoft.com/office/officeart/2005/8/layout/bProcess4"/>
    <dgm:cxn modelId="{A5EADC72-BABA-440C-AD81-8010284D1BE9}" type="presParOf" srcId="{43C8D023-4A08-46DB-AFBD-6200159D864A}" destId="{FC461A49-6E8A-4765-BDC6-DF366118A9DB}" srcOrd="41" destOrd="0" presId="urn:microsoft.com/office/officeart/2005/8/layout/bProcess4"/>
    <dgm:cxn modelId="{6D39E426-E8F8-4005-A77C-8F67FD1AEC72}" type="presParOf" srcId="{43C8D023-4A08-46DB-AFBD-6200159D864A}" destId="{A22ECE52-F2AE-43AB-9100-6F167B8A373B}" srcOrd="42" destOrd="0" presId="urn:microsoft.com/office/officeart/2005/8/layout/bProcess4"/>
    <dgm:cxn modelId="{E0520226-E2B0-4111-8509-6A213DB9C510}" type="presParOf" srcId="{A22ECE52-F2AE-43AB-9100-6F167B8A373B}" destId="{11463E47-5635-4402-9E35-D2128D49955F}" srcOrd="0" destOrd="0" presId="urn:microsoft.com/office/officeart/2005/8/layout/bProcess4"/>
    <dgm:cxn modelId="{563FE57F-AF6B-4D7F-804E-4A611BB4C129}" type="presParOf" srcId="{A22ECE52-F2AE-43AB-9100-6F167B8A373B}" destId="{2847F226-AA4E-451E-8FA8-84F2FF69A214}" srcOrd="1" destOrd="0" presId="urn:microsoft.com/office/officeart/2005/8/layout/bProcess4"/>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BBC8978-E8BF-41D8-8779-D8A660332FBB}"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A66EFAC8-0D8C-4CAE-8551-B9CE3CF668B8}">
      <dgm:prSet phldrT="[Text]" custT="1">
        <dgm:style>
          <a:lnRef idx="3">
            <a:schemeClr val="lt1"/>
          </a:lnRef>
          <a:fillRef idx="1">
            <a:schemeClr val="accent6"/>
          </a:fillRef>
          <a:effectRef idx="1">
            <a:schemeClr val="accent6"/>
          </a:effectRef>
          <a:fontRef idx="minor">
            <a:schemeClr val="lt1"/>
          </a:fontRef>
        </dgm:style>
      </dgm:prSet>
      <dgm:spPr>
        <a:ln w="28575"/>
      </dgm:spPr>
      <dgm:t>
        <a:bodyPr/>
        <a:lstStyle/>
        <a:p>
          <a:r>
            <a:rPr lang="en-US" sz="1000" dirty="0" smtClean="0">
              <a:solidFill>
                <a:schemeClr val="tx1">
                  <a:lumMod val="50000"/>
                </a:schemeClr>
              </a:solidFill>
            </a:rPr>
            <a:t>Code Integration</a:t>
          </a:r>
          <a:endParaRPr lang="en-US" sz="1000" dirty="0">
            <a:solidFill>
              <a:schemeClr val="tx1">
                <a:lumMod val="50000"/>
              </a:schemeClr>
            </a:solidFill>
          </a:endParaRPr>
        </a:p>
      </dgm:t>
    </dgm:pt>
    <dgm:pt modelId="{3D7B44B8-BD5D-4B5D-B349-7516A3780A68}" type="parTrans" cxnId="{3967DC0C-D170-4ECB-84DB-068E19AADBEB}">
      <dgm:prSet/>
      <dgm:spPr/>
      <dgm:t>
        <a:bodyPr/>
        <a:lstStyle/>
        <a:p>
          <a:endParaRPr lang="en-US" sz="1600">
            <a:solidFill>
              <a:schemeClr val="tx1"/>
            </a:solidFill>
          </a:endParaRPr>
        </a:p>
      </dgm:t>
    </dgm:pt>
    <dgm:pt modelId="{9D833268-0AB4-473D-83AB-EE20C918AC95}" type="sibTrans" cxnId="{3967DC0C-D170-4ECB-84DB-068E19AADBEB}">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FFE5733F-0F36-4537-9CF5-8F07072B165E}">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Code Compilation</a:t>
          </a:r>
          <a:endParaRPr lang="en-US" sz="1000" dirty="0">
            <a:solidFill>
              <a:schemeClr val="tx1">
                <a:lumMod val="50000"/>
              </a:schemeClr>
            </a:solidFill>
          </a:endParaRPr>
        </a:p>
      </dgm:t>
    </dgm:pt>
    <dgm:pt modelId="{5F9AD0BA-46AB-4FCE-8FA7-409C1B6B5236}" type="parTrans" cxnId="{7B591D74-E98B-4D73-A6D0-81F8BA7CC478}">
      <dgm:prSet/>
      <dgm:spPr/>
      <dgm:t>
        <a:bodyPr/>
        <a:lstStyle/>
        <a:p>
          <a:endParaRPr lang="en-US" sz="1600">
            <a:solidFill>
              <a:schemeClr val="tx1"/>
            </a:solidFill>
          </a:endParaRPr>
        </a:p>
      </dgm:t>
    </dgm:pt>
    <dgm:pt modelId="{B8E74F81-7BE3-4C3E-8C25-9815F0B569E2}" type="sibTrans" cxnId="{7B591D74-E98B-4D73-A6D0-81F8BA7CC478}">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CF9D2C6E-0C08-44D3-9B7D-A2657EA23932}">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Code Review</a:t>
          </a:r>
          <a:endParaRPr lang="en-US" sz="1000" dirty="0">
            <a:solidFill>
              <a:schemeClr val="tx1">
                <a:lumMod val="50000"/>
              </a:schemeClr>
            </a:solidFill>
          </a:endParaRPr>
        </a:p>
      </dgm:t>
    </dgm:pt>
    <dgm:pt modelId="{AEB4EFB5-638A-4D0A-AD70-A0A79323FC35}" type="parTrans" cxnId="{9240478A-4C3B-43BE-9BA1-5FD1D5458269}">
      <dgm:prSet/>
      <dgm:spPr/>
      <dgm:t>
        <a:bodyPr/>
        <a:lstStyle/>
        <a:p>
          <a:endParaRPr lang="en-US" sz="1600">
            <a:solidFill>
              <a:schemeClr val="tx1"/>
            </a:solidFill>
          </a:endParaRPr>
        </a:p>
      </dgm:t>
    </dgm:pt>
    <dgm:pt modelId="{FF61B858-8111-4D85-850A-B5AC6BC0CF86}" type="sibTrans" cxnId="{9240478A-4C3B-43BE-9BA1-5FD1D5458269}">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051CB8D9-F4C8-47A6-9DC1-667443AE9E13}">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Unit Testing</a:t>
          </a:r>
          <a:endParaRPr lang="en-US" sz="1000" dirty="0">
            <a:solidFill>
              <a:schemeClr val="tx1">
                <a:lumMod val="50000"/>
              </a:schemeClr>
            </a:solidFill>
          </a:endParaRPr>
        </a:p>
      </dgm:t>
    </dgm:pt>
    <dgm:pt modelId="{30BC023D-593F-440E-952E-A262F82C536D}" type="parTrans" cxnId="{200018F4-DAE8-4B6A-9AD7-2ACE462C8169}">
      <dgm:prSet/>
      <dgm:spPr/>
      <dgm:t>
        <a:bodyPr/>
        <a:lstStyle/>
        <a:p>
          <a:endParaRPr lang="en-US" sz="1600">
            <a:solidFill>
              <a:schemeClr val="tx1"/>
            </a:solidFill>
          </a:endParaRPr>
        </a:p>
      </dgm:t>
    </dgm:pt>
    <dgm:pt modelId="{E613EF59-C3BB-4C08-B82E-1869A50E40AE}" type="sibTrans" cxnId="{200018F4-DAE8-4B6A-9AD7-2ACE462C8169}">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A576FCAA-5446-4F19-A1DA-791094E29F98}">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200" dirty="0" smtClean="0">
              <a:solidFill>
                <a:schemeClr val="tx1">
                  <a:lumMod val="50000"/>
                </a:schemeClr>
              </a:solidFill>
            </a:rPr>
            <a:t>Build</a:t>
          </a:r>
        </a:p>
      </dgm:t>
    </dgm:pt>
    <dgm:pt modelId="{FAC439C1-9323-450A-9EDE-8F21B1A6D653}" type="parTrans" cxnId="{A71A1DED-E227-4AE6-AC59-57D920DEEEA7}">
      <dgm:prSet/>
      <dgm:spPr/>
      <dgm:t>
        <a:bodyPr/>
        <a:lstStyle/>
        <a:p>
          <a:endParaRPr lang="en-US" sz="1600">
            <a:solidFill>
              <a:schemeClr val="tx1"/>
            </a:solidFill>
          </a:endParaRPr>
        </a:p>
      </dgm:t>
    </dgm:pt>
    <dgm:pt modelId="{D268CFAA-24B8-41E6-9B4B-32D11761F824}" type="sibTrans" cxnId="{A71A1DED-E227-4AE6-AC59-57D920DEEEA7}">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423B4314-64D5-47BA-93D8-5EB765A8A9CF}">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Deployment</a:t>
          </a:r>
        </a:p>
      </dgm:t>
    </dgm:pt>
    <dgm:pt modelId="{03E31E14-945D-4FCD-AF3A-B013161096FA}" type="parTrans" cxnId="{AAA1457C-76EF-4089-AABE-C5EAA4EA264A}">
      <dgm:prSet/>
      <dgm:spPr/>
      <dgm:t>
        <a:bodyPr/>
        <a:lstStyle/>
        <a:p>
          <a:endParaRPr lang="en-US" sz="1600">
            <a:solidFill>
              <a:schemeClr val="tx1"/>
            </a:solidFill>
          </a:endParaRPr>
        </a:p>
      </dgm:t>
    </dgm:pt>
    <dgm:pt modelId="{AFD8E1C5-2E15-40B4-932E-A05F6EE521F8}" type="sibTrans" cxnId="{AAA1457C-76EF-4089-AABE-C5EAA4EA264A}">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8465242E-62E2-418E-A12A-8334E9E32855}">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QA Testing </a:t>
          </a:r>
        </a:p>
      </dgm:t>
    </dgm:pt>
    <dgm:pt modelId="{467A8AF9-AAFF-40A8-A2E7-F51ECA8EEAD7}" type="parTrans" cxnId="{14814223-7C74-4B05-9F79-37FF6C05469F}">
      <dgm:prSet/>
      <dgm:spPr/>
      <dgm:t>
        <a:bodyPr/>
        <a:lstStyle/>
        <a:p>
          <a:endParaRPr lang="en-US" sz="1600">
            <a:solidFill>
              <a:schemeClr val="tx1"/>
            </a:solidFill>
          </a:endParaRPr>
        </a:p>
      </dgm:t>
    </dgm:pt>
    <dgm:pt modelId="{C510043E-4DC7-4704-925B-F2DB8CCFDECB}" type="sibTrans" cxnId="{14814223-7C74-4B05-9F79-37FF6C05469F}">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56C6F839-FAC2-4ECE-9390-407E20AA8582}">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Release</a:t>
          </a:r>
        </a:p>
      </dgm:t>
    </dgm:pt>
    <dgm:pt modelId="{F3B00094-C55B-47C2-92E0-21706823F177}" type="parTrans" cxnId="{CBA34B42-7B10-4E9E-9531-A650F724ADE7}">
      <dgm:prSet/>
      <dgm:spPr/>
      <dgm:t>
        <a:bodyPr/>
        <a:lstStyle/>
        <a:p>
          <a:endParaRPr lang="en-US" sz="1600">
            <a:solidFill>
              <a:schemeClr val="tx1"/>
            </a:solidFill>
          </a:endParaRPr>
        </a:p>
      </dgm:t>
    </dgm:pt>
    <dgm:pt modelId="{CEB1ACB0-5E42-4EC1-ACD8-723EED2B0328}" type="sibTrans" cxnId="{CBA34B42-7B10-4E9E-9531-A650F724ADE7}">
      <dgm:prSet/>
      <dgm:spPr/>
      <dgm:t>
        <a:bodyPr/>
        <a:lstStyle/>
        <a:p>
          <a:endParaRPr lang="en-US" sz="1600">
            <a:solidFill>
              <a:schemeClr val="tx1"/>
            </a:solidFill>
          </a:endParaRPr>
        </a:p>
      </dgm:t>
    </dgm:pt>
    <dgm:pt modelId="{B34182CC-E935-45A9-933D-716196577CC8}">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Packaging</a:t>
          </a:r>
        </a:p>
      </dgm:t>
    </dgm:pt>
    <dgm:pt modelId="{333EA2AC-3EE4-4C23-AE22-15C51C3B0CC1}" type="parTrans" cxnId="{4BEC2D55-F79C-4D8C-9C53-B578EFDA9774}">
      <dgm:prSet/>
      <dgm:spPr/>
      <dgm:t>
        <a:bodyPr/>
        <a:lstStyle/>
        <a:p>
          <a:endParaRPr lang="en-US">
            <a:solidFill>
              <a:schemeClr val="tx1"/>
            </a:solidFill>
          </a:endParaRPr>
        </a:p>
      </dgm:t>
    </dgm:pt>
    <dgm:pt modelId="{D95AE0DC-BBA8-4485-B717-538B34AEFDAD}" type="sibTrans" cxnId="{4BEC2D55-F79C-4D8C-9C53-B578EFDA9774}">
      <dgm:prSet>
        <dgm:style>
          <a:lnRef idx="3">
            <a:schemeClr val="lt1"/>
          </a:lnRef>
          <a:fillRef idx="1">
            <a:schemeClr val="accent5"/>
          </a:fillRef>
          <a:effectRef idx="1">
            <a:schemeClr val="accent5"/>
          </a:effectRef>
          <a:fontRef idx="minor">
            <a:schemeClr val="lt1"/>
          </a:fontRef>
        </dgm:style>
      </dgm:prSet>
      <dgm:spPr>
        <a:ln/>
      </dgm:spPr>
      <dgm:t>
        <a:bodyPr/>
        <a:lstStyle/>
        <a:p>
          <a:endParaRPr lang="en-US" dirty="0">
            <a:solidFill>
              <a:schemeClr val="tx1"/>
            </a:solidFill>
          </a:endParaRPr>
        </a:p>
      </dgm:t>
    </dgm:pt>
    <dgm:pt modelId="{C896FC28-B0AE-427E-913D-CE24DE7500DB}" type="pres">
      <dgm:prSet presAssocID="{ABBC8978-E8BF-41D8-8779-D8A660332FBB}" presName="diagram" presStyleCnt="0">
        <dgm:presLayoutVars>
          <dgm:dir/>
          <dgm:resizeHandles val="exact"/>
        </dgm:presLayoutVars>
      </dgm:prSet>
      <dgm:spPr/>
      <dgm:t>
        <a:bodyPr/>
        <a:lstStyle/>
        <a:p>
          <a:endParaRPr lang="en-US"/>
        </a:p>
      </dgm:t>
    </dgm:pt>
    <dgm:pt modelId="{88B01443-4336-42F7-8C6B-DFDDF8835326}" type="pres">
      <dgm:prSet presAssocID="{A66EFAC8-0D8C-4CAE-8551-B9CE3CF668B8}" presName="node" presStyleLbl="node1" presStyleIdx="0" presStyleCnt="9" custScaleX="27842" custScaleY="14967" custLinFactNeighborX="-38582" custLinFactNeighborY="35371">
        <dgm:presLayoutVars>
          <dgm:bulletEnabled val="1"/>
        </dgm:presLayoutVars>
      </dgm:prSet>
      <dgm:spPr/>
      <dgm:t>
        <a:bodyPr/>
        <a:lstStyle/>
        <a:p>
          <a:endParaRPr lang="en-US"/>
        </a:p>
      </dgm:t>
    </dgm:pt>
    <dgm:pt modelId="{5547DDF0-2341-44E8-B909-599AD9A38258}" type="pres">
      <dgm:prSet presAssocID="{9D833268-0AB4-473D-83AB-EE20C918AC95}" presName="sibTrans" presStyleLbl="sibTrans2D1" presStyleIdx="0" presStyleCnt="8" custScaleY="31156"/>
      <dgm:spPr/>
      <dgm:t>
        <a:bodyPr/>
        <a:lstStyle/>
        <a:p>
          <a:endParaRPr lang="en-US"/>
        </a:p>
      </dgm:t>
    </dgm:pt>
    <dgm:pt modelId="{B1B2B2FA-F8EF-4EF3-90AC-9D5B53F4B8BD}" type="pres">
      <dgm:prSet presAssocID="{9D833268-0AB4-473D-83AB-EE20C918AC95}" presName="connectorText" presStyleLbl="sibTrans2D1" presStyleIdx="0" presStyleCnt="8"/>
      <dgm:spPr/>
      <dgm:t>
        <a:bodyPr/>
        <a:lstStyle/>
        <a:p>
          <a:endParaRPr lang="en-US"/>
        </a:p>
      </dgm:t>
    </dgm:pt>
    <dgm:pt modelId="{234CB822-5963-4284-953F-D197BC136D05}" type="pres">
      <dgm:prSet presAssocID="{FFE5733F-0F36-4537-9CF5-8F07072B165E}" presName="node" presStyleLbl="node1" presStyleIdx="1" presStyleCnt="9" custScaleX="34586" custScaleY="16786" custLinFactNeighborX="-25237" custLinFactNeighborY="36694">
        <dgm:presLayoutVars>
          <dgm:bulletEnabled val="1"/>
        </dgm:presLayoutVars>
      </dgm:prSet>
      <dgm:spPr/>
      <dgm:t>
        <a:bodyPr/>
        <a:lstStyle/>
        <a:p>
          <a:endParaRPr lang="en-US"/>
        </a:p>
      </dgm:t>
    </dgm:pt>
    <dgm:pt modelId="{FD3C48C4-668B-4C1A-B8DA-C84BB00FD71A}" type="pres">
      <dgm:prSet presAssocID="{B8E74F81-7BE3-4C3E-8C25-9815F0B569E2}" presName="sibTrans" presStyleLbl="sibTrans2D1" presStyleIdx="1" presStyleCnt="8" custScaleY="34926"/>
      <dgm:spPr/>
      <dgm:t>
        <a:bodyPr/>
        <a:lstStyle/>
        <a:p>
          <a:endParaRPr lang="en-US"/>
        </a:p>
      </dgm:t>
    </dgm:pt>
    <dgm:pt modelId="{C8C8BEC7-95A7-45A1-AEFE-5F48C771A339}" type="pres">
      <dgm:prSet presAssocID="{B8E74F81-7BE3-4C3E-8C25-9815F0B569E2}" presName="connectorText" presStyleLbl="sibTrans2D1" presStyleIdx="1" presStyleCnt="8"/>
      <dgm:spPr/>
      <dgm:t>
        <a:bodyPr/>
        <a:lstStyle/>
        <a:p>
          <a:endParaRPr lang="en-US"/>
        </a:p>
      </dgm:t>
    </dgm:pt>
    <dgm:pt modelId="{0FA49742-9D1F-4EDD-AF58-7EAC20D56457}" type="pres">
      <dgm:prSet presAssocID="{CF9D2C6E-0C08-44D3-9B7D-A2657EA23932}" presName="node" presStyleLbl="node1" presStyleIdx="2" presStyleCnt="9" custScaleX="35421" custScaleY="16918" custLinFactNeighborX="-20789" custLinFactNeighborY="38370">
        <dgm:presLayoutVars>
          <dgm:bulletEnabled val="1"/>
        </dgm:presLayoutVars>
      </dgm:prSet>
      <dgm:spPr/>
      <dgm:t>
        <a:bodyPr/>
        <a:lstStyle/>
        <a:p>
          <a:endParaRPr lang="en-US"/>
        </a:p>
      </dgm:t>
    </dgm:pt>
    <dgm:pt modelId="{88ACB480-0A4F-4659-927C-83A8E1B95987}" type="pres">
      <dgm:prSet presAssocID="{FF61B858-8111-4D85-850A-B5AC6BC0CF86}" presName="sibTrans" presStyleLbl="sibTrans2D1" presStyleIdx="2" presStyleCnt="8" custScaleY="30618"/>
      <dgm:spPr/>
      <dgm:t>
        <a:bodyPr/>
        <a:lstStyle/>
        <a:p>
          <a:endParaRPr lang="en-US"/>
        </a:p>
      </dgm:t>
    </dgm:pt>
    <dgm:pt modelId="{39743218-1719-4169-BADA-C7E2CAFAA3F4}" type="pres">
      <dgm:prSet presAssocID="{FF61B858-8111-4D85-850A-B5AC6BC0CF86}" presName="connectorText" presStyleLbl="sibTrans2D1" presStyleIdx="2" presStyleCnt="8"/>
      <dgm:spPr/>
      <dgm:t>
        <a:bodyPr/>
        <a:lstStyle/>
        <a:p>
          <a:endParaRPr lang="en-US"/>
        </a:p>
      </dgm:t>
    </dgm:pt>
    <dgm:pt modelId="{F8B9390E-069E-4704-831C-E70BEB8A89D4}" type="pres">
      <dgm:prSet presAssocID="{051CB8D9-F4C8-47A6-9DC1-667443AE9E13}" presName="node" presStyleLbl="node1" presStyleIdx="3" presStyleCnt="9" custScaleX="34012" custScaleY="14878" custLinFactNeighborX="-3615" custLinFactNeighborY="36979">
        <dgm:presLayoutVars>
          <dgm:bulletEnabled val="1"/>
        </dgm:presLayoutVars>
      </dgm:prSet>
      <dgm:spPr/>
      <dgm:t>
        <a:bodyPr/>
        <a:lstStyle/>
        <a:p>
          <a:endParaRPr lang="en-US"/>
        </a:p>
      </dgm:t>
    </dgm:pt>
    <dgm:pt modelId="{A2CEBB0F-A3AC-4A4D-BE84-01708D590085}" type="pres">
      <dgm:prSet presAssocID="{E613EF59-C3BB-4C08-B82E-1869A50E40AE}" presName="sibTrans" presStyleLbl="sibTrans2D1" presStyleIdx="3" presStyleCnt="8" custAng="77419" custScaleX="53533" custScaleY="27842" custLinFactNeighborX="44006" custLinFactNeighborY="15741"/>
      <dgm:spPr/>
      <dgm:t>
        <a:bodyPr/>
        <a:lstStyle/>
        <a:p>
          <a:endParaRPr lang="en-US"/>
        </a:p>
      </dgm:t>
    </dgm:pt>
    <dgm:pt modelId="{9C2D3834-A989-4DAA-ACE0-1BFA53B18CF5}" type="pres">
      <dgm:prSet presAssocID="{E613EF59-C3BB-4C08-B82E-1869A50E40AE}" presName="connectorText" presStyleLbl="sibTrans2D1" presStyleIdx="3" presStyleCnt="8"/>
      <dgm:spPr/>
      <dgm:t>
        <a:bodyPr/>
        <a:lstStyle/>
        <a:p>
          <a:endParaRPr lang="en-US"/>
        </a:p>
      </dgm:t>
    </dgm:pt>
    <dgm:pt modelId="{54E93AE6-435F-4C31-8B95-D31A688EF26F}" type="pres">
      <dgm:prSet presAssocID="{A576FCAA-5446-4F19-A1DA-791094E29F98}" presName="node" presStyleLbl="node1" presStyleIdx="4" presStyleCnt="9" custScaleX="32104" custScaleY="18199" custLinFactNeighborX="923" custLinFactNeighborY="65281">
        <dgm:presLayoutVars>
          <dgm:bulletEnabled val="1"/>
        </dgm:presLayoutVars>
      </dgm:prSet>
      <dgm:spPr/>
      <dgm:t>
        <a:bodyPr/>
        <a:lstStyle/>
        <a:p>
          <a:endParaRPr lang="en-US"/>
        </a:p>
      </dgm:t>
    </dgm:pt>
    <dgm:pt modelId="{DBDEE197-C7AF-4F19-A792-17296AEFE828}" type="pres">
      <dgm:prSet presAssocID="{D268CFAA-24B8-41E6-9B4B-32D11761F824}" presName="sibTrans" presStyleLbl="sibTrans2D1" presStyleIdx="4" presStyleCnt="8" custScaleX="132229" custScaleY="31810"/>
      <dgm:spPr/>
      <dgm:t>
        <a:bodyPr/>
        <a:lstStyle/>
        <a:p>
          <a:endParaRPr lang="en-US"/>
        </a:p>
      </dgm:t>
    </dgm:pt>
    <dgm:pt modelId="{23F9487E-9026-41E4-ACAE-75B254558C4F}" type="pres">
      <dgm:prSet presAssocID="{D268CFAA-24B8-41E6-9B4B-32D11761F824}" presName="connectorText" presStyleLbl="sibTrans2D1" presStyleIdx="4" presStyleCnt="8"/>
      <dgm:spPr/>
      <dgm:t>
        <a:bodyPr/>
        <a:lstStyle/>
        <a:p>
          <a:endParaRPr lang="en-US"/>
        </a:p>
      </dgm:t>
    </dgm:pt>
    <dgm:pt modelId="{5125F8CA-6B50-4F4D-802B-A1CD97D4F06C}" type="pres">
      <dgm:prSet presAssocID="{B34182CC-E935-45A9-933D-716196577CC8}" presName="node" presStyleLbl="node1" presStyleIdx="5" presStyleCnt="9" custScaleX="38226" custScaleY="17843" custLinFactNeighborX="11827" custLinFactNeighborY="66581">
        <dgm:presLayoutVars>
          <dgm:bulletEnabled val="1"/>
        </dgm:presLayoutVars>
      </dgm:prSet>
      <dgm:spPr/>
      <dgm:t>
        <a:bodyPr/>
        <a:lstStyle/>
        <a:p>
          <a:endParaRPr lang="en-US"/>
        </a:p>
      </dgm:t>
    </dgm:pt>
    <dgm:pt modelId="{947FD77F-D02E-409A-A799-6984F43C2EC2}" type="pres">
      <dgm:prSet presAssocID="{D95AE0DC-BBA8-4485-B717-538B34AEFDAD}" presName="sibTrans" presStyleLbl="sibTrans2D1" presStyleIdx="5" presStyleCnt="8" custFlipVert="1" custScaleX="132382" custScaleY="29230"/>
      <dgm:spPr/>
      <dgm:t>
        <a:bodyPr/>
        <a:lstStyle/>
        <a:p>
          <a:endParaRPr lang="en-US"/>
        </a:p>
      </dgm:t>
    </dgm:pt>
    <dgm:pt modelId="{686AED1D-599E-4A40-85E2-350153F76086}" type="pres">
      <dgm:prSet presAssocID="{D95AE0DC-BBA8-4485-B717-538B34AEFDAD}" presName="connectorText" presStyleLbl="sibTrans2D1" presStyleIdx="5" presStyleCnt="8"/>
      <dgm:spPr/>
      <dgm:t>
        <a:bodyPr/>
        <a:lstStyle/>
        <a:p>
          <a:endParaRPr lang="en-US"/>
        </a:p>
      </dgm:t>
    </dgm:pt>
    <dgm:pt modelId="{6B047922-162F-4B6E-A9DA-FA4C2E92B232}" type="pres">
      <dgm:prSet presAssocID="{423B4314-64D5-47BA-93D8-5EB765A8A9CF}" presName="node" presStyleLbl="node1" presStyleIdx="6" presStyleCnt="9" custScaleX="33643" custScaleY="18683" custLinFactNeighborX="30272" custLinFactNeighborY="66356">
        <dgm:presLayoutVars>
          <dgm:bulletEnabled val="1"/>
        </dgm:presLayoutVars>
      </dgm:prSet>
      <dgm:spPr/>
      <dgm:t>
        <a:bodyPr/>
        <a:lstStyle/>
        <a:p>
          <a:endParaRPr lang="en-US"/>
        </a:p>
      </dgm:t>
    </dgm:pt>
    <dgm:pt modelId="{16DE901F-1592-4E42-B78A-D358DA3DA820}" type="pres">
      <dgm:prSet presAssocID="{AFD8E1C5-2E15-40B4-932E-A05F6EE521F8}" presName="sibTrans" presStyleLbl="sibTrans2D1" presStyleIdx="6" presStyleCnt="8" custScaleY="35788"/>
      <dgm:spPr/>
      <dgm:t>
        <a:bodyPr/>
        <a:lstStyle/>
        <a:p>
          <a:endParaRPr lang="en-US"/>
        </a:p>
      </dgm:t>
    </dgm:pt>
    <dgm:pt modelId="{AB099BA9-2880-4AFB-9212-D8B8B0F9A8C5}" type="pres">
      <dgm:prSet presAssocID="{AFD8E1C5-2E15-40B4-932E-A05F6EE521F8}" presName="connectorText" presStyleLbl="sibTrans2D1" presStyleIdx="6" presStyleCnt="8"/>
      <dgm:spPr/>
      <dgm:t>
        <a:bodyPr/>
        <a:lstStyle/>
        <a:p>
          <a:endParaRPr lang="en-US"/>
        </a:p>
      </dgm:t>
    </dgm:pt>
    <dgm:pt modelId="{1C88D81E-920E-46DA-BD72-326FA7CD9A04}" type="pres">
      <dgm:prSet presAssocID="{8465242E-62E2-418E-A12A-8334E9E32855}" presName="node" presStyleLbl="node1" presStyleIdx="7" presStyleCnt="9" custScaleX="36730" custScaleY="16112" custLinFactNeighborX="36984" custLinFactNeighborY="63770">
        <dgm:presLayoutVars>
          <dgm:bulletEnabled val="1"/>
        </dgm:presLayoutVars>
      </dgm:prSet>
      <dgm:spPr/>
      <dgm:t>
        <a:bodyPr/>
        <a:lstStyle/>
        <a:p>
          <a:endParaRPr lang="en-US"/>
        </a:p>
      </dgm:t>
    </dgm:pt>
    <dgm:pt modelId="{58FE53D6-98F4-407B-8451-857BFFF87C5C}" type="pres">
      <dgm:prSet presAssocID="{C510043E-4DC7-4704-925B-F2DB8CCFDECB}" presName="sibTrans" presStyleLbl="sibTrans2D1" presStyleIdx="7" presStyleCnt="8" custScaleY="35315" custLinFactNeighborX="-7344" custLinFactNeighborY="-117"/>
      <dgm:spPr/>
      <dgm:t>
        <a:bodyPr/>
        <a:lstStyle/>
        <a:p>
          <a:endParaRPr lang="en-US"/>
        </a:p>
      </dgm:t>
    </dgm:pt>
    <dgm:pt modelId="{F2C5FC1D-FFC8-49DA-B57B-180BBAC80326}" type="pres">
      <dgm:prSet presAssocID="{C510043E-4DC7-4704-925B-F2DB8CCFDECB}" presName="connectorText" presStyleLbl="sibTrans2D1" presStyleIdx="7" presStyleCnt="8"/>
      <dgm:spPr/>
      <dgm:t>
        <a:bodyPr/>
        <a:lstStyle/>
        <a:p>
          <a:endParaRPr lang="en-US"/>
        </a:p>
      </dgm:t>
    </dgm:pt>
    <dgm:pt modelId="{E422F7D2-586C-40CF-8C61-74A7FA642D2F}" type="pres">
      <dgm:prSet presAssocID="{56C6F839-FAC2-4ECE-9390-407E20AA8582}" presName="node" presStyleLbl="node1" presStyleIdx="8" presStyleCnt="9" custScaleX="25031" custScaleY="16460" custLinFactNeighborX="-22337" custLinFactNeighborY="-30722">
        <dgm:presLayoutVars>
          <dgm:bulletEnabled val="1"/>
        </dgm:presLayoutVars>
      </dgm:prSet>
      <dgm:spPr/>
      <dgm:t>
        <a:bodyPr/>
        <a:lstStyle/>
        <a:p>
          <a:endParaRPr lang="en-US"/>
        </a:p>
      </dgm:t>
    </dgm:pt>
  </dgm:ptLst>
  <dgm:cxnLst>
    <dgm:cxn modelId="{BEEE3F2A-80A3-4868-92BB-33BD797F8D4A}" type="presOf" srcId="{ABBC8978-E8BF-41D8-8779-D8A660332FBB}" destId="{C896FC28-B0AE-427E-913D-CE24DE7500DB}" srcOrd="0" destOrd="0" presId="urn:microsoft.com/office/officeart/2005/8/layout/process5"/>
    <dgm:cxn modelId="{0CB1411C-BD2A-404A-8FC5-208D5ADB5EFE}" type="presOf" srcId="{FFE5733F-0F36-4537-9CF5-8F07072B165E}" destId="{234CB822-5963-4284-953F-D197BC136D05}" srcOrd="0" destOrd="0" presId="urn:microsoft.com/office/officeart/2005/8/layout/process5"/>
    <dgm:cxn modelId="{CBA34B42-7B10-4E9E-9531-A650F724ADE7}" srcId="{ABBC8978-E8BF-41D8-8779-D8A660332FBB}" destId="{56C6F839-FAC2-4ECE-9390-407E20AA8582}" srcOrd="8" destOrd="0" parTransId="{F3B00094-C55B-47C2-92E0-21706823F177}" sibTransId="{CEB1ACB0-5E42-4EC1-ACD8-723EED2B0328}"/>
    <dgm:cxn modelId="{200018F4-DAE8-4B6A-9AD7-2ACE462C8169}" srcId="{ABBC8978-E8BF-41D8-8779-D8A660332FBB}" destId="{051CB8D9-F4C8-47A6-9DC1-667443AE9E13}" srcOrd="3" destOrd="0" parTransId="{30BC023D-593F-440E-952E-A262F82C536D}" sibTransId="{E613EF59-C3BB-4C08-B82E-1869A50E40AE}"/>
    <dgm:cxn modelId="{CF730932-3587-49D1-A691-D30241DC4059}" type="presOf" srcId="{D268CFAA-24B8-41E6-9B4B-32D11761F824}" destId="{23F9487E-9026-41E4-ACAE-75B254558C4F}" srcOrd="1" destOrd="0" presId="urn:microsoft.com/office/officeart/2005/8/layout/process5"/>
    <dgm:cxn modelId="{6B90E356-6F07-42BD-831D-169CA5635623}" type="presOf" srcId="{D95AE0DC-BBA8-4485-B717-538B34AEFDAD}" destId="{686AED1D-599E-4A40-85E2-350153F76086}" srcOrd="1" destOrd="0" presId="urn:microsoft.com/office/officeart/2005/8/layout/process5"/>
    <dgm:cxn modelId="{90569387-E670-4A2A-91C5-A0AF95EF0D3E}" type="presOf" srcId="{A66EFAC8-0D8C-4CAE-8551-B9CE3CF668B8}" destId="{88B01443-4336-42F7-8C6B-DFDDF8835326}" srcOrd="0" destOrd="0" presId="urn:microsoft.com/office/officeart/2005/8/layout/process5"/>
    <dgm:cxn modelId="{4982E255-9A48-4D8F-87D8-913B75C2F395}" type="presOf" srcId="{E613EF59-C3BB-4C08-B82E-1869A50E40AE}" destId="{9C2D3834-A989-4DAA-ACE0-1BFA53B18CF5}" srcOrd="1" destOrd="0" presId="urn:microsoft.com/office/officeart/2005/8/layout/process5"/>
    <dgm:cxn modelId="{AAA1457C-76EF-4089-AABE-C5EAA4EA264A}" srcId="{ABBC8978-E8BF-41D8-8779-D8A660332FBB}" destId="{423B4314-64D5-47BA-93D8-5EB765A8A9CF}" srcOrd="6" destOrd="0" parTransId="{03E31E14-945D-4FCD-AF3A-B013161096FA}" sibTransId="{AFD8E1C5-2E15-40B4-932E-A05F6EE521F8}"/>
    <dgm:cxn modelId="{51CAA49D-78CA-454A-B48F-DD8BEC77D677}" type="presOf" srcId="{423B4314-64D5-47BA-93D8-5EB765A8A9CF}" destId="{6B047922-162F-4B6E-A9DA-FA4C2E92B232}" srcOrd="0" destOrd="0" presId="urn:microsoft.com/office/officeart/2005/8/layout/process5"/>
    <dgm:cxn modelId="{14814223-7C74-4B05-9F79-37FF6C05469F}" srcId="{ABBC8978-E8BF-41D8-8779-D8A660332FBB}" destId="{8465242E-62E2-418E-A12A-8334E9E32855}" srcOrd="7" destOrd="0" parTransId="{467A8AF9-AAFF-40A8-A2E7-F51ECA8EEAD7}" sibTransId="{C510043E-4DC7-4704-925B-F2DB8CCFDECB}"/>
    <dgm:cxn modelId="{38C5AE3A-3E28-407C-A24C-D3BA38516DC0}" type="presOf" srcId="{C510043E-4DC7-4704-925B-F2DB8CCFDECB}" destId="{F2C5FC1D-FFC8-49DA-B57B-180BBAC80326}" srcOrd="1" destOrd="0" presId="urn:microsoft.com/office/officeart/2005/8/layout/process5"/>
    <dgm:cxn modelId="{3967DC0C-D170-4ECB-84DB-068E19AADBEB}" srcId="{ABBC8978-E8BF-41D8-8779-D8A660332FBB}" destId="{A66EFAC8-0D8C-4CAE-8551-B9CE3CF668B8}" srcOrd="0" destOrd="0" parTransId="{3D7B44B8-BD5D-4B5D-B349-7516A3780A68}" sibTransId="{9D833268-0AB4-473D-83AB-EE20C918AC95}"/>
    <dgm:cxn modelId="{1FEB24A6-A84E-49E2-A64D-415EDCED02E7}" type="presOf" srcId="{FF61B858-8111-4D85-850A-B5AC6BC0CF86}" destId="{39743218-1719-4169-BADA-C7E2CAFAA3F4}" srcOrd="1" destOrd="0" presId="urn:microsoft.com/office/officeart/2005/8/layout/process5"/>
    <dgm:cxn modelId="{8CEC0857-D935-4436-8A92-84E1D91EA8F3}" type="presOf" srcId="{8465242E-62E2-418E-A12A-8334E9E32855}" destId="{1C88D81E-920E-46DA-BD72-326FA7CD9A04}" srcOrd="0" destOrd="0" presId="urn:microsoft.com/office/officeart/2005/8/layout/process5"/>
    <dgm:cxn modelId="{A71A1DED-E227-4AE6-AC59-57D920DEEEA7}" srcId="{ABBC8978-E8BF-41D8-8779-D8A660332FBB}" destId="{A576FCAA-5446-4F19-A1DA-791094E29F98}" srcOrd="4" destOrd="0" parTransId="{FAC439C1-9323-450A-9EDE-8F21B1A6D653}" sibTransId="{D268CFAA-24B8-41E6-9B4B-32D11761F824}"/>
    <dgm:cxn modelId="{7B591D74-E98B-4D73-A6D0-81F8BA7CC478}" srcId="{ABBC8978-E8BF-41D8-8779-D8A660332FBB}" destId="{FFE5733F-0F36-4537-9CF5-8F07072B165E}" srcOrd="1" destOrd="0" parTransId="{5F9AD0BA-46AB-4FCE-8FA7-409C1B6B5236}" sibTransId="{B8E74F81-7BE3-4C3E-8C25-9815F0B569E2}"/>
    <dgm:cxn modelId="{655677E7-00A3-46B5-B130-8C76559DBBD7}" type="presOf" srcId="{56C6F839-FAC2-4ECE-9390-407E20AA8582}" destId="{E422F7D2-586C-40CF-8C61-74A7FA642D2F}" srcOrd="0" destOrd="0" presId="urn:microsoft.com/office/officeart/2005/8/layout/process5"/>
    <dgm:cxn modelId="{F18F81F4-DA9D-4EB0-9939-C1EE4C310F3F}" type="presOf" srcId="{B8E74F81-7BE3-4C3E-8C25-9815F0B569E2}" destId="{C8C8BEC7-95A7-45A1-AEFE-5F48C771A339}" srcOrd="1" destOrd="0" presId="urn:microsoft.com/office/officeart/2005/8/layout/process5"/>
    <dgm:cxn modelId="{DCC71886-C30B-4DA6-B5D1-AA94B29FC29D}" type="presOf" srcId="{CF9D2C6E-0C08-44D3-9B7D-A2657EA23932}" destId="{0FA49742-9D1F-4EDD-AF58-7EAC20D56457}" srcOrd="0" destOrd="0" presId="urn:microsoft.com/office/officeart/2005/8/layout/process5"/>
    <dgm:cxn modelId="{6A7FDBD9-4B7A-4810-B4EE-9152F10377F1}" type="presOf" srcId="{B34182CC-E935-45A9-933D-716196577CC8}" destId="{5125F8CA-6B50-4F4D-802B-A1CD97D4F06C}" srcOrd="0" destOrd="0" presId="urn:microsoft.com/office/officeart/2005/8/layout/process5"/>
    <dgm:cxn modelId="{81F53B9E-6E1E-450E-8D6D-A6CACDE5B902}" type="presOf" srcId="{A576FCAA-5446-4F19-A1DA-791094E29F98}" destId="{54E93AE6-435F-4C31-8B95-D31A688EF26F}" srcOrd="0" destOrd="0" presId="urn:microsoft.com/office/officeart/2005/8/layout/process5"/>
    <dgm:cxn modelId="{F433BB8B-646B-4036-9984-A22B42D9E155}" type="presOf" srcId="{B8E74F81-7BE3-4C3E-8C25-9815F0B569E2}" destId="{FD3C48C4-668B-4C1A-B8DA-C84BB00FD71A}" srcOrd="0" destOrd="0" presId="urn:microsoft.com/office/officeart/2005/8/layout/process5"/>
    <dgm:cxn modelId="{4BEC2D55-F79C-4D8C-9C53-B578EFDA9774}" srcId="{ABBC8978-E8BF-41D8-8779-D8A660332FBB}" destId="{B34182CC-E935-45A9-933D-716196577CC8}" srcOrd="5" destOrd="0" parTransId="{333EA2AC-3EE4-4C23-AE22-15C51C3B0CC1}" sibTransId="{D95AE0DC-BBA8-4485-B717-538B34AEFDAD}"/>
    <dgm:cxn modelId="{46BFC28C-2FB4-4287-AAC6-FD9D57D2E63F}" type="presOf" srcId="{E613EF59-C3BB-4C08-B82E-1869A50E40AE}" destId="{A2CEBB0F-A3AC-4A4D-BE84-01708D590085}" srcOrd="0" destOrd="0" presId="urn:microsoft.com/office/officeart/2005/8/layout/process5"/>
    <dgm:cxn modelId="{814DA8A7-46D6-44DE-A537-F8B98F7E384C}" type="presOf" srcId="{051CB8D9-F4C8-47A6-9DC1-667443AE9E13}" destId="{F8B9390E-069E-4704-831C-E70BEB8A89D4}" srcOrd="0" destOrd="0" presId="urn:microsoft.com/office/officeart/2005/8/layout/process5"/>
    <dgm:cxn modelId="{F3146868-A834-47BB-B70F-F376C18A0C9C}" type="presOf" srcId="{AFD8E1C5-2E15-40B4-932E-A05F6EE521F8}" destId="{16DE901F-1592-4E42-B78A-D358DA3DA820}" srcOrd="0" destOrd="0" presId="urn:microsoft.com/office/officeart/2005/8/layout/process5"/>
    <dgm:cxn modelId="{95A02541-1B86-4A45-A9EC-CC0E00E918E5}" type="presOf" srcId="{D95AE0DC-BBA8-4485-B717-538B34AEFDAD}" destId="{947FD77F-D02E-409A-A799-6984F43C2EC2}" srcOrd="0" destOrd="0" presId="urn:microsoft.com/office/officeart/2005/8/layout/process5"/>
    <dgm:cxn modelId="{A135B5F4-2901-497B-B692-BE587B449220}" type="presOf" srcId="{9D833268-0AB4-473D-83AB-EE20C918AC95}" destId="{5547DDF0-2341-44E8-B909-599AD9A38258}" srcOrd="0" destOrd="0" presId="urn:microsoft.com/office/officeart/2005/8/layout/process5"/>
    <dgm:cxn modelId="{D6770A41-38E6-4085-B77B-8D40241B5F24}" type="presOf" srcId="{FF61B858-8111-4D85-850A-B5AC6BC0CF86}" destId="{88ACB480-0A4F-4659-927C-83A8E1B95987}" srcOrd="0" destOrd="0" presId="urn:microsoft.com/office/officeart/2005/8/layout/process5"/>
    <dgm:cxn modelId="{6814AE32-D13F-41BF-A458-D755168CE37D}" type="presOf" srcId="{9D833268-0AB4-473D-83AB-EE20C918AC95}" destId="{B1B2B2FA-F8EF-4EF3-90AC-9D5B53F4B8BD}" srcOrd="1" destOrd="0" presId="urn:microsoft.com/office/officeart/2005/8/layout/process5"/>
    <dgm:cxn modelId="{BAD40BA6-8083-4B6B-AC8A-E7EE70F0C2E5}" type="presOf" srcId="{D268CFAA-24B8-41E6-9B4B-32D11761F824}" destId="{DBDEE197-C7AF-4F19-A792-17296AEFE828}" srcOrd="0" destOrd="0" presId="urn:microsoft.com/office/officeart/2005/8/layout/process5"/>
    <dgm:cxn modelId="{9240478A-4C3B-43BE-9BA1-5FD1D5458269}" srcId="{ABBC8978-E8BF-41D8-8779-D8A660332FBB}" destId="{CF9D2C6E-0C08-44D3-9B7D-A2657EA23932}" srcOrd="2" destOrd="0" parTransId="{AEB4EFB5-638A-4D0A-AD70-A0A79323FC35}" sibTransId="{FF61B858-8111-4D85-850A-B5AC6BC0CF86}"/>
    <dgm:cxn modelId="{3539BC1B-70FB-45F4-BA0B-5AD851A8FE1B}" type="presOf" srcId="{AFD8E1C5-2E15-40B4-932E-A05F6EE521F8}" destId="{AB099BA9-2880-4AFB-9212-D8B8B0F9A8C5}" srcOrd="1" destOrd="0" presId="urn:microsoft.com/office/officeart/2005/8/layout/process5"/>
    <dgm:cxn modelId="{C154BA08-F264-4BEB-BB74-02F4AA4F4C6A}" type="presOf" srcId="{C510043E-4DC7-4704-925B-F2DB8CCFDECB}" destId="{58FE53D6-98F4-407B-8451-857BFFF87C5C}" srcOrd="0" destOrd="0" presId="urn:microsoft.com/office/officeart/2005/8/layout/process5"/>
    <dgm:cxn modelId="{E9F81AAA-D136-4E45-A653-802B7947F78B}" type="presParOf" srcId="{C896FC28-B0AE-427E-913D-CE24DE7500DB}" destId="{88B01443-4336-42F7-8C6B-DFDDF8835326}" srcOrd="0" destOrd="0" presId="urn:microsoft.com/office/officeart/2005/8/layout/process5"/>
    <dgm:cxn modelId="{2CF6B0A3-36DD-4F2E-B6F6-13B1FDB4533C}" type="presParOf" srcId="{C896FC28-B0AE-427E-913D-CE24DE7500DB}" destId="{5547DDF0-2341-44E8-B909-599AD9A38258}" srcOrd="1" destOrd="0" presId="urn:microsoft.com/office/officeart/2005/8/layout/process5"/>
    <dgm:cxn modelId="{EF968F33-5C4D-43A7-AC93-F34913931480}" type="presParOf" srcId="{5547DDF0-2341-44E8-B909-599AD9A38258}" destId="{B1B2B2FA-F8EF-4EF3-90AC-9D5B53F4B8BD}" srcOrd="0" destOrd="0" presId="urn:microsoft.com/office/officeart/2005/8/layout/process5"/>
    <dgm:cxn modelId="{67C9BBC0-5E27-40CF-8199-BE0E226E13EE}" type="presParOf" srcId="{C896FC28-B0AE-427E-913D-CE24DE7500DB}" destId="{234CB822-5963-4284-953F-D197BC136D05}" srcOrd="2" destOrd="0" presId="urn:microsoft.com/office/officeart/2005/8/layout/process5"/>
    <dgm:cxn modelId="{2BDBC5D9-D53F-4D1D-A4C7-B47EFF0213DD}" type="presParOf" srcId="{C896FC28-B0AE-427E-913D-CE24DE7500DB}" destId="{FD3C48C4-668B-4C1A-B8DA-C84BB00FD71A}" srcOrd="3" destOrd="0" presId="urn:microsoft.com/office/officeart/2005/8/layout/process5"/>
    <dgm:cxn modelId="{5C808D90-C12C-45AA-832F-2605F8335A58}" type="presParOf" srcId="{FD3C48C4-668B-4C1A-B8DA-C84BB00FD71A}" destId="{C8C8BEC7-95A7-45A1-AEFE-5F48C771A339}" srcOrd="0" destOrd="0" presId="urn:microsoft.com/office/officeart/2005/8/layout/process5"/>
    <dgm:cxn modelId="{39F83B30-E476-467E-A2BF-CFB51C6DF21B}" type="presParOf" srcId="{C896FC28-B0AE-427E-913D-CE24DE7500DB}" destId="{0FA49742-9D1F-4EDD-AF58-7EAC20D56457}" srcOrd="4" destOrd="0" presId="urn:microsoft.com/office/officeart/2005/8/layout/process5"/>
    <dgm:cxn modelId="{E2B85D35-14B0-43D3-8460-0798E98BA735}" type="presParOf" srcId="{C896FC28-B0AE-427E-913D-CE24DE7500DB}" destId="{88ACB480-0A4F-4659-927C-83A8E1B95987}" srcOrd="5" destOrd="0" presId="urn:microsoft.com/office/officeart/2005/8/layout/process5"/>
    <dgm:cxn modelId="{7E53A521-3E69-4391-B8D0-D472BE02B25E}" type="presParOf" srcId="{88ACB480-0A4F-4659-927C-83A8E1B95987}" destId="{39743218-1719-4169-BADA-C7E2CAFAA3F4}" srcOrd="0" destOrd="0" presId="urn:microsoft.com/office/officeart/2005/8/layout/process5"/>
    <dgm:cxn modelId="{F4B162A1-9482-47F9-97B0-1992911C089C}" type="presParOf" srcId="{C896FC28-B0AE-427E-913D-CE24DE7500DB}" destId="{F8B9390E-069E-4704-831C-E70BEB8A89D4}" srcOrd="6" destOrd="0" presId="urn:microsoft.com/office/officeart/2005/8/layout/process5"/>
    <dgm:cxn modelId="{F56C87A9-6CC1-413C-89C4-D9D5907F0B0E}" type="presParOf" srcId="{C896FC28-B0AE-427E-913D-CE24DE7500DB}" destId="{A2CEBB0F-A3AC-4A4D-BE84-01708D590085}" srcOrd="7" destOrd="0" presId="urn:microsoft.com/office/officeart/2005/8/layout/process5"/>
    <dgm:cxn modelId="{348324CC-F2E0-4ECD-B359-9AB0F6B05871}" type="presParOf" srcId="{A2CEBB0F-A3AC-4A4D-BE84-01708D590085}" destId="{9C2D3834-A989-4DAA-ACE0-1BFA53B18CF5}" srcOrd="0" destOrd="0" presId="urn:microsoft.com/office/officeart/2005/8/layout/process5"/>
    <dgm:cxn modelId="{9385838A-7B4E-4CD9-B486-2C2E6438D40C}" type="presParOf" srcId="{C896FC28-B0AE-427E-913D-CE24DE7500DB}" destId="{54E93AE6-435F-4C31-8B95-D31A688EF26F}" srcOrd="8" destOrd="0" presId="urn:microsoft.com/office/officeart/2005/8/layout/process5"/>
    <dgm:cxn modelId="{DD4F86FC-19AA-463B-899F-9565F643D8AA}" type="presParOf" srcId="{C896FC28-B0AE-427E-913D-CE24DE7500DB}" destId="{DBDEE197-C7AF-4F19-A792-17296AEFE828}" srcOrd="9" destOrd="0" presId="urn:microsoft.com/office/officeart/2005/8/layout/process5"/>
    <dgm:cxn modelId="{6D1B8517-DC9E-4446-A7B5-ADF9C261DF06}" type="presParOf" srcId="{DBDEE197-C7AF-4F19-A792-17296AEFE828}" destId="{23F9487E-9026-41E4-ACAE-75B254558C4F}" srcOrd="0" destOrd="0" presId="urn:microsoft.com/office/officeart/2005/8/layout/process5"/>
    <dgm:cxn modelId="{D8F842A5-E193-4F6A-9A85-AF1EA3D012DD}" type="presParOf" srcId="{C896FC28-B0AE-427E-913D-CE24DE7500DB}" destId="{5125F8CA-6B50-4F4D-802B-A1CD97D4F06C}" srcOrd="10" destOrd="0" presId="urn:microsoft.com/office/officeart/2005/8/layout/process5"/>
    <dgm:cxn modelId="{DEEB4AC4-3962-4AEF-8400-E5F8A3F17800}" type="presParOf" srcId="{C896FC28-B0AE-427E-913D-CE24DE7500DB}" destId="{947FD77F-D02E-409A-A799-6984F43C2EC2}" srcOrd="11" destOrd="0" presId="urn:microsoft.com/office/officeart/2005/8/layout/process5"/>
    <dgm:cxn modelId="{0D371014-F428-4420-825D-63FBC41AF68D}" type="presParOf" srcId="{947FD77F-D02E-409A-A799-6984F43C2EC2}" destId="{686AED1D-599E-4A40-85E2-350153F76086}" srcOrd="0" destOrd="0" presId="urn:microsoft.com/office/officeart/2005/8/layout/process5"/>
    <dgm:cxn modelId="{1E15BB9D-84EB-420D-B534-DB9AE59E6A10}" type="presParOf" srcId="{C896FC28-B0AE-427E-913D-CE24DE7500DB}" destId="{6B047922-162F-4B6E-A9DA-FA4C2E92B232}" srcOrd="12" destOrd="0" presId="urn:microsoft.com/office/officeart/2005/8/layout/process5"/>
    <dgm:cxn modelId="{A45D5491-BB71-4175-AE88-E88330C83467}" type="presParOf" srcId="{C896FC28-B0AE-427E-913D-CE24DE7500DB}" destId="{16DE901F-1592-4E42-B78A-D358DA3DA820}" srcOrd="13" destOrd="0" presId="urn:microsoft.com/office/officeart/2005/8/layout/process5"/>
    <dgm:cxn modelId="{E2F21684-3906-459D-AEDE-A375BE208E6C}" type="presParOf" srcId="{16DE901F-1592-4E42-B78A-D358DA3DA820}" destId="{AB099BA9-2880-4AFB-9212-D8B8B0F9A8C5}" srcOrd="0" destOrd="0" presId="urn:microsoft.com/office/officeart/2005/8/layout/process5"/>
    <dgm:cxn modelId="{C96A407C-6692-4E3D-A816-1C9238143D80}" type="presParOf" srcId="{C896FC28-B0AE-427E-913D-CE24DE7500DB}" destId="{1C88D81E-920E-46DA-BD72-326FA7CD9A04}" srcOrd="14" destOrd="0" presId="urn:microsoft.com/office/officeart/2005/8/layout/process5"/>
    <dgm:cxn modelId="{A2320DB2-0C51-42B9-982D-B4202FB1B8BC}" type="presParOf" srcId="{C896FC28-B0AE-427E-913D-CE24DE7500DB}" destId="{58FE53D6-98F4-407B-8451-857BFFF87C5C}" srcOrd="15" destOrd="0" presId="urn:microsoft.com/office/officeart/2005/8/layout/process5"/>
    <dgm:cxn modelId="{98A56CC6-356A-4AE4-AA0B-0792924DED36}" type="presParOf" srcId="{58FE53D6-98F4-407B-8451-857BFFF87C5C}" destId="{F2C5FC1D-FFC8-49DA-B57B-180BBAC80326}" srcOrd="0" destOrd="0" presId="urn:microsoft.com/office/officeart/2005/8/layout/process5"/>
    <dgm:cxn modelId="{845B70E7-F915-4961-8857-282CD564C72F}" type="presParOf" srcId="{C896FC28-B0AE-427E-913D-CE24DE7500DB}" destId="{E422F7D2-586C-40CF-8C61-74A7FA642D2F}" srcOrd="16" destOrd="0" presId="urn:microsoft.com/office/officeart/2005/8/layout/process5"/>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BBC8978-E8BF-41D8-8779-D8A660332FBB}"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A66EFAC8-0D8C-4CAE-8551-B9CE3CF668B8}">
      <dgm:prSet phldrT="[Text]" custT="1">
        <dgm:style>
          <a:lnRef idx="3">
            <a:schemeClr val="lt1"/>
          </a:lnRef>
          <a:fillRef idx="1">
            <a:schemeClr val="accent6"/>
          </a:fillRef>
          <a:effectRef idx="1">
            <a:schemeClr val="accent6"/>
          </a:effectRef>
          <a:fontRef idx="minor">
            <a:schemeClr val="lt1"/>
          </a:fontRef>
        </dgm:style>
      </dgm:prSet>
      <dgm:spPr>
        <a:ln w="28575"/>
      </dgm:spPr>
      <dgm:t>
        <a:bodyPr/>
        <a:lstStyle/>
        <a:p>
          <a:r>
            <a:rPr lang="en-US" sz="1000" dirty="0" smtClean="0">
              <a:solidFill>
                <a:schemeClr val="tx1">
                  <a:lumMod val="50000"/>
                </a:schemeClr>
              </a:solidFill>
            </a:rPr>
            <a:t>Code Integration</a:t>
          </a:r>
          <a:endParaRPr lang="en-US" sz="1000" dirty="0">
            <a:solidFill>
              <a:schemeClr val="tx1">
                <a:lumMod val="50000"/>
              </a:schemeClr>
            </a:solidFill>
          </a:endParaRPr>
        </a:p>
      </dgm:t>
    </dgm:pt>
    <dgm:pt modelId="{3D7B44B8-BD5D-4B5D-B349-7516A3780A68}" type="parTrans" cxnId="{3967DC0C-D170-4ECB-84DB-068E19AADBEB}">
      <dgm:prSet/>
      <dgm:spPr/>
      <dgm:t>
        <a:bodyPr/>
        <a:lstStyle/>
        <a:p>
          <a:endParaRPr lang="en-US" sz="1600">
            <a:solidFill>
              <a:schemeClr val="tx1"/>
            </a:solidFill>
          </a:endParaRPr>
        </a:p>
      </dgm:t>
    </dgm:pt>
    <dgm:pt modelId="{9D833268-0AB4-473D-83AB-EE20C918AC95}" type="sibTrans" cxnId="{3967DC0C-D170-4ECB-84DB-068E19AADBEB}">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FFE5733F-0F36-4537-9CF5-8F07072B165E}">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Code Compilation</a:t>
          </a:r>
          <a:endParaRPr lang="en-US" sz="1000" dirty="0">
            <a:solidFill>
              <a:schemeClr val="tx1">
                <a:lumMod val="50000"/>
              </a:schemeClr>
            </a:solidFill>
          </a:endParaRPr>
        </a:p>
      </dgm:t>
    </dgm:pt>
    <dgm:pt modelId="{5F9AD0BA-46AB-4FCE-8FA7-409C1B6B5236}" type="parTrans" cxnId="{7B591D74-E98B-4D73-A6D0-81F8BA7CC478}">
      <dgm:prSet/>
      <dgm:spPr/>
      <dgm:t>
        <a:bodyPr/>
        <a:lstStyle/>
        <a:p>
          <a:endParaRPr lang="en-US" sz="1600">
            <a:solidFill>
              <a:schemeClr val="tx1"/>
            </a:solidFill>
          </a:endParaRPr>
        </a:p>
      </dgm:t>
    </dgm:pt>
    <dgm:pt modelId="{B8E74F81-7BE3-4C3E-8C25-9815F0B569E2}" type="sibTrans" cxnId="{7B591D74-E98B-4D73-A6D0-81F8BA7CC478}">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CF9D2C6E-0C08-44D3-9B7D-A2657EA23932}">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Code Review</a:t>
          </a:r>
          <a:endParaRPr lang="en-US" sz="1000" dirty="0">
            <a:solidFill>
              <a:schemeClr val="tx1">
                <a:lumMod val="50000"/>
              </a:schemeClr>
            </a:solidFill>
          </a:endParaRPr>
        </a:p>
      </dgm:t>
    </dgm:pt>
    <dgm:pt modelId="{AEB4EFB5-638A-4D0A-AD70-A0A79323FC35}" type="parTrans" cxnId="{9240478A-4C3B-43BE-9BA1-5FD1D5458269}">
      <dgm:prSet/>
      <dgm:spPr/>
      <dgm:t>
        <a:bodyPr/>
        <a:lstStyle/>
        <a:p>
          <a:endParaRPr lang="en-US" sz="1600">
            <a:solidFill>
              <a:schemeClr val="tx1"/>
            </a:solidFill>
          </a:endParaRPr>
        </a:p>
      </dgm:t>
    </dgm:pt>
    <dgm:pt modelId="{FF61B858-8111-4D85-850A-B5AC6BC0CF86}" type="sibTrans" cxnId="{9240478A-4C3B-43BE-9BA1-5FD1D5458269}">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051CB8D9-F4C8-47A6-9DC1-667443AE9E13}">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Unit Testing</a:t>
          </a:r>
          <a:endParaRPr lang="en-US" sz="1000" dirty="0">
            <a:solidFill>
              <a:schemeClr val="tx1">
                <a:lumMod val="50000"/>
              </a:schemeClr>
            </a:solidFill>
          </a:endParaRPr>
        </a:p>
      </dgm:t>
    </dgm:pt>
    <dgm:pt modelId="{30BC023D-593F-440E-952E-A262F82C536D}" type="parTrans" cxnId="{200018F4-DAE8-4B6A-9AD7-2ACE462C8169}">
      <dgm:prSet/>
      <dgm:spPr/>
      <dgm:t>
        <a:bodyPr/>
        <a:lstStyle/>
        <a:p>
          <a:endParaRPr lang="en-US" sz="1600">
            <a:solidFill>
              <a:schemeClr val="tx1"/>
            </a:solidFill>
          </a:endParaRPr>
        </a:p>
      </dgm:t>
    </dgm:pt>
    <dgm:pt modelId="{E613EF59-C3BB-4C08-B82E-1869A50E40AE}" type="sibTrans" cxnId="{200018F4-DAE8-4B6A-9AD7-2ACE462C8169}">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A576FCAA-5446-4F19-A1DA-791094E29F98}">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200" dirty="0" smtClean="0">
              <a:solidFill>
                <a:schemeClr val="tx1">
                  <a:lumMod val="50000"/>
                </a:schemeClr>
              </a:solidFill>
            </a:rPr>
            <a:t>Build</a:t>
          </a:r>
        </a:p>
      </dgm:t>
    </dgm:pt>
    <dgm:pt modelId="{FAC439C1-9323-450A-9EDE-8F21B1A6D653}" type="parTrans" cxnId="{A71A1DED-E227-4AE6-AC59-57D920DEEEA7}">
      <dgm:prSet/>
      <dgm:spPr/>
      <dgm:t>
        <a:bodyPr/>
        <a:lstStyle/>
        <a:p>
          <a:endParaRPr lang="en-US" sz="1600">
            <a:solidFill>
              <a:schemeClr val="tx1"/>
            </a:solidFill>
          </a:endParaRPr>
        </a:p>
      </dgm:t>
    </dgm:pt>
    <dgm:pt modelId="{D268CFAA-24B8-41E6-9B4B-32D11761F824}" type="sibTrans" cxnId="{A71A1DED-E227-4AE6-AC59-57D920DEEEA7}">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423B4314-64D5-47BA-93D8-5EB765A8A9CF}">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Deployment</a:t>
          </a:r>
        </a:p>
      </dgm:t>
    </dgm:pt>
    <dgm:pt modelId="{03E31E14-945D-4FCD-AF3A-B013161096FA}" type="parTrans" cxnId="{AAA1457C-76EF-4089-AABE-C5EAA4EA264A}">
      <dgm:prSet/>
      <dgm:spPr/>
      <dgm:t>
        <a:bodyPr/>
        <a:lstStyle/>
        <a:p>
          <a:endParaRPr lang="en-US" sz="1600">
            <a:solidFill>
              <a:schemeClr val="tx1"/>
            </a:solidFill>
          </a:endParaRPr>
        </a:p>
      </dgm:t>
    </dgm:pt>
    <dgm:pt modelId="{AFD8E1C5-2E15-40B4-932E-A05F6EE521F8}" type="sibTrans" cxnId="{AAA1457C-76EF-4089-AABE-C5EAA4EA264A}">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8465242E-62E2-418E-A12A-8334E9E32855}">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QA Testing </a:t>
          </a:r>
        </a:p>
      </dgm:t>
    </dgm:pt>
    <dgm:pt modelId="{467A8AF9-AAFF-40A8-A2E7-F51ECA8EEAD7}" type="parTrans" cxnId="{14814223-7C74-4B05-9F79-37FF6C05469F}">
      <dgm:prSet/>
      <dgm:spPr/>
      <dgm:t>
        <a:bodyPr/>
        <a:lstStyle/>
        <a:p>
          <a:endParaRPr lang="en-US" sz="1600">
            <a:solidFill>
              <a:schemeClr val="tx1"/>
            </a:solidFill>
          </a:endParaRPr>
        </a:p>
      </dgm:t>
    </dgm:pt>
    <dgm:pt modelId="{C510043E-4DC7-4704-925B-F2DB8CCFDECB}" type="sibTrans" cxnId="{14814223-7C74-4B05-9F79-37FF6C05469F}">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56C6F839-FAC2-4ECE-9390-407E20AA8582}">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Release</a:t>
          </a:r>
        </a:p>
      </dgm:t>
    </dgm:pt>
    <dgm:pt modelId="{F3B00094-C55B-47C2-92E0-21706823F177}" type="parTrans" cxnId="{CBA34B42-7B10-4E9E-9531-A650F724ADE7}">
      <dgm:prSet/>
      <dgm:spPr/>
      <dgm:t>
        <a:bodyPr/>
        <a:lstStyle/>
        <a:p>
          <a:endParaRPr lang="en-US" sz="1600">
            <a:solidFill>
              <a:schemeClr val="tx1"/>
            </a:solidFill>
          </a:endParaRPr>
        </a:p>
      </dgm:t>
    </dgm:pt>
    <dgm:pt modelId="{CEB1ACB0-5E42-4EC1-ACD8-723EED2B0328}" type="sibTrans" cxnId="{CBA34B42-7B10-4E9E-9531-A650F724ADE7}">
      <dgm:prSet/>
      <dgm:spPr/>
      <dgm:t>
        <a:bodyPr/>
        <a:lstStyle/>
        <a:p>
          <a:endParaRPr lang="en-US" sz="1600">
            <a:solidFill>
              <a:schemeClr val="tx1"/>
            </a:solidFill>
          </a:endParaRPr>
        </a:p>
      </dgm:t>
    </dgm:pt>
    <dgm:pt modelId="{B34182CC-E935-45A9-933D-716196577CC8}">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Packaging</a:t>
          </a:r>
        </a:p>
      </dgm:t>
    </dgm:pt>
    <dgm:pt modelId="{333EA2AC-3EE4-4C23-AE22-15C51C3B0CC1}" type="parTrans" cxnId="{4BEC2D55-F79C-4D8C-9C53-B578EFDA9774}">
      <dgm:prSet/>
      <dgm:spPr/>
      <dgm:t>
        <a:bodyPr/>
        <a:lstStyle/>
        <a:p>
          <a:endParaRPr lang="en-US">
            <a:solidFill>
              <a:schemeClr val="tx1"/>
            </a:solidFill>
          </a:endParaRPr>
        </a:p>
      </dgm:t>
    </dgm:pt>
    <dgm:pt modelId="{D95AE0DC-BBA8-4485-B717-538B34AEFDAD}" type="sibTrans" cxnId="{4BEC2D55-F79C-4D8C-9C53-B578EFDA9774}">
      <dgm:prSet>
        <dgm:style>
          <a:lnRef idx="3">
            <a:schemeClr val="lt1"/>
          </a:lnRef>
          <a:fillRef idx="1">
            <a:schemeClr val="accent5"/>
          </a:fillRef>
          <a:effectRef idx="1">
            <a:schemeClr val="accent5"/>
          </a:effectRef>
          <a:fontRef idx="minor">
            <a:schemeClr val="lt1"/>
          </a:fontRef>
        </dgm:style>
      </dgm:prSet>
      <dgm:spPr>
        <a:ln/>
      </dgm:spPr>
      <dgm:t>
        <a:bodyPr/>
        <a:lstStyle/>
        <a:p>
          <a:endParaRPr lang="en-US" dirty="0">
            <a:solidFill>
              <a:schemeClr val="tx1"/>
            </a:solidFill>
          </a:endParaRPr>
        </a:p>
      </dgm:t>
    </dgm:pt>
    <dgm:pt modelId="{C896FC28-B0AE-427E-913D-CE24DE7500DB}" type="pres">
      <dgm:prSet presAssocID="{ABBC8978-E8BF-41D8-8779-D8A660332FBB}" presName="diagram" presStyleCnt="0">
        <dgm:presLayoutVars>
          <dgm:dir/>
          <dgm:resizeHandles val="exact"/>
        </dgm:presLayoutVars>
      </dgm:prSet>
      <dgm:spPr/>
      <dgm:t>
        <a:bodyPr/>
        <a:lstStyle/>
        <a:p>
          <a:endParaRPr lang="en-US"/>
        </a:p>
      </dgm:t>
    </dgm:pt>
    <dgm:pt modelId="{88B01443-4336-42F7-8C6B-DFDDF8835326}" type="pres">
      <dgm:prSet presAssocID="{A66EFAC8-0D8C-4CAE-8551-B9CE3CF668B8}" presName="node" presStyleLbl="node1" presStyleIdx="0" presStyleCnt="9" custScaleX="27842" custScaleY="14967" custLinFactNeighborX="-26725" custLinFactNeighborY="35082">
        <dgm:presLayoutVars>
          <dgm:bulletEnabled val="1"/>
        </dgm:presLayoutVars>
      </dgm:prSet>
      <dgm:spPr/>
      <dgm:t>
        <a:bodyPr/>
        <a:lstStyle/>
        <a:p>
          <a:endParaRPr lang="en-US"/>
        </a:p>
      </dgm:t>
    </dgm:pt>
    <dgm:pt modelId="{5547DDF0-2341-44E8-B909-599AD9A38258}" type="pres">
      <dgm:prSet presAssocID="{9D833268-0AB4-473D-83AB-EE20C918AC95}" presName="sibTrans" presStyleLbl="sibTrans2D1" presStyleIdx="0" presStyleCnt="8" custScaleY="31156"/>
      <dgm:spPr/>
      <dgm:t>
        <a:bodyPr/>
        <a:lstStyle/>
        <a:p>
          <a:endParaRPr lang="en-US"/>
        </a:p>
      </dgm:t>
    </dgm:pt>
    <dgm:pt modelId="{B1B2B2FA-F8EF-4EF3-90AC-9D5B53F4B8BD}" type="pres">
      <dgm:prSet presAssocID="{9D833268-0AB4-473D-83AB-EE20C918AC95}" presName="connectorText" presStyleLbl="sibTrans2D1" presStyleIdx="0" presStyleCnt="8"/>
      <dgm:spPr/>
      <dgm:t>
        <a:bodyPr/>
        <a:lstStyle/>
        <a:p>
          <a:endParaRPr lang="en-US"/>
        </a:p>
      </dgm:t>
    </dgm:pt>
    <dgm:pt modelId="{234CB822-5963-4284-953F-D197BC136D05}" type="pres">
      <dgm:prSet presAssocID="{FFE5733F-0F36-4537-9CF5-8F07072B165E}" presName="node" presStyleLbl="node1" presStyleIdx="1" presStyleCnt="9" custScaleX="34586" custScaleY="16786" custLinFactNeighborX="-8663" custLinFactNeighborY="34678">
        <dgm:presLayoutVars>
          <dgm:bulletEnabled val="1"/>
        </dgm:presLayoutVars>
      </dgm:prSet>
      <dgm:spPr/>
      <dgm:t>
        <a:bodyPr/>
        <a:lstStyle/>
        <a:p>
          <a:endParaRPr lang="en-US"/>
        </a:p>
      </dgm:t>
    </dgm:pt>
    <dgm:pt modelId="{FD3C48C4-668B-4C1A-B8DA-C84BB00FD71A}" type="pres">
      <dgm:prSet presAssocID="{B8E74F81-7BE3-4C3E-8C25-9815F0B569E2}" presName="sibTrans" presStyleLbl="sibTrans2D1" presStyleIdx="1" presStyleCnt="8" custScaleY="34926"/>
      <dgm:spPr/>
      <dgm:t>
        <a:bodyPr/>
        <a:lstStyle/>
        <a:p>
          <a:endParaRPr lang="en-US"/>
        </a:p>
      </dgm:t>
    </dgm:pt>
    <dgm:pt modelId="{C8C8BEC7-95A7-45A1-AEFE-5F48C771A339}" type="pres">
      <dgm:prSet presAssocID="{B8E74F81-7BE3-4C3E-8C25-9815F0B569E2}" presName="connectorText" presStyleLbl="sibTrans2D1" presStyleIdx="1" presStyleCnt="8"/>
      <dgm:spPr/>
      <dgm:t>
        <a:bodyPr/>
        <a:lstStyle/>
        <a:p>
          <a:endParaRPr lang="en-US"/>
        </a:p>
      </dgm:t>
    </dgm:pt>
    <dgm:pt modelId="{0FA49742-9D1F-4EDD-AF58-7EAC20D56457}" type="pres">
      <dgm:prSet presAssocID="{CF9D2C6E-0C08-44D3-9B7D-A2657EA23932}" presName="node" presStyleLbl="node1" presStyleIdx="2" presStyleCnt="9" custScaleX="26188" custScaleY="16918" custLinFactNeighborX="-9828" custLinFactNeighborY="35064">
        <dgm:presLayoutVars>
          <dgm:bulletEnabled val="1"/>
        </dgm:presLayoutVars>
      </dgm:prSet>
      <dgm:spPr/>
      <dgm:t>
        <a:bodyPr/>
        <a:lstStyle/>
        <a:p>
          <a:endParaRPr lang="en-US"/>
        </a:p>
      </dgm:t>
    </dgm:pt>
    <dgm:pt modelId="{88ACB480-0A4F-4659-927C-83A8E1B95987}" type="pres">
      <dgm:prSet presAssocID="{FF61B858-8111-4D85-850A-B5AC6BC0CF86}" presName="sibTrans" presStyleLbl="sibTrans2D1" presStyleIdx="2" presStyleCnt="8" custScaleY="30618"/>
      <dgm:spPr/>
      <dgm:t>
        <a:bodyPr/>
        <a:lstStyle/>
        <a:p>
          <a:endParaRPr lang="en-US"/>
        </a:p>
      </dgm:t>
    </dgm:pt>
    <dgm:pt modelId="{39743218-1719-4169-BADA-C7E2CAFAA3F4}" type="pres">
      <dgm:prSet presAssocID="{FF61B858-8111-4D85-850A-B5AC6BC0CF86}" presName="connectorText" presStyleLbl="sibTrans2D1" presStyleIdx="2" presStyleCnt="8"/>
      <dgm:spPr/>
      <dgm:t>
        <a:bodyPr/>
        <a:lstStyle/>
        <a:p>
          <a:endParaRPr lang="en-US"/>
        </a:p>
      </dgm:t>
    </dgm:pt>
    <dgm:pt modelId="{F8B9390E-069E-4704-831C-E70BEB8A89D4}" type="pres">
      <dgm:prSet presAssocID="{051CB8D9-F4C8-47A6-9DC1-667443AE9E13}" presName="node" presStyleLbl="node1" presStyleIdx="3" presStyleCnt="9" custScaleX="34012" custScaleY="14878" custLinFactNeighborX="-2753" custLinFactNeighborY="34492">
        <dgm:presLayoutVars>
          <dgm:bulletEnabled val="1"/>
        </dgm:presLayoutVars>
      </dgm:prSet>
      <dgm:spPr/>
      <dgm:t>
        <a:bodyPr/>
        <a:lstStyle/>
        <a:p>
          <a:endParaRPr lang="en-US"/>
        </a:p>
      </dgm:t>
    </dgm:pt>
    <dgm:pt modelId="{A2CEBB0F-A3AC-4A4D-BE84-01708D590085}" type="pres">
      <dgm:prSet presAssocID="{E613EF59-C3BB-4C08-B82E-1869A50E40AE}" presName="sibTrans" presStyleLbl="sibTrans2D1" presStyleIdx="3" presStyleCnt="8" custAng="77419" custScaleX="53533" custScaleY="27842" custLinFactNeighborX="28473" custLinFactNeighborY="14081"/>
      <dgm:spPr/>
      <dgm:t>
        <a:bodyPr/>
        <a:lstStyle/>
        <a:p>
          <a:endParaRPr lang="en-US"/>
        </a:p>
      </dgm:t>
    </dgm:pt>
    <dgm:pt modelId="{9C2D3834-A989-4DAA-ACE0-1BFA53B18CF5}" type="pres">
      <dgm:prSet presAssocID="{E613EF59-C3BB-4C08-B82E-1869A50E40AE}" presName="connectorText" presStyleLbl="sibTrans2D1" presStyleIdx="3" presStyleCnt="8"/>
      <dgm:spPr/>
      <dgm:t>
        <a:bodyPr/>
        <a:lstStyle/>
        <a:p>
          <a:endParaRPr lang="en-US"/>
        </a:p>
      </dgm:t>
    </dgm:pt>
    <dgm:pt modelId="{54E93AE6-435F-4C31-8B95-D31A688EF26F}" type="pres">
      <dgm:prSet presAssocID="{A576FCAA-5446-4F19-A1DA-791094E29F98}" presName="node" presStyleLbl="node1" presStyleIdx="4" presStyleCnt="9" custScaleX="32104" custScaleY="18199" custLinFactNeighborX="1169" custLinFactNeighborY="60141">
        <dgm:presLayoutVars>
          <dgm:bulletEnabled val="1"/>
        </dgm:presLayoutVars>
      </dgm:prSet>
      <dgm:spPr/>
      <dgm:t>
        <a:bodyPr/>
        <a:lstStyle/>
        <a:p>
          <a:endParaRPr lang="en-US"/>
        </a:p>
      </dgm:t>
    </dgm:pt>
    <dgm:pt modelId="{DBDEE197-C7AF-4F19-A792-17296AEFE828}" type="pres">
      <dgm:prSet presAssocID="{D268CFAA-24B8-41E6-9B4B-32D11761F824}" presName="sibTrans" presStyleLbl="sibTrans2D1" presStyleIdx="4" presStyleCnt="8" custScaleX="132229" custScaleY="31810"/>
      <dgm:spPr/>
      <dgm:t>
        <a:bodyPr/>
        <a:lstStyle/>
        <a:p>
          <a:endParaRPr lang="en-US"/>
        </a:p>
      </dgm:t>
    </dgm:pt>
    <dgm:pt modelId="{23F9487E-9026-41E4-ACAE-75B254558C4F}" type="pres">
      <dgm:prSet presAssocID="{D268CFAA-24B8-41E6-9B4B-32D11761F824}" presName="connectorText" presStyleLbl="sibTrans2D1" presStyleIdx="4" presStyleCnt="8"/>
      <dgm:spPr/>
      <dgm:t>
        <a:bodyPr/>
        <a:lstStyle/>
        <a:p>
          <a:endParaRPr lang="en-US"/>
        </a:p>
      </dgm:t>
    </dgm:pt>
    <dgm:pt modelId="{5125F8CA-6B50-4F4D-802B-A1CD97D4F06C}" type="pres">
      <dgm:prSet presAssocID="{B34182CC-E935-45A9-933D-716196577CC8}" presName="node" presStyleLbl="node1" presStyleIdx="5" presStyleCnt="9" custScaleX="38226" custScaleY="17843" custLinFactNeighborX="19819" custLinFactNeighborY="58708">
        <dgm:presLayoutVars>
          <dgm:bulletEnabled val="1"/>
        </dgm:presLayoutVars>
      </dgm:prSet>
      <dgm:spPr/>
      <dgm:t>
        <a:bodyPr/>
        <a:lstStyle/>
        <a:p>
          <a:endParaRPr lang="en-US"/>
        </a:p>
      </dgm:t>
    </dgm:pt>
    <dgm:pt modelId="{947FD77F-D02E-409A-A799-6984F43C2EC2}" type="pres">
      <dgm:prSet presAssocID="{D95AE0DC-BBA8-4485-B717-538B34AEFDAD}" presName="sibTrans" presStyleLbl="sibTrans2D1" presStyleIdx="5" presStyleCnt="8" custFlipVert="1" custScaleX="132382" custScaleY="29230"/>
      <dgm:spPr/>
      <dgm:t>
        <a:bodyPr/>
        <a:lstStyle/>
        <a:p>
          <a:endParaRPr lang="en-US"/>
        </a:p>
      </dgm:t>
    </dgm:pt>
    <dgm:pt modelId="{686AED1D-599E-4A40-85E2-350153F76086}" type="pres">
      <dgm:prSet presAssocID="{D95AE0DC-BBA8-4485-B717-538B34AEFDAD}" presName="connectorText" presStyleLbl="sibTrans2D1" presStyleIdx="5" presStyleCnt="8"/>
      <dgm:spPr/>
      <dgm:t>
        <a:bodyPr/>
        <a:lstStyle/>
        <a:p>
          <a:endParaRPr lang="en-US"/>
        </a:p>
      </dgm:t>
    </dgm:pt>
    <dgm:pt modelId="{6B047922-162F-4B6E-A9DA-FA4C2E92B232}" type="pres">
      <dgm:prSet presAssocID="{423B4314-64D5-47BA-93D8-5EB765A8A9CF}" presName="node" presStyleLbl="node1" presStyleIdx="6" presStyleCnt="9" custScaleX="33643" custScaleY="18683" custLinFactNeighborX="37755" custLinFactNeighborY="59311">
        <dgm:presLayoutVars>
          <dgm:bulletEnabled val="1"/>
        </dgm:presLayoutVars>
      </dgm:prSet>
      <dgm:spPr/>
      <dgm:t>
        <a:bodyPr/>
        <a:lstStyle/>
        <a:p>
          <a:endParaRPr lang="en-US"/>
        </a:p>
      </dgm:t>
    </dgm:pt>
    <dgm:pt modelId="{16DE901F-1592-4E42-B78A-D358DA3DA820}" type="pres">
      <dgm:prSet presAssocID="{AFD8E1C5-2E15-40B4-932E-A05F6EE521F8}" presName="sibTrans" presStyleLbl="sibTrans2D1" presStyleIdx="6" presStyleCnt="8" custScaleY="35788"/>
      <dgm:spPr/>
      <dgm:t>
        <a:bodyPr/>
        <a:lstStyle/>
        <a:p>
          <a:endParaRPr lang="en-US"/>
        </a:p>
      </dgm:t>
    </dgm:pt>
    <dgm:pt modelId="{AB099BA9-2880-4AFB-9212-D8B8B0F9A8C5}" type="pres">
      <dgm:prSet presAssocID="{AFD8E1C5-2E15-40B4-932E-A05F6EE521F8}" presName="connectorText" presStyleLbl="sibTrans2D1" presStyleIdx="6" presStyleCnt="8"/>
      <dgm:spPr/>
      <dgm:t>
        <a:bodyPr/>
        <a:lstStyle/>
        <a:p>
          <a:endParaRPr lang="en-US"/>
        </a:p>
      </dgm:t>
    </dgm:pt>
    <dgm:pt modelId="{1C88D81E-920E-46DA-BD72-326FA7CD9A04}" type="pres">
      <dgm:prSet presAssocID="{8465242E-62E2-418E-A12A-8334E9E32855}" presName="node" presStyleLbl="node1" presStyleIdx="7" presStyleCnt="9" custScaleX="36730" custScaleY="16112" custLinFactNeighborX="37525" custLinFactNeighborY="59352">
        <dgm:presLayoutVars>
          <dgm:bulletEnabled val="1"/>
        </dgm:presLayoutVars>
      </dgm:prSet>
      <dgm:spPr/>
      <dgm:t>
        <a:bodyPr/>
        <a:lstStyle/>
        <a:p>
          <a:endParaRPr lang="en-US"/>
        </a:p>
      </dgm:t>
    </dgm:pt>
    <dgm:pt modelId="{58FE53D6-98F4-407B-8451-857BFFF87C5C}" type="pres">
      <dgm:prSet presAssocID="{C510043E-4DC7-4704-925B-F2DB8CCFDECB}" presName="sibTrans" presStyleLbl="sibTrans2D1" presStyleIdx="7" presStyleCnt="8" custScaleY="35315"/>
      <dgm:spPr/>
      <dgm:t>
        <a:bodyPr/>
        <a:lstStyle/>
        <a:p>
          <a:endParaRPr lang="en-US"/>
        </a:p>
      </dgm:t>
    </dgm:pt>
    <dgm:pt modelId="{F2C5FC1D-FFC8-49DA-B57B-180BBAC80326}" type="pres">
      <dgm:prSet presAssocID="{C510043E-4DC7-4704-925B-F2DB8CCFDECB}" presName="connectorText" presStyleLbl="sibTrans2D1" presStyleIdx="7" presStyleCnt="8"/>
      <dgm:spPr/>
      <dgm:t>
        <a:bodyPr/>
        <a:lstStyle/>
        <a:p>
          <a:endParaRPr lang="en-US"/>
        </a:p>
      </dgm:t>
    </dgm:pt>
    <dgm:pt modelId="{E422F7D2-586C-40CF-8C61-74A7FA642D2F}" type="pres">
      <dgm:prSet presAssocID="{56C6F839-FAC2-4ECE-9390-407E20AA8582}" presName="node" presStyleLbl="node1" presStyleIdx="8" presStyleCnt="9" custScaleX="25031" custScaleY="16460" custLinFactNeighborX="-17103" custLinFactNeighborY="-34972">
        <dgm:presLayoutVars>
          <dgm:bulletEnabled val="1"/>
        </dgm:presLayoutVars>
      </dgm:prSet>
      <dgm:spPr/>
      <dgm:t>
        <a:bodyPr/>
        <a:lstStyle/>
        <a:p>
          <a:endParaRPr lang="en-US"/>
        </a:p>
      </dgm:t>
    </dgm:pt>
  </dgm:ptLst>
  <dgm:cxnLst>
    <dgm:cxn modelId="{1DC41FA0-D03E-47A6-9216-0D63A98D33E0}" type="presOf" srcId="{FFE5733F-0F36-4537-9CF5-8F07072B165E}" destId="{234CB822-5963-4284-953F-D197BC136D05}" srcOrd="0" destOrd="0" presId="urn:microsoft.com/office/officeart/2005/8/layout/process5"/>
    <dgm:cxn modelId="{34749C99-6BE1-4353-A9B6-177C2BF74709}" type="presOf" srcId="{C510043E-4DC7-4704-925B-F2DB8CCFDECB}" destId="{58FE53D6-98F4-407B-8451-857BFFF87C5C}" srcOrd="0" destOrd="0" presId="urn:microsoft.com/office/officeart/2005/8/layout/process5"/>
    <dgm:cxn modelId="{7028A808-2459-4366-89A5-F7156E58216F}" type="presOf" srcId="{A576FCAA-5446-4F19-A1DA-791094E29F98}" destId="{54E93AE6-435F-4C31-8B95-D31A688EF26F}" srcOrd="0" destOrd="0" presId="urn:microsoft.com/office/officeart/2005/8/layout/process5"/>
    <dgm:cxn modelId="{F11B6920-D42D-4807-9929-5CF9496BBB11}" type="presOf" srcId="{E613EF59-C3BB-4C08-B82E-1869A50E40AE}" destId="{9C2D3834-A989-4DAA-ACE0-1BFA53B18CF5}" srcOrd="1" destOrd="0" presId="urn:microsoft.com/office/officeart/2005/8/layout/process5"/>
    <dgm:cxn modelId="{CBA34B42-7B10-4E9E-9531-A650F724ADE7}" srcId="{ABBC8978-E8BF-41D8-8779-D8A660332FBB}" destId="{56C6F839-FAC2-4ECE-9390-407E20AA8582}" srcOrd="8" destOrd="0" parTransId="{F3B00094-C55B-47C2-92E0-21706823F177}" sibTransId="{CEB1ACB0-5E42-4EC1-ACD8-723EED2B0328}"/>
    <dgm:cxn modelId="{200018F4-DAE8-4B6A-9AD7-2ACE462C8169}" srcId="{ABBC8978-E8BF-41D8-8779-D8A660332FBB}" destId="{051CB8D9-F4C8-47A6-9DC1-667443AE9E13}" srcOrd="3" destOrd="0" parTransId="{30BC023D-593F-440E-952E-A262F82C536D}" sibTransId="{E613EF59-C3BB-4C08-B82E-1869A50E40AE}"/>
    <dgm:cxn modelId="{AAA1457C-76EF-4089-AABE-C5EAA4EA264A}" srcId="{ABBC8978-E8BF-41D8-8779-D8A660332FBB}" destId="{423B4314-64D5-47BA-93D8-5EB765A8A9CF}" srcOrd="6" destOrd="0" parTransId="{03E31E14-945D-4FCD-AF3A-B013161096FA}" sibTransId="{AFD8E1C5-2E15-40B4-932E-A05F6EE521F8}"/>
    <dgm:cxn modelId="{36516F69-8D9B-4463-85E7-D5CBF228E9A6}" type="presOf" srcId="{E613EF59-C3BB-4C08-B82E-1869A50E40AE}" destId="{A2CEBB0F-A3AC-4A4D-BE84-01708D590085}" srcOrd="0" destOrd="0" presId="urn:microsoft.com/office/officeart/2005/8/layout/process5"/>
    <dgm:cxn modelId="{14814223-7C74-4B05-9F79-37FF6C05469F}" srcId="{ABBC8978-E8BF-41D8-8779-D8A660332FBB}" destId="{8465242E-62E2-418E-A12A-8334E9E32855}" srcOrd="7" destOrd="0" parTransId="{467A8AF9-AAFF-40A8-A2E7-F51ECA8EEAD7}" sibTransId="{C510043E-4DC7-4704-925B-F2DB8CCFDECB}"/>
    <dgm:cxn modelId="{193CBB4A-D52D-45F1-A774-07CA33361AA8}" type="presOf" srcId="{D95AE0DC-BBA8-4485-B717-538B34AEFDAD}" destId="{947FD77F-D02E-409A-A799-6984F43C2EC2}" srcOrd="0" destOrd="0" presId="urn:microsoft.com/office/officeart/2005/8/layout/process5"/>
    <dgm:cxn modelId="{3C9EA269-054E-4C9D-817F-58513B5A2B8D}" type="presOf" srcId="{AFD8E1C5-2E15-40B4-932E-A05F6EE521F8}" destId="{AB099BA9-2880-4AFB-9212-D8B8B0F9A8C5}" srcOrd="1" destOrd="0" presId="urn:microsoft.com/office/officeart/2005/8/layout/process5"/>
    <dgm:cxn modelId="{6DEB2BA2-E1CB-4A4A-A656-9D965F3E0BAB}" type="presOf" srcId="{B8E74F81-7BE3-4C3E-8C25-9815F0B569E2}" destId="{C8C8BEC7-95A7-45A1-AEFE-5F48C771A339}" srcOrd="1" destOrd="0" presId="urn:microsoft.com/office/officeart/2005/8/layout/process5"/>
    <dgm:cxn modelId="{3967DC0C-D170-4ECB-84DB-068E19AADBEB}" srcId="{ABBC8978-E8BF-41D8-8779-D8A660332FBB}" destId="{A66EFAC8-0D8C-4CAE-8551-B9CE3CF668B8}" srcOrd="0" destOrd="0" parTransId="{3D7B44B8-BD5D-4B5D-B349-7516A3780A68}" sibTransId="{9D833268-0AB4-473D-83AB-EE20C918AC95}"/>
    <dgm:cxn modelId="{9EA2B72D-4F40-410C-AC4A-EA6E41601C30}" type="presOf" srcId="{56C6F839-FAC2-4ECE-9390-407E20AA8582}" destId="{E422F7D2-586C-40CF-8C61-74A7FA642D2F}" srcOrd="0" destOrd="0" presId="urn:microsoft.com/office/officeart/2005/8/layout/process5"/>
    <dgm:cxn modelId="{5192358A-40EF-41DF-88EC-B5A89586374C}" type="presOf" srcId="{D268CFAA-24B8-41E6-9B4B-32D11761F824}" destId="{23F9487E-9026-41E4-ACAE-75B254558C4F}" srcOrd="1" destOrd="0" presId="urn:microsoft.com/office/officeart/2005/8/layout/process5"/>
    <dgm:cxn modelId="{9115837A-F6CA-4CFD-84AB-1405DB758909}" type="presOf" srcId="{423B4314-64D5-47BA-93D8-5EB765A8A9CF}" destId="{6B047922-162F-4B6E-A9DA-FA4C2E92B232}" srcOrd="0" destOrd="0" presId="urn:microsoft.com/office/officeart/2005/8/layout/process5"/>
    <dgm:cxn modelId="{50D54793-4AC7-47B7-907C-28F096AED4F4}" type="presOf" srcId="{FF61B858-8111-4D85-850A-B5AC6BC0CF86}" destId="{39743218-1719-4169-BADA-C7E2CAFAA3F4}" srcOrd="1" destOrd="0" presId="urn:microsoft.com/office/officeart/2005/8/layout/process5"/>
    <dgm:cxn modelId="{980A3EA2-9536-4C6F-8649-7DFA1BA4B542}" type="presOf" srcId="{CF9D2C6E-0C08-44D3-9B7D-A2657EA23932}" destId="{0FA49742-9D1F-4EDD-AF58-7EAC20D56457}" srcOrd="0" destOrd="0" presId="urn:microsoft.com/office/officeart/2005/8/layout/process5"/>
    <dgm:cxn modelId="{A71A1DED-E227-4AE6-AC59-57D920DEEEA7}" srcId="{ABBC8978-E8BF-41D8-8779-D8A660332FBB}" destId="{A576FCAA-5446-4F19-A1DA-791094E29F98}" srcOrd="4" destOrd="0" parTransId="{FAC439C1-9323-450A-9EDE-8F21B1A6D653}" sibTransId="{D268CFAA-24B8-41E6-9B4B-32D11761F824}"/>
    <dgm:cxn modelId="{FB3DF021-35CB-4728-A248-42B784F1B2CB}" type="presOf" srcId="{C510043E-4DC7-4704-925B-F2DB8CCFDECB}" destId="{F2C5FC1D-FFC8-49DA-B57B-180BBAC80326}" srcOrd="1" destOrd="0" presId="urn:microsoft.com/office/officeart/2005/8/layout/process5"/>
    <dgm:cxn modelId="{7B591D74-E98B-4D73-A6D0-81F8BA7CC478}" srcId="{ABBC8978-E8BF-41D8-8779-D8A660332FBB}" destId="{FFE5733F-0F36-4537-9CF5-8F07072B165E}" srcOrd="1" destOrd="0" parTransId="{5F9AD0BA-46AB-4FCE-8FA7-409C1B6B5236}" sibTransId="{B8E74F81-7BE3-4C3E-8C25-9815F0B569E2}"/>
    <dgm:cxn modelId="{42498E6E-B939-4278-8956-DB5F0500E750}" type="presOf" srcId="{9D833268-0AB4-473D-83AB-EE20C918AC95}" destId="{5547DDF0-2341-44E8-B909-599AD9A38258}" srcOrd="0" destOrd="0" presId="urn:microsoft.com/office/officeart/2005/8/layout/process5"/>
    <dgm:cxn modelId="{A0086C9C-221C-40CD-BA3A-E5EE42B3BEB8}" type="presOf" srcId="{FF61B858-8111-4D85-850A-B5AC6BC0CF86}" destId="{88ACB480-0A4F-4659-927C-83A8E1B95987}" srcOrd="0" destOrd="0" presId="urn:microsoft.com/office/officeart/2005/8/layout/process5"/>
    <dgm:cxn modelId="{4BEC2D55-F79C-4D8C-9C53-B578EFDA9774}" srcId="{ABBC8978-E8BF-41D8-8779-D8A660332FBB}" destId="{B34182CC-E935-45A9-933D-716196577CC8}" srcOrd="5" destOrd="0" parTransId="{333EA2AC-3EE4-4C23-AE22-15C51C3B0CC1}" sibTransId="{D95AE0DC-BBA8-4485-B717-538B34AEFDAD}"/>
    <dgm:cxn modelId="{B6EB2ABF-EB65-44AF-804E-FC9D154A01E1}" type="presOf" srcId="{D268CFAA-24B8-41E6-9B4B-32D11761F824}" destId="{DBDEE197-C7AF-4F19-A792-17296AEFE828}" srcOrd="0" destOrd="0" presId="urn:microsoft.com/office/officeart/2005/8/layout/process5"/>
    <dgm:cxn modelId="{5BAA1ED8-CF80-40A9-B41E-4659B3DF80A3}" type="presOf" srcId="{051CB8D9-F4C8-47A6-9DC1-667443AE9E13}" destId="{F8B9390E-069E-4704-831C-E70BEB8A89D4}" srcOrd="0" destOrd="0" presId="urn:microsoft.com/office/officeart/2005/8/layout/process5"/>
    <dgm:cxn modelId="{8A9BC934-9F98-49CF-8F0E-844747199927}" type="presOf" srcId="{8465242E-62E2-418E-A12A-8334E9E32855}" destId="{1C88D81E-920E-46DA-BD72-326FA7CD9A04}" srcOrd="0" destOrd="0" presId="urn:microsoft.com/office/officeart/2005/8/layout/process5"/>
    <dgm:cxn modelId="{AEA3CA64-550F-48AB-8902-B1B45E0BAE2E}" type="presOf" srcId="{A66EFAC8-0D8C-4CAE-8551-B9CE3CF668B8}" destId="{88B01443-4336-42F7-8C6B-DFDDF8835326}" srcOrd="0" destOrd="0" presId="urn:microsoft.com/office/officeart/2005/8/layout/process5"/>
    <dgm:cxn modelId="{10B7D77E-E0D2-44F9-B2B6-64373F346C68}" type="presOf" srcId="{AFD8E1C5-2E15-40B4-932E-A05F6EE521F8}" destId="{16DE901F-1592-4E42-B78A-D358DA3DA820}" srcOrd="0" destOrd="0" presId="urn:microsoft.com/office/officeart/2005/8/layout/process5"/>
    <dgm:cxn modelId="{3CF2E30A-1573-40F1-9F12-BF8536A825D1}" type="presOf" srcId="{B34182CC-E935-45A9-933D-716196577CC8}" destId="{5125F8CA-6B50-4F4D-802B-A1CD97D4F06C}" srcOrd="0" destOrd="0" presId="urn:microsoft.com/office/officeart/2005/8/layout/process5"/>
    <dgm:cxn modelId="{C305A0F5-4072-4FCA-8820-1E50D54B2ED7}" type="presOf" srcId="{B8E74F81-7BE3-4C3E-8C25-9815F0B569E2}" destId="{FD3C48C4-668B-4C1A-B8DA-C84BB00FD71A}" srcOrd="0" destOrd="0" presId="urn:microsoft.com/office/officeart/2005/8/layout/process5"/>
    <dgm:cxn modelId="{8C1ECBA5-4630-4EC1-BFA5-ABE5E1AB181C}" type="presOf" srcId="{9D833268-0AB4-473D-83AB-EE20C918AC95}" destId="{B1B2B2FA-F8EF-4EF3-90AC-9D5B53F4B8BD}" srcOrd="1" destOrd="0" presId="urn:microsoft.com/office/officeart/2005/8/layout/process5"/>
    <dgm:cxn modelId="{5B7949A0-DB7D-4811-8A82-2D68458D3E82}" type="presOf" srcId="{ABBC8978-E8BF-41D8-8779-D8A660332FBB}" destId="{C896FC28-B0AE-427E-913D-CE24DE7500DB}" srcOrd="0" destOrd="0" presId="urn:microsoft.com/office/officeart/2005/8/layout/process5"/>
    <dgm:cxn modelId="{9240478A-4C3B-43BE-9BA1-5FD1D5458269}" srcId="{ABBC8978-E8BF-41D8-8779-D8A660332FBB}" destId="{CF9D2C6E-0C08-44D3-9B7D-A2657EA23932}" srcOrd="2" destOrd="0" parTransId="{AEB4EFB5-638A-4D0A-AD70-A0A79323FC35}" sibTransId="{FF61B858-8111-4D85-850A-B5AC6BC0CF86}"/>
    <dgm:cxn modelId="{13EE29B7-3B7B-46C2-85F3-EFFA0543A762}" type="presOf" srcId="{D95AE0DC-BBA8-4485-B717-538B34AEFDAD}" destId="{686AED1D-599E-4A40-85E2-350153F76086}" srcOrd="1" destOrd="0" presId="urn:microsoft.com/office/officeart/2005/8/layout/process5"/>
    <dgm:cxn modelId="{FDAD3454-3F27-49A0-9859-1AD7894F72D1}" type="presParOf" srcId="{C896FC28-B0AE-427E-913D-CE24DE7500DB}" destId="{88B01443-4336-42F7-8C6B-DFDDF8835326}" srcOrd="0" destOrd="0" presId="urn:microsoft.com/office/officeart/2005/8/layout/process5"/>
    <dgm:cxn modelId="{3FD88238-A012-496F-A927-286F147F7492}" type="presParOf" srcId="{C896FC28-B0AE-427E-913D-CE24DE7500DB}" destId="{5547DDF0-2341-44E8-B909-599AD9A38258}" srcOrd="1" destOrd="0" presId="urn:microsoft.com/office/officeart/2005/8/layout/process5"/>
    <dgm:cxn modelId="{1B4B2126-5D46-4DF8-83DE-79D3581866E5}" type="presParOf" srcId="{5547DDF0-2341-44E8-B909-599AD9A38258}" destId="{B1B2B2FA-F8EF-4EF3-90AC-9D5B53F4B8BD}" srcOrd="0" destOrd="0" presId="urn:microsoft.com/office/officeart/2005/8/layout/process5"/>
    <dgm:cxn modelId="{7FC5A667-FB77-4A08-98F7-2FB62A8C7091}" type="presParOf" srcId="{C896FC28-B0AE-427E-913D-CE24DE7500DB}" destId="{234CB822-5963-4284-953F-D197BC136D05}" srcOrd="2" destOrd="0" presId="urn:microsoft.com/office/officeart/2005/8/layout/process5"/>
    <dgm:cxn modelId="{9D90493E-53A9-42A4-9C47-135BE77D9ADC}" type="presParOf" srcId="{C896FC28-B0AE-427E-913D-CE24DE7500DB}" destId="{FD3C48C4-668B-4C1A-B8DA-C84BB00FD71A}" srcOrd="3" destOrd="0" presId="urn:microsoft.com/office/officeart/2005/8/layout/process5"/>
    <dgm:cxn modelId="{2AA93C24-74BD-4F2B-81C8-8C4572985EE4}" type="presParOf" srcId="{FD3C48C4-668B-4C1A-B8DA-C84BB00FD71A}" destId="{C8C8BEC7-95A7-45A1-AEFE-5F48C771A339}" srcOrd="0" destOrd="0" presId="urn:microsoft.com/office/officeart/2005/8/layout/process5"/>
    <dgm:cxn modelId="{17AA4F3E-850E-47C0-A15A-9301759CCBEF}" type="presParOf" srcId="{C896FC28-B0AE-427E-913D-CE24DE7500DB}" destId="{0FA49742-9D1F-4EDD-AF58-7EAC20D56457}" srcOrd="4" destOrd="0" presId="urn:microsoft.com/office/officeart/2005/8/layout/process5"/>
    <dgm:cxn modelId="{648B088B-AE2B-41F8-AFFC-CF8534E49B6C}" type="presParOf" srcId="{C896FC28-B0AE-427E-913D-CE24DE7500DB}" destId="{88ACB480-0A4F-4659-927C-83A8E1B95987}" srcOrd="5" destOrd="0" presId="urn:microsoft.com/office/officeart/2005/8/layout/process5"/>
    <dgm:cxn modelId="{36627CF6-F64C-4D22-BD18-E227CEFA2586}" type="presParOf" srcId="{88ACB480-0A4F-4659-927C-83A8E1B95987}" destId="{39743218-1719-4169-BADA-C7E2CAFAA3F4}" srcOrd="0" destOrd="0" presId="urn:microsoft.com/office/officeart/2005/8/layout/process5"/>
    <dgm:cxn modelId="{075F5142-098F-4C70-9990-F7E1FE51BE31}" type="presParOf" srcId="{C896FC28-B0AE-427E-913D-CE24DE7500DB}" destId="{F8B9390E-069E-4704-831C-E70BEB8A89D4}" srcOrd="6" destOrd="0" presId="urn:microsoft.com/office/officeart/2005/8/layout/process5"/>
    <dgm:cxn modelId="{BA4ED19A-2B98-4EBA-93B5-6304E8072E67}" type="presParOf" srcId="{C896FC28-B0AE-427E-913D-CE24DE7500DB}" destId="{A2CEBB0F-A3AC-4A4D-BE84-01708D590085}" srcOrd="7" destOrd="0" presId="urn:microsoft.com/office/officeart/2005/8/layout/process5"/>
    <dgm:cxn modelId="{88ACA83D-1EF2-486D-B9EA-4794B3947560}" type="presParOf" srcId="{A2CEBB0F-A3AC-4A4D-BE84-01708D590085}" destId="{9C2D3834-A989-4DAA-ACE0-1BFA53B18CF5}" srcOrd="0" destOrd="0" presId="urn:microsoft.com/office/officeart/2005/8/layout/process5"/>
    <dgm:cxn modelId="{33CED852-3C87-4A29-8B1B-7145FE11B61F}" type="presParOf" srcId="{C896FC28-B0AE-427E-913D-CE24DE7500DB}" destId="{54E93AE6-435F-4C31-8B95-D31A688EF26F}" srcOrd="8" destOrd="0" presId="urn:microsoft.com/office/officeart/2005/8/layout/process5"/>
    <dgm:cxn modelId="{33B23993-DC00-4396-AE02-FBD630906749}" type="presParOf" srcId="{C896FC28-B0AE-427E-913D-CE24DE7500DB}" destId="{DBDEE197-C7AF-4F19-A792-17296AEFE828}" srcOrd="9" destOrd="0" presId="urn:microsoft.com/office/officeart/2005/8/layout/process5"/>
    <dgm:cxn modelId="{70B78FE5-5B24-49BE-BA77-5E68423FEAB8}" type="presParOf" srcId="{DBDEE197-C7AF-4F19-A792-17296AEFE828}" destId="{23F9487E-9026-41E4-ACAE-75B254558C4F}" srcOrd="0" destOrd="0" presId="urn:microsoft.com/office/officeart/2005/8/layout/process5"/>
    <dgm:cxn modelId="{A41C5E1F-2FB5-4579-9CDF-D7BC799AEED9}" type="presParOf" srcId="{C896FC28-B0AE-427E-913D-CE24DE7500DB}" destId="{5125F8CA-6B50-4F4D-802B-A1CD97D4F06C}" srcOrd="10" destOrd="0" presId="urn:microsoft.com/office/officeart/2005/8/layout/process5"/>
    <dgm:cxn modelId="{4B9FB374-53FD-4FD8-91EF-54CFC0FF8974}" type="presParOf" srcId="{C896FC28-B0AE-427E-913D-CE24DE7500DB}" destId="{947FD77F-D02E-409A-A799-6984F43C2EC2}" srcOrd="11" destOrd="0" presId="urn:microsoft.com/office/officeart/2005/8/layout/process5"/>
    <dgm:cxn modelId="{58C604DD-B66C-4AB4-A939-6C055DEE7098}" type="presParOf" srcId="{947FD77F-D02E-409A-A799-6984F43C2EC2}" destId="{686AED1D-599E-4A40-85E2-350153F76086}" srcOrd="0" destOrd="0" presId="urn:microsoft.com/office/officeart/2005/8/layout/process5"/>
    <dgm:cxn modelId="{B222528C-3064-41EF-A0E2-CB0B8249307A}" type="presParOf" srcId="{C896FC28-B0AE-427E-913D-CE24DE7500DB}" destId="{6B047922-162F-4B6E-A9DA-FA4C2E92B232}" srcOrd="12" destOrd="0" presId="urn:microsoft.com/office/officeart/2005/8/layout/process5"/>
    <dgm:cxn modelId="{8C7D4025-EBD2-4565-B240-7FCF3EDFA3BB}" type="presParOf" srcId="{C896FC28-B0AE-427E-913D-CE24DE7500DB}" destId="{16DE901F-1592-4E42-B78A-D358DA3DA820}" srcOrd="13" destOrd="0" presId="urn:microsoft.com/office/officeart/2005/8/layout/process5"/>
    <dgm:cxn modelId="{4BDDCD12-EF58-4F98-9FE9-D511C8EB12F1}" type="presParOf" srcId="{16DE901F-1592-4E42-B78A-D358DA3DA820}" destId="{AB099BA9-2880-4AFB-9212-D8B8B0F9A8C5}" srcOrd="0" destOrd="0" presId="urn:microsoft.com/office/officeart/2005/8/layout/process5"/>
    <dgm:cxn modelId="{581AF68F-6779-49FB-AD8C-851653C59CF8}" type="presParOf" srcId="{C896FC28-B0AE-427E-913D-CE24DE7500DB}" destId="{1C88D81E-920E-46DA-BD72-326FA7CD9A04}" srcOrd="14" destOrd="0" presId="urn:microsoft.com/office/officeart/2005/8/layout/process5"/>
    <dgm:cxn modelId="{558DA99F-25A7-4D65-AB3E-F68FF0EF2573}" type="presParOf" srcId="{C896FC28-B0AE-427E-913D-CE24DE7500DB}" destId="{58FE53D6-98F4-407B-8451-857BFFF87C5C}" srcOrd="15" destOrd="0" presId="urn:microsoft.com/office/officeart/2005/8/layout/process5"/>
    <dgm:cxn modelId="{BE6F1963-254D-4FD6-9CB6-8A2384F07EA3}" type="presParOf" srcId="{58FE53D6-98F4-407B-8451-857BFFF87C5C}" destId="{F2C5FC1D-FFC8-49DA-B57B-180BBAC80326}" srcOrd="0" destOrd="0" presId="urn:microsoft.com/office/officeart/2005/8/layout/process5"/>
    <dgm:cxn modelId="{68D75300-EA00-4364-849C-46D623A8E0A3}" type="presParOf" srcId="{C896FC28-B0AE-427E-913D-CE24DE7500DB}" destId="{E422F7D2-586C-40CF-8C61-74A7FA642D2F}" srcOrd="16" destOrd="0" presId="urn:microsoft.com/office/officeart/2005/8/layout/process5"/>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BBC8978-E8BF-41D8-8779-D8A660332FBB}"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A66EFAC8-0D8C-4CAE-8551-B9CE3CF668B8}">
      <dgm:prSet phldrT="[Text]" custT="1">
        <dgm:style>
          <a:lnRef idx="3">
            <a:schemeClr val="lt1"/>
          </a:lnRef>
          <a:fillRef idx="1">
            <a:schemeClr val="accent6"/>
          </a:fillRef>
          <a:effectRef idx="1">
            <a:schemeClr val="accent6"/>
          </a:effectRef>
          <a:fontRef idx="minor">
            <a:schemeClr val="lt1"/>
          </a:fontRef>
        </dgm:style>
      </dgm:prSet>
      <dgm:spPr>
        <a:ln w="28575"/>
      </dgm:spPr>
      <dgm:t>
        <a:bodyPr/>
        <a:lstStyle/>
        <a:p>
          <a:r>
            <a:rPr lang="en-US" sz="1000" dirty="0" smtClean="0">
              <a:solidFill>
                <a:schemeClr val="tx1">
                  <a:lumMod val="50000"/>
                </a:schemeClr>
              </a:solidFill>
            </a:rPr>
            <a:t>Code Integration</a:t>
          </a:r>
          <a:endParaRPr lang="en-US" sz="1000" dirty="0">
            <a:solidFill>
              <a:schemeClr val="tx1">
                <a:lumMod val="50000"/>
              </a:schemeClr>
            </a:solidFill>
          </a:endParaRPr>
        </a:p>
      </dgm:t>
    </dgm:pt>
    <dgm:pt modelId="{3D7B44B8-BD5D-4B5D-B349-7516A3780A68}" type="parTrans" cxnId="{3967DC0C-D170-4ECB-84DB-068E19AADBEB}">
      <dgm:prSet/>
      <dgm:spPr/>
      <dgm:t>
        <a:bodyPr/>
        <a:lstStyle/>
        <a:p>
          <a:endParaRPr lang="en-US" sz="1600">
            <a:solidFill>
              <a:schemeClr val="tx1"/>
            </a:solidFill>
          </a:endParaRPr>
        </a:p>
      </dgm:t>
    </dgm:pt>
    <dgm:pt modelId="{9D833268-0AB4-473D-83AB-EE20C918AC95}" type="sibTrans" cxnId="{3967DC0C-D170-4ECB-84DB-068E19AADBEB}">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FFE5733F-0F36-4537-9CF5-8F07072B165E}">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Code Compilation</a:t>
          </a:r>
          <a:endParaRPr lang="en-US" sz="1000" dirty="0">
            <a:solidFill>
              <a:schemeClr val="tx1">
                <a:lumMod val="50000"/>
              </a:schemeClr>
            </a:solidFill>
          </a:endParaRPr>
        </a:p>
      </dgm:t>
    </dgm:pt>
    <dgm:pt modelId="{5F9AD0BA-46AB-4FCE-8FA7-409C1B6B5236}" type="parTrans" cxnId="{7B591D74-E98B-4D73-A6D0-81F8BA7CC478}">
      <dgm:prSet/>
      <dgm:spPr/>
      <dgm:t>
        <a:bodyPr/>
        <a:lstStyle/>
        <a:p>
          <a:endParaRPr lang="en-US" sz="1600">
            <a:solidFill>
              <a:schemeClr val="tx1"/>
            </a:solidFill>
          </a:endParaRPr>
        </a:p>
      </dgm:t>
    </dgm:pt>
    <dgm:pt modelId="{B8E74F81-7BE3-4C3E-8C25-9815F0B569E2}" type="sibTrans" cxnId="{7B591D74-E98B-4D73-A6D0-81F8BA7CC478}">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CF9D2C6E-0C08-44D3-9B7D-A2657EA23932}">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Code Review</a:t>
          </a:r>
          <a:endParaRPr lang="en-US" sz="1000" dirty="0">
            <a:solidFill>
              <a:schemeClr val="tx1">
                <a:lumMod val="50000"/>
              </a:schemeClr>
            </a:solidFill>
          </a:endParaRPr>
        </a:p>
      </dgm:t>
    </dgm:pt>
    <dgm:pt modelId="{AEB4EFB5-638A-4D0A-AD70-A0A79323FC35}" type="parTrans" cxnId="{9240478A-4C3B-43BE-9BA1-5FD1D5458269}">
      <dgm:prSet/>
      <dgm:spPr/>
      <dgm:t>
        <a:bodyPr/>
        <a:lstStyle/>
        <a:p>
          <a:endParaRPr lang="en-US" sz="1600">
            <a:solidFill>
              <a:schemeClr val="tx1"/>
            </a:solidFill>
          </a:endParaRPr>
        </a:p>
      </dgm:t>
    </dgm:pt>
    <dgm:pt modelId="{FF61B858-8111-4D85-850A-B5AC6BC0CF86}" type="sibTrans" cxnId="{9240478A-4C3B-43BE-9BA1-5FD1D5458269}">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051CB8D9-F4C8-47A6-9DC1-667443AE9E13}">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Unit Testing</a:t>
          </a:r>
          <a:endParaRPr lang="en-US" sz="1000" dirty="0">
            <a:solidFill>
              <a:schemeClr val="tx1">
                <a:lumMod val="50000"/>
              </a:schemeClr>
            </a:solidFill>
          </a:endParaRPr>
        </a:p>
      </dgm:t>
    </dgm:pt>
    <dgm:pt modelId="{30BC023D-593F-440E-952E-A262F82C536D}" type="parTrans" cxnId="{200018F4-DAE8-4B6A-9AD7-2ACE462C8169}">
      <dgm:prSet/>
      <dgm:spPr/>
      <dgm:t>
        <a:bodyPr/>
        <a:lstStyle/>
        <a:p>
          <a:endParaRPr lang="en-US" sz="1600">
            <a:solidFill>
              <a:schemeClr val="tx1"/>
            </a:solidFill>
          </a:endParaRPr>
        </a:p>
      </dgm:t>
    </dgm:pt>
    <dgm:pt modelId="{E613EF59-C3BB-4C08-B82E-1869A50E40AE}" type="sibTrans" cxnId="{200018F4-DAE8-4B6A-9AD7-2ACE462C8169}">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A576FCAA-5446-4F19-A1DA-791094E29F98}">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200" dirty="0" smtClean="0">
              <a:solidFill>
                <a:schemeClr val="tx1">
                  <a:lumMod val="50000"/>
                </a:schemeClr>
              </a:solidFill>
            </a:rPr>
            <a:t>Build</a:t>
          </a:r>
        </a:p>
      </dgm:t>
    </dgm:pt>
    <dgm:pt modelId="{FAC439C1-9323-450A-9EDE-8F21B1A6D653}" type="parTrans" cxnId="{A71A1DED-E227-4AE6-AC59-57D920DEEEA7}">
      <dgm:prSet/>
      <dgm:spPr/>
      <dgm:t>
        <a:bodyPr/>
        <a:lstStyle/>
        <a:p>
          <a:endParaRPr lang="en-US" sz="1600">
            <a:solidFill>
              <a:schemeClr val="tx1"/>
            </a:solidFill>
          </a:endParaRPr>
        </a:p>
      </dgm:t>
    </dgm:pt>
    <dgm:pt modelId="{D268CFAA-24B8-41E6-9B4B-32D11761F824}" type="sibTrans" cxnId="{A71A1DED-E227-4AE6-AC59-57D920DEEEA7}">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423B4314-64D5-47BA-93D8-5EB765A8A9CF}">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Deployment</a:t>
          </a:r>
        </a:p>
      </dgm:t>
    </dgm:pt>
    <dgm:pt modelId="{03E31E14-945D-4FCD-AF3A-B013161096FA}" type="parTrans" cxnId="{AAA1457C-76EF-4089-AABE-C5EAA4EA264A}">
      <dgm:prSet/>
      <dgm:spPr/>
      <dgm:t>
        <a:bodyPr/>
        <a:lstStyle/>
        <a:p>
          <a:endParaRPr lang="en-US" sz="1600">
            <a:solidFill>
              <a:schemeClr val="tx1"/>
            </a:solidFill>
          </a:endParaRPr>
        </a:p>
      </dgm:t>
    </dgm:pt>
    <dgm:pt modelId="{AFD8E1C5-2E15-40B4-932E-A05F6EE521F8}" type="sibTrans" cxnId="{AAA1457C-76EF-4089-AABE-C5EAA4EA264A}">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8465242E-62E2-418E-A12A-8334E9E32855}">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QA Testing </a:t>
          </a:r>
        </a:p>
      </dgm:t>
    </dgm:pt>
    <dgm:pt modelId="{467A8AF9-AAFF-40A8-A2E7-F51ECA8EEAD7}" type="parTrans" cxnId="{14814223-7C74-4B05-9F79-37FF6C05469F}">
      <dgm:prSet/>
      <dgm:spPr/>
      <dgm:t>
        <a:bodyPr/>
        <a:lstStyle/>
        <a:p>
          <a:endParaRPr lang="en-US" sz="1600">
            <a:solidFill>
              <a:schemeClr val="tx1"/>
            </a:solidFill>
          </a:endParaRPr>
        </a:p>
      </dgm:t>
    </dgm:pt>
    <dgm:pt modelId="{C510043E-4DC7-4704-925B-F2DB8CCFDECB}" type="sibTrans" cxnId="{14814223-7C74-4B05-9F79-37FF6C05469F}">
      <dgm:prSet custT="1">
        <dgm:style>
          <a:lnRef idx="3">
            <a:schemeClr val="lt1"/>
          </a:lnRef>
          <a:fillRef idx="1">
            <a:schemeClr val="accent5"/>
          </a:fillRef>
          <a:effectRef idx="1">
            <a:schemeClr val="accent5"/>
          </a:effectRef>
          <a:fontRef idx="minor">
            <a:schemeClr val="lt1"/>
          </a:fontRef>
        </dgm:style>
      </dgm:prSet>
      <dgm:spPr/>
      <dgm:t>
        <a:bodyPr/>
        <a:lstStyle/>
        <a:p>
          <a:endParaRPr lang="en-US" sz="1600">
            <a:solidFill>
              <a:schemeClr val="tx1"/>
            </a:solidFill>
          </a:endParaRPr>
        </a:p>
      </dgm:t>
    </dgm:pt>
    <dgm:pt modelId="{56C6F839-FAC2-4ECE-9390-407E20AA8582}">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Release</a:t>
          </a:r>
        </a:p>
      </dgm:t>
    </dgm:pt>
    <dgm:pt modelId="{F3B00094-C55B-47C2-92E0-21706823F177}" type="parTrans" cxnId="{CBA34B42-7B10-4E9E-9531-A650F724ADE7}">
      <dgm:prSet/>
      <dgm:spPr/>
      <dgm:t>
        <a:bodyPr/>
        <a:lstStyle/>
        <a:p>
          <a:endParaRPr lang="en-US" sz="1600">
            <a:solidFill>
              <a:schemeClr val="tx1"/>
            </a:solidFill>
          </a:endParaRPr>
        </a:p>
      </dgm:t>
    </dgm:pt>
    <dgm:pt modelId="{CEB1ACB0-5E42-4EC1-ACD8-723EED2B0328}" type="sibTrans" cxnId="{CBA34B42-7B10-4E9E-9531-A650F724ADE7}">
      <dgm:prSet/>
      <dgm:spPr/>
      <dgm:t>
        <a:bodyPr/>
        <a:lstStyle/>
        <a:p>
          <a:endParaRPr lang="en-US" sz="1600">
            <a:solidFill>
              <a:schemeClr val="tx1"/>
            </a:solidFill>
          </a:endParaRPr>
        </a:p>
      </dgm:t>
    </dgm:pt>
    <dgm:pt modelId="{B34182CC-E935-45A9-933D-716196577CC8}">
      <dgm:prSet phldrT="[Text]" custT="1">
        <dgm:style>
          <a:lnRef idx="3">
            <a:schemeClr val="lt1"/>
          </a:lnRef>
          <a:fillRef idx="1">
            <a:schemeClr val="accent6"/>
          </a:fillRef>
          <a:effectRef idx="1">
            <a:schemeClr val="accent6"/>
          </a:effectRef>
          <a:fontRef idx="minor">
            <a:schemeClr val="lt1"/>
          </a:fontRef>
        </dgm:style>
      </dgm:prSet>
      <dgm:spPr/>
      <dgm:t>
        <a:bodyPr/>
        <a:lstStyle/>
        <a:p>
          <a:r>
            <a:rPr lang="en-US" sz="1000" dirty="0" smtClean="0">
              <a:solidFill>
                <a:schemeClr val="tx1">
                  <a:lumMod val="50000"/>
                </a:schemeClr>
              </a:solidFill>
            </a:rPr>
            <a:t>Packaging</a:t>
          </a:r>
        </a:p>
      </dgm:t>
    </dgm:pt>
    <dgm:pt modelId="{333EA2AC-3EE4-4C23-AE22-15C51C3B0CC1}" type="parTrans" cxnId="{4BEC2D55-F79C-4D8C-9C53-B578EFDA9774}">
      <dgm:prSet/>
      <dgm:spPr/>
      <dgm:t>
        <a:bodyPr/>
        <a:lstStyle/>
        <a:p>
          <a:endParaRPr lang="en-US">
            <a:solidFill>
              <a:schemeClr val="tx1"/>
            </a:solidFill>
          </a:endParaRPr>
        </a:p>
      </dgm:t>
    </dgm:pt>
    <dgm:pt modelId="{D95AE0DC-BBA8-4485-B717-538B34AEFDAD}" type="sibTrans" cxnId="{4BEC2D55-F79C-4D8C-9C53-B578EFDA9774}">
      <dgm:prSet>
        <dgm:style>
          <a:lnRef idx="3">
            <a:schemeClr val="lt1"/>
          </a:lnRef>
          <a:fillRef idx="1">
            <a:schemeClr val="accent5"/>
          </a:fillRef>
          <a:effectRef idx="1">
            <a:schemeClr val="accent5"/>
          </a:effectRef>
          <a:fontRef idx="minor">
            <a:schemeClr val="lt1"/>
          </a:fontRef>
        </dgm:style>
      </dgm:prSet>
      <dgm:spPr>
        <a:ln/>
      </dgm:spPr>
      <dgm:t>
        <a:bodyPr/>
        <a:lstStyle/>
        <a:p>
          <a:endParaRPr lang="en-US" dirty="0">
            <a:solidFill>
              <a:schemeClr val="tx1"/>
            </a:solidFill>
          </a:endParaRPr>
        </a:p>
      </dgm:t>
    </dgm:pt>
    <dgm:pt modelId="{C896FC28-B0AE-427E-913D-CE24DE7500DB}" type="pres">
      <dgm:prSet presAssocID="{ABBC8978-E8BF-41D8-8779-D8A660332FBB}" presName="diagram" presStyleCnt="0">
        <dgm:presLayoutVars>
          <dgm:dir/>
          <dgm:resizeHandles val="exact"/>
        </dgm:presLayoutVars>
      </dgm:prSet>
      <dgm:spPr/>
      <dgm:t>
        <a:bodyPr/>
        <a:lstStyle/>
        <a:p>
          <a:endParaRPr lang="en-US"/>
        </a:p>
      </dgm:t>
    </dgm:pt>
    <dgm:pt modelId="{88B01443-4336-42F7-8C6B-DFDDF8835326}" type="pres">
      <dgm:prSet presAssocID="{A66EFAC8-0D8C-4CAE-8551-B9CE3CF668B8}" presName="node" presStyleLbl="node1" presStyleIdx="0" presStyleCnt="9" custScaleX="27842" custScaleY="14967" custLinFactNeighborX="-29968" custLinFactNeighborY="33193">
        <dgm:presLayoutVars>
          <dgm:bulletEnabled val="1"/>
        </dgm:presLayoutVars>
      </dgm:prSet>
      <dgm:spPr/>
      <dgm:t>
        <a:bodyPr/>
        <a:lstStyle/>
        <a:p>
          <a:endParaRPr lang="en-US"/>
        </a:p>
      </dgm:t>
    </dgm:pt>
    <dgm:pt modelId="{5547DDF0-2341-44E8-B909-599AD9A38258}" type="pres">
      <dgm:prSet presAssocID="{9D833268-0AB4-473D-83AB-EE20C918AC95}" presName="sibTrans" presStyleLbl="sibTrans2D1" presStyleIdx="0" presStyleCnt="8" custScaleY="31156"/>
      <dgm:spPr/>
      <dgm:t>
        <a:bodyPr/>
        <a:lstStyle/>
        <a:p>
          <a:endParaRPr lang="en-US"/>
        </a:p>
      </dgm:t>
    </dgm:pt>
    <dgm:pt modelId="{B1B2B2FA-F8EF-4EF3-90AC-9D5B53F4B8BD}" type="pres">
      <dgm:prSet presAssocID="{9D833268-0AB4-473D-83AB-EE20C918AC95}" presName="connectorText" presStyleLbl="sibTrans2D1" presStyleIdx="0" presStyleCnt="8"/>
      <dgm:spPr/>
      <dgm:t>
        <a:bodyPr/>
        <a:lstStyle/>
        <a:p>
          <a:endParaRPr lang="en-US"/>
        </a:p>
      </dgm:t>
    </dgm:pt>
    <dgm:pt modelId="{234CB822-5963-4284-953F-D197BC136D05}" type="pres">
      <dgm:prSet presAssocID="{FFE5733F-0F36-4537-9CF5-8F07072B165E}" presName="node" presStyleLbl="node1" presStyleIdx="1" presStyleCnt="9" custScaleX="34586" custScaleY="16786" custLinFactNeighborX="-8663" custLinFactNeighborY="34678">
        <dgm:presLayoutVars>
          <dgm:bulletEnabled val="1"/>
        </dgm:presLayoutVars>
      </dgm:prSet>
      <dgm:spPr/>
      <dgm:t>
        <a:bodyPr/>
        <a:lstStyle/>
        <a:p>
          <a:endParaRPr lang="en-US"/>
        </a:p>
      </dgm:t>
    </dgm:pt>
    <dgm:pt modelId="{FD3C48C4-668B-4C1A-B8DA-C84BB00FD71A}" type="pres">
      <dgm:prSet presAssocID="{B8E74F81-7BE3-4C3E-8C25-9815F0B569E2}" presName="sibTrans" presStyleLbl="sibTrans2D1" presStyleIdx="1" presStyleCnt="8" custScaleY="34926"/>
      <dgm:spPr/>
      <dgm:t>
        <a:bodyPr/>
        <a:lstStyle/>
        <a:p>
          <a:endParaRPr lang="en-US"/>
        </a:p>
      </dgm:t>
    </dgm:pt>
    <dgm:pt modelId="{C8C8BEC7-95A7-45A1-AEFE-5F48C771A339}" type="pres">
      <dgm:prSet presAssocID="{B8E74F81-7BE3-4C3E-8C25-9815F0B569E2}" presName="connectorText" presStyleLbl="sibTrans2D1" presStyleIdx="1" presStyleCnt="8"/>
      <dgm:spPr/>
      <dgm:t>
        <a:bodyPr/>
        <a:lstStyle/>
        <a:p>
          <a:endParaRPr lang="en-US"/>
        </a:p>
      </dgm:t>
    </dgm:pt>
    <dgm:pt modelId="{0FA49742-9D1F-4EDD-AF58-7EAC20D56457}" type="pres">
      <dgm:prSet presAssocID="{CF9D2C6E-0C08-44D3-9B7D-A2657EA23932}" presName="node" presStyleLbl="node1" presStyleIdx="2" presStyleCnt="9" custScaleX="26188" custScaleY="16918" custLinFactNeighborX="-9828" custLinFactNeighborY="35064">
        <dgm:presLayoutVars>
          <dgm:bulletEnabled val="1"/>
        </dgm:presLayoutVars>
      </dgm:prSet>
      <dgm:spPr/>
      <dgm:t>
        <a:bodyPr/>
        <a:lstStyle/>
        <a:p>
          <a:endParaRPr lang="en-US"/>
        </a:p>
      </dgm:t>
    </dgm:pt>
    <dgm:pt modelId="{88ACB480-0A4F-4659-927C-83A8E1B95987}" type="pres">
      <dgm:prSet presAssocID="{FF61B858-8111-4D85-850A-B5AC6BC0CF86}" presName="sibTrans" presStyleLbl="sibTrans2D1" presStyleIdx="2" presStyleCnt="8" custScaleY="30618"/>
      <dgm:spPr/>
      <dgm:t>
        <a:bodyPr/>
        <a:lstStyle/>
        <a:p>
          <a:endParaRPr lang="en-US"/>
        </a:p>
      </dgm:t>
    </dgm:pt>
    <dgm:pt modelId="{39743218-1719-4169-BADA-C7E2CAFAA3F4}" type="pres">
      <dgm:prSet presAssocID="{FF61B858-8111-4D85-850A-B5AC6BC0CF86}" presName="connectorText" presStyleLbl="sibTrans2D1" presStyleIdx="2" presStyleCnt="8"/>
      <dgm:spPr/>
      <dgm:t>
        <a:bodyPr/>
        <a:lstStyle/>
        <a:p>
          <a:endParaRPr lang="en-US"/>
        </a:p>
      </dgm:t>
    </dgm:pt>
    <dgm:pt modelId="{F8B9390E-069E-4704-831C-E70BEB8A89D4}" type="pres">
      <dgm:prSet presAssocID="{051CB8D9-F4C8-47A6-9DC1-667443AE9E13}" presName="node" presStyleLbl="node1" presStyleIdx="3" presStyleCnt="9" custScaleX="34012" custScaleY="14878" custLinFactNeighborX="4263" custLinFactNeighborY="35579">
        <dgm:presLayoutVars>
          <dgm:bulletEnabled val="1"/>
        </dgm:presLayoutVars>
      </dgm:prSet>
      <dgm:spPr/>
      <dgm:t>
        <a:bodyPr/>
        <a:lstStyle/>
        <a:p>
          <a:endParaRPr lang="en-US"/>
        </a:p>
      </dgm:t>
    </dgm:pt>
    <dgm:pt modelId="{A2CEBB0F-A3AC-4A4D-BE84-01708D590085}" type="pres">
      <dgm:prSet presAssocID="{E613EF59-C3BB-4C08-B82E-1869A50E40AE}" presName="sibTrans" presStyleLbl="sibTrans2D1" presStyleIdx="3" presStyleCnt="8" custAng="77419" custScaleX="53533" custScaleY="27842" custLinFactNeighborX="28473" custLinFactNeighborY="14081"/>
      <dgm:spPr/>
      <dgm:t>
        <a:bodyPr/>
        <a:lstStyle/>
        <a:p>
          <a:endParaRPr lang="en-US"/>
        </a:p>
      </dgm:t>
    </dgm:pt>
    <dgm:pt modelId="{9C2D3834-A989-4DAA-ACE0-1BFA53B18CF5}" type="pres">
      <dgm:prSet presAssocID="{E613EF59-C3BB-4C08-B82E-1869A50E40AE}" presName="connectorText" presStyleLbl="sibTrans2D1" presStyleIdx="3" presStyleCnt="8"/>
      <dgm:spPr/>
      <dgm:t>
        <a:bodyPr/>
        <a:lstStyle/>
        <a:p>
          <a:endParaRPr lang="en-US"/>
        </a:p>
      </dgm:t>
    </dgm:pt>
    <dgm:pt modelId="{54E93AE6-435F-4C31-8B95-D31A688EF26F}" type="pres">
      <dgm:prSet presAssocID="{A576FCAA-5446-4F19-A1DA-791094E29F98}" presName="node" presStyleLbl="node1" presStyleIdx="4" presStyleCnt="9" custScaleX="32104" custScaleY="18199" custLinFactNeighborX="6486" custLinFactNeighborY="56343">
        <dgm:presLayoutVars>
          <dgm:bulletEnabled val="1"/>
        </dgm:presLayoutVars>
      </dgm:prSet>
      <dgm:spPr/>
      <dgm:t>
        <a:bodyPr/>
        <a:lstStyle/>
        <a:p>
          <a:endParaRPr lang="en-US"/>
        </a:p>
      </dgm:t>
    </dgm:pt>
    <dgm:pt modelId="{DBDEE197-C7AF-4F19-A792-17296AEFE828}" type="pres">
      <dgm:prSet presAssocID="{D268CFAA-24B8-41E6-9B4B-32D11761F824}" presName="sibTrans" presStyleLbl="sibTrans2D1" presStyleIdx="4" presStyleCnt="8" custScaleX="132229" custScaleY="31810"/>
      <dgm:spPr/>
      <dgm:t>
        <a:bodyPr/>
        <a:lstStyle/>
        <a:p>
          <a:endParaRPr lang="en-US"/>
        </a:p>
      </dgm:t>
    </dgm:pt>
    <dgm:pt modelId="{23F9487E-9026-41E4-ACAE-75B254558C4F}" type="pres">
      <dgm:prSet presAssocID="{D268CFAA-24B8-41E6-9B4B-32D11761F824}" presName="connectorText" presStyleLbl="sibTrans2D1" presStyleIdx="4" presStyleCnt="8"/>
      <dgm:spPr/>
      <dgm:t>
        <a:bodyPr/>
        <a:lstStyle/>
        <a:p>
          <a:endParaRPr lang="en-US"/>
        </a:p>
      </dgm:t>
    </dgm:pt>
    <dgm:pt modelId="{5125F8CA-6B50-4F4D-802B-A1CD97D4F06C}" type="pres">
      <dgm:prSet presAssocID="{B34182CC-E935-45A9-933D-716196577CC8}" presName="node" presStyleLbl="node1" presStyleIdx="5" presStyleCnt="9" custScaleX="38226" custScaleY="17843" custLinFactNeighborX="20494" custLinFactNeighborY="58243">
        <dgm:presLayoutVars>
          <dgm:bulletEnabled val="1"/>
        </dgm:presLayoutVars>
      </dgm:prSet>
      <dgm:spPr/>
      <dgm:t>
        <a:bodyPr/>
        <a:lstStyle/>
        <a:p>
          <a:endParaRPr lang="en-US"/>
        </a:p>
      </dgm:t>
    </dgm:pt>
    <dgm:pt modelId="{947FD77F-D02E-409A-A799-6984F43C2EC2}" type="pres">
      <dgm:prSet presAssocID="{D95AE0DC-BBA8-4485-B717-538B34AEFDAD}" presName="sibTrans" presStyleLbl="sibTrans2D1" presStyleIdx="5" presStyleCnt="8" custFlipVert="1" custScaleX="132382" custScaleY="29230"/>
      <dgm:spPr/>
      <dgm:t>
        <a:bodyPr/>
        <a:lstStyle/>
        <a:p>
          <a:endParaRPr lang="en-US"/>
        </a:p>
      </dgm:t>
    </dgm:pt>
    <dgm:pt modelId="{686AED1D-599E-4A40-85E2-350153F76086}" type="pres">
      <dgm:prSet presAssocID="{D95AE0DC-BBA8-4485-B717-538B34AEFDAD}" presName="connectorText" presStyleLbl="sibTrans2D1" presStyleIdx="5" presStyleCnt="8"/>
      <dgm:spPr/>
      <dgm:t>
        <a:bodyPr/>
        <a:lstStyle/>
        <a:p>
          <a:endParaRPr lang="en-US"/>
        </a:p>
      </dgm:t>
    </dgm:pt>
    <dgm:pt modelId="{6B047922-162F-4B6E-A9DA-FA4C2E92B232}" type="pres">
      <dgm:prSet presAssocID="{423B4314-64D5-47BA-93D8-5EB765A8A9CF}" presName="node" presStyleLbl="node1" presStyleIdx="6" presStyleCnt="9" custScaleX="33643" custScaleY="18683" custLinFactNeighborX="39278" custLinFactNeighborY="56692">
        <dgm:presLayoutVars>
          <dgm:bulletEnabled val="1"/>
        </dgm:presLayoutVars>
      </dgm:prSet>
      <dgm:spPr/>
      <dgm:t>
        <a:bodyPr/>
        <a:lstStyle/>
        <a:p>
          <a:endParaRPr lang="en-US"/>
        </a:p>
      </dgm:t>
    </dgm:pt>
    <dgm:pt modelId="{16DE901F-1592-4E42-B78A-D358DA3DA820}" type="pres">
      <dgm:prSet presAssocID="{AFD8E1C5-2E15-40B4-932E-A05F6EE521F8}" presName="sibTrans" presStyleLbl="sibTrans2D1" presStyleIdx="6" presStyleCnt="8" custScaleY="35788"/>
      <dgm:spPr/>
      <dgm:t>
        <a:bodyPr/>
        <a:lstStyle/>
        <a:p>
          <a:endParaRPr lang="en-US"/>
        </a:p>
      </dgm:t>
    </dgm:pt>
    <dgm:pt modelId="{AB099BA9-2880-4AFB-9212-D8B8B0F9A8C5}" type="pres">
      <dgm:prSet presAssocID="{AFD8E1C5-2E15-40B4-932E-A05F6EE521F8}" presName="connectorText" presStyleLbl="sibTrans2D1" presStyleIdx="6" presStyleCnt="8"/>
      <dgm:spPr/>
      <dgm:t>
        <a:bodyPr/>
        <a:lstStyle/>
        <a:p>
          <a:endParaRPr lang="en-US"/>
        </a:p>
      </dgm:t>
    </dgm:pt>
    <dgm:pt modelId="{1C88D81E-920E-46DA-BD72-326FA7CD9A04}" type="pres">
      <dgm:prSet presAssocID="{8465242E-62E2-418E-A12A-8334E9E32855}" presName="node" presStyleLbl="node1" presStyleIdx="7" presStyleCnt="9" custScaleX="36730" custScaleY="16112" custLinFactNeighborX="49897" custLinFactNeighborY="55516">
        <dgm:presLayoutVars>
          <dgm:bulletEnabled val="1"/>
        </dgm:presLayoutVars>
      </dgm:prSet>
      <dgm:spPr/>
      <dgm:t>
        <a:bodyPr/>
        <a:lstStyle/>
        <a:p>
          <a:endParaRPr lang="en-US"/>
        </a:p>
      </dgm:t>
    </dgm:pt>
    <dgm:pt modelId="{58FE53D6-98F4-407B-8451-857BFFF87C5C}" type="pres">
      <dgm:prSet presAssocID="{C510043E-4DC7-4704-925B-F2DB8CCFDECB}" presName="sibTrans" presStyleLbl="sibTrans2D1" presStyleIdx="7" presStyleCnt="8" custScaleY="35315"/>
      <dgm:spPr/>
      <dgm:t>
        <a:bodyPr/>
        <a:lstStyle/>
        <a:p>
          <a:endParaRPr lang="en-US"/>
        </a:p>
      </dgm:t>
    </dgm:pt>
    <dgm:pt modelId="{F2C5FC1D-FFC8-49DA-B57B-180BBAC80326}" type="pres">
      <dgm:prSet presAssocID="{C510043E-4DC7-4704-925B-F2DB8CCFDECB}" presName="connectorText" presStyleLbl="sibTrans2D1" presStyleIdx="7" presStyleCnt="8"/>
      <dgm:spPr/>
      <dgm:t>
        <a:bodyPr/>
        <a:lstStyle/>
        <a:p>
          <a:endParaRPr lang="en-US"/>
        </a:p>
      </dgm:t>
    </dgm:pt>
    <dgm:pt modelId="{E422F7D2-586C-40CF-8C61-74A7FA642D2F}" type="pres">
      <dgm:prSet presAssocID="{56C6F839-FAC2-4ECE-9390-407E20AA8582}" presName="node" presStyleLbl="node1" presStyleIdx="8" presStyleCnt="9" custScaleX="25031" custScaleY="16460" custLinFactNeighborX="-17384" custLinFactNeighborY="-42695">
        <dgm:presLayoutVars>
          <dgm:bulletEnabled val="1"/>
        </dgm:presLayoutVars>
      </dgm:prSet>
      <dgm:spPr/>
      <dgm:t>
        <a:bodyPr/>
        <a:lstStyle/>
        <a:p>
          <a:endParaRPr lang="en-US"/>
        </a:p>
      </dgm:t>
    </dgm:pt>
  </dgm:ptLst>
  <dgm:cxnLst>
    <dgm:cxn modelId="{4ECB11AE-99ED-41E2-A11A-D056D9E954BB}" type="presOf" srcId="{9D833268-0AB4-473D-83AB-EE20C918AC95}" destId="{5547DDF0-2341-44E8-B909-599AD9A38258}" srcOrd="0" destOrd="0" presId="urn:microsoft.com/office/officeart/2005/8/layout/process5"/>
    <dgm:cxn modelId="{CBA34B42-7B10-4E9E-9531-A650F724ADE7}" srcId="{ABBC8978-E8BF-41D8-8779-D8A660332FBB}" destId="{56C6F839-FAC2-4ECE-9390-407E20AA8582}" srcOrd="8" destOrd="0" parTransId="{F3B00094-C55B-47C2-92E0-21706823F177}" sibTransId="{CEB1ACB0-5E42-4EC1-ACD8-723EED2B0328}"/>
    <dgm:cxn modelId="{200018F4-DAE8-4B6A-9AD7-2ACE462C8169}" srcId="{ABBC8978-E8BF-41D8-8779-D8A660332FBB}" destId="{051CB8D9-F4C8-47A6-9DC1-667443AE9E13}" srcOrd="3" destOrd="0" parTransId="{30BC023D-593F-440E-952E-A262F82C536D}" sibTransId="{E613EF59-C3BB-4C08-B82E-1869A50E40AE}"/>
    <dgm:cxn modelId="{490117B3-7BB8-4E67-B322-6D65091B2B36}" type="presOf" srcId="{D95AE0DC-BBA8-4485-B717-538B34AEFDAD}" destId="{947FD77F-D02E-409A-A799-6984F43C2EC2}" srcOrd="0" destOrd="0" presId="urn:microsoft.com/office/officeart/2005/8/layout/process5"/>
    <dgm:cxn modelId="{AAA1457C-76EF-4089-AABE-C5EAA4EA264A}" srcId="{ABBC8978-E8BF-41D8-8779-D8A660332FBB}" destId="{423B4314-64D5-47BA-93D8-5EB765A8A9CF}" srcOrd="6" destOrd="0" parTransId="{03E31E14-945D-4FCD-AF3A-B013161096FA}" sibTransId="{AFD8E1C5-2E15-40B4-932E-A05F6EE521F8}"/>
    <dgm:cxn modelId="{C5350311-DBC7-46C2-A0C1-4B8F028D7CC0}" type="presOf" srcId="{FF61B858-8111-4D85-850A-B5AC6BC0CF86}" destId="{39743218-1719-4169-BADA-C7E2CAFAA3F4}" srcOrd="1" destOrd="0" presId="urn:microsoft.com/office/officeart/2005/8/layout/process5"/>
    <dgm:cxn modelId="{14814223-7C74-4B05-9F79-37FF6C05469F}" srcId="{ABBC8978-E8BF-41D8-8779-D8A660332FBB}" destId="{8465242E-62E2-418E-A12A-8334E9E32855}" srcOrd="7" destOrd="0" parTransId="{467A8AF9-AAFF-40A8-A2E7-F51ECA8EEAD7}" sibTransId="{C510043E-4DC7-4704-925B-F2DB8CCFDECB}"/>
    <dgm:cxn modelId="{0D799488-42BD-46BF-B8F2-72DF7A9875AE}" type="presOf" srcId="{FF61B858-8111-4D85-850A-B5AC6BC0CF86}" destId="{88ACB480-0A4F-4659-927C-83A8E1B95987}" srcOrd="0" destOrd="0" presId="urn:microsoft.com/office/officeart/2005/8/layout/process5"/>
    <dgm:cxn modelId="{3967DC0C-D170-4ECB-84DB-068E19AADBEB}" srcId="{ABBC8978-E8BF-41D8-8779-D8A660332FBB}" destId="{A66EFAC8-0D8C-4CAE-8551-B9CE3CF668B8}" srcOrd="0" destOrd="0" parTransId="{3D7B44B8-BD5D-4B5D-B349-7516A3780A68}" sibTransId="{9D833268-0AB4-473D-83AB-EE20C918AC95}"/>
    <dgm:cxn modelId="{7EF40E2B-C3F1-4C15-860C-ADAE195FAC19}" type="presOf" srcId="{A66EFAC8-0D8C-4CAE-8551-B9CE3CF668B8}" destId="{88B01443-4336-42F7-8C6B-DFDDF8835326}" srcOrd="0" destOrd="0" presId="urn:microsoft.com/office/officeart/2005/8/layout/process5"/>
    <dgm:cxn modelId="{E47C05C7-3F11-4069-8135-CC23EA4F287E}" type="presOf" srcId="{8465242E-62E2-418E-A12A-8334E9E32855}" destId="{1C88D81E-920E-46DA-BD72-326FA7CD9A04}" srcOrd="0" destOrd="0" presId="urn:microsoft.com/office/officeart/2005/8/layout/process5"/>
    <dgm:cxn modelId="{878660A0-DB20-4CF5-A70C-2DC26D5637FE}" type="presOf" srcId="{051CB8D9-F4C8-47A6-9DC1-667443AE9E13}" destId="{F8B9390E-069E-4704-831C-E70BEB8A89D4}" srcOrd="0" destOrd="0" presId="urn:microsoft.com/office/officeart/2005/8/layout/process5"/>
    <dgm:cxn modelId="{C3341EC3-8A92-42AD-AA47-0AD7F44F0BC7}" type="presOf" srcId="{E613EF59-C3BB-4C08-B82E-1869A50E40AE}" destId="{A2CEBB0F-A3AC-4A4D-BE84-01708D590085}" srcOrd="0" destOrd="0" presId="urn:microsoft.com/office/officeart/2005/8/layout/process5"/>
    <dgm:cxn modelId="{A71A1DED-E227-4AE6-AC59-57D920DEEEA7}" srcId="{ABBC8978-E8BF-41D8-8779-D8A660332FBB}" destId="{A576FCAA-5446-4F19-A1DA-791094E29F98}" srcOrd="4" destOrd="0" parTransId="{FAC439C1-9323-450A-9EDE-8F21B1A6D653}" sibTransId="{D268CFAA-24B8-41E6-9B4B-32D11761F824}"/>
    <dgm:cxn modelId="{7B591D74-E98B-4D73-A6D0-81F8BA7CC478}" srcId="{ABBC8978-E8BF-41D8-8779-D8A660332FBB}" destId="{FFE5733F-0F36-4537-9CF5-8F07072B165E}" srcOrd="1" destOrd="0" parTransId="{5F9AD0BA-46AB-4FCE-8FA7-409C1B6B5236}" sibTransId="{B8E74F81-7BE3-4C3E-8C25-9815F0B569E2}"/>
    <dgm:cxn modelId="{19C1F379-BA07-4F88-90D5-A1A38E3CB163}" type="presOf" srcId="{AFD8E1C5-2E15-40B4-932E-A05F6EE521F8}" destId="{16DE901F-1592-4E42-B78A-D358DA3DA820}" srcOrd="0" destOrd="0" presId="urn:microsoft.com/office/officeart/2005/8/layout/process5"/>
    <dgm:cxn modelId="{6A61492A-14C9-4F6D-99DF-081C094F509B}" type="presOf" srcId="{FFE5733F-0F36-4537-9CF5-8F07072B165E}" destId="{234CB822-5963-4284-953F-D197BC136D05}" srcOrd="0" destOrd="0" presId="urn:microsoft.com/office/officeart/2005/8/layout/process5"/>
    <dgm:cxn modelId="{95FA6C3B-FC61-494D-986A-BAE3733D0765}" type="presOf" srcId="{B8E74F81-7BE3-4C3E-8C25-9815F0B569E2}" destId="{C8C8BEC7-95A7-45A1-AEFE-5F48C771A339}" srcOrd="1" destOrd="0" presId="urn:microsoft.com/office/officeart/2005/8/layout/process5"/>
    <dgm:cxn modelId="{6EE35FFE-3B31-4E95-A0C9-4B0387BC89D1}" type="presOf" srcId="{B34182CC-E935-45A9-933D-716196577CC8}" destId="{5125F8CA-6B50-4F4D-802B-A1CD97D4F06C}" srcOrd="0" destOrd="0" presId="urn:microsoft.com/office/officeart/2005/8/layout/process5"/>
    <dgm:cxn modelId="{93985E0E-8C38-4B11-B455-099A8D3BA401}" type="presOf" srcId="{AFD8E1C5-2E15-40B4-932E-A05F6EE521F8}" destId="{AB099BA9-2880-4AFB-9212-D8B8B0F9A8C5}" srcOrd="1" destOrd="0" presId="urn:microsoft.com/office/officeart/2005/8/layout/process5"/>
    <dgm:cxn modelId="{0BA3AE1C-FE19-4B73-B11A-B27BA73A7AEE}" type="presOf" srcId="{A576FCAA-5446-4F19-A1DA-791094E29F98}" destId="{54E93AE6-435F-4C31-8B95-D31A688EF26F}" srcOrd="0" destOrd="0" presId="urn:microsoft.com/office/officeart/2005/8/layout/process5"/>
    <dgm:cxn modelId="{0D648F9C-2B66-4810-AAEC-9CBFB2147E61}" type="presOf" srcId="{D95AE0DC-BBA8-4485-B717-538B34AEFDAD}" destId="{686AED1D-599E-4A40-85E2-350153F76086}" srcOrd="1" destOrd="0" presId="urn:microsoft.com/office/officeart/2005/8/layout/process5"/>
    <dgm:cxn modelId="{E5EA2E83-8C02-4640-9AE5-71A89A5BC8FA}" type="presOf" srcId="{ABBC8978-E8BF-41D8-8779-D8A660332FBB}" destId="{C896FC28-B0AE-427E-913D-CE24DE7500DB}" srcOrd="0" destOrd="0" presId="urn:microsoft.com/office/officeart/2005/8/layout/process5"/>
    <dgm:cxn modelId="{DB3868F2-D3E6-4887-8965-423B62FAE161}" type="presOf" srcId="{C510043E-4DC7-4704-925B-F2DB8CCFDECB}" destId="{F2C5FC1D-FFC8-49DA-B57B-180BBAC80326}" srcOrd="1" destOrd="0" presId="urn:microsoft.com/office/officeart/2005/8/layout/process5"/>
    <dgm:cxn modelId="{4BEC2D55-F79C-4D8C-9C53-B578EFDA9774}" srcId="{ABBC8978-E8BF-41D8-8779-D8A660332FBB}" destId="{B34182CC-E935-45A9-933D-716196577CC8}" srcOrd="5" destOrd="0" parTransId="{333EA2AC-3EE4-4C23-AE22-15C51C3B0CC1}" sibTransId="{D95AE0DC-BBA8-4485-B717-538B34AEFDAD}"/>
    <dgm:cxn modelId="{6134265D-745C-4560-AE05-E593E7BC7268}" type="presOf" srcId="{B8E74F81-7BE3-4C3E-8C25-9815F0B569E2}" destId="{FD3C48C4-668B-4C1A-B8DA-C84BB00FD71A}" srcOrd="0" destOrd="0" presId="urn:microsoft.com/office/officeart/2005/8/layout/process5"/>
    <dgm:cxn modelId="{2AE60342-E8D5-4D7C-ABC8-376AE24E7CAE}" type="presOf" srcId="{9D833268-0AB4-473D-83AB-EE20C918AC95}" destId="{B1B2B2FA-F8EF-4EF3-90AC-9D5B53F4B8BD}" srcOrd="1" destOrd="0" presId="urn:microsoft.com/office/officeart/2005/8/layout/process5"/>
    <dgm:cxn modelId="{A08973BD-8E36-4401-BCC7-DD15EF0B3E50}" type="presOf" srcId="{D268CFAA-24B8-41E6-9B4B-32D11761F824}" destId="{23F9487E-9026-41E4-ACAE-75B254558C4F}" srcOrd="1" destOrd="0" presId="urn:microsoft.com/office/officeart/2005/8/layout/process5"/>
    <dgm:cxn modelId="{42AF0AF5-A764-496F-B522-B3A4C1E13282}" type="presOf" srcId="{D268CFAA-24B8-41E6-9B4B-32D11761F824}" destId="{DBDEE197-C7AF-4F19-A792-17296AEFE828}" srcOrd="0" destOrd="0" presId="urn:microsoft.com/office/officeart/2005/8/layout/process5"/>
    <dgm:cxn modelId="{E234136C-5585-4053-88CD-243C6C0E2E19}" type="presOf" srcId="{56C6F839-FAC2-4ECE-9390-407E20AA8582}" destId="{E422F7D2-586C-40CF-8C61-74A7FA642D2F}" srcOrd="0" destOrd="0" presId="urn:microsoft.com/office/officeart/2005/8/layout/process5"/>
    <dgm:cxn modelId="{8E6884FB-F349-4251-A54E-9ED50D3D5D3B}" type="presOf" srcId="{CF9D2C6E-0C08-44D3-9B7D-A2657EA23932}" destId="{0FA49742-9D1F-4EDD-AF58-7EAC20D56457}" srcOrd="0" destOrd="0" presId="urn:microsoft.com/office/officeart/2005/8/layout/process5"/>
    <dgm:cxn modelId="{1350D80C-6488-4F01-AC07-0E59090434E8}" type="presOf" srcId="{E613EF59-C3BB-4C08-B82E-1869A50E40AE}" destId="{9C2D3834-A989-4DAA-ACE0-1BFA53B18CF5}" srcOrd="1" destOrd="0" presId="urn:microsoft.com/office/officeart/2005/8/layout/process5"/>
    <dgm:cxn modelId="{F799D9E6-63A1-42BC-AAA7-E876B3BFE65D}" type="presOf" srcId="{423B4314-64D5-47BA-93D8-5EB765A8A9CF}" destId="{6B047922-162F-4B6E-A9DA-FA4C2E92B232}" srcOrd="0" destOrd="0" presId="urn:microsoft.com/office/officeart/2005/8/layout/process5"/>
    <dgm:cxn modelId="{D8E6746A-17CB-41AB-A7C8-5F047A1FB4F3}" type="presOf" srcId="{C510043E-4DC7-4704-925B-F2DB8CCFDECB}" destId="{58FE53D6-98F4-407B-8451-857BFFF87C5C}" srcOrd="0" destOrd="0" presId="urn:microsoft.com/office/officeart/2005/8/layout/process5"/>
    <dgm:cxn modelId="{9240478A-4C3B-43BE-9BA1-5FD1D5458269}" srcId="{ABBC8978-E8BF-41D8-8779-D8A660332FBB}" destId="{CF9D2C6E-0C08-44D3-9B7D-A2657EA23932}" srcOrd="2" destOrd="0" parTransId="{AEB4EFB5-638A-4D0A-AD70-A0A79323FC35}" sibTransId="{FF61B858-8111-4D85-850A-B5AC6BC0CF86}"/>
    <dgm:cxn modelId="{7C131154-40C2-4E7E-B104-96BBB13D0260}" type="presParOf" srcId="{C896FC28-B0AE-427E-913D-CE24DE7500DB}" destId="{88B01443-4336-42F7-8C6B-DFDDF8835326}" srcOrd="0" destOrd="0" presId="urn:microsoft.com/office/officeart/2005/8/layout/process5"/>
    <dgm:cxn modelId="{DD8FE840-4A6F-4F4A-912C-2F894D75BEFA}" type="presParOf" srcId="{C896FC28-B0AE-427E-913D-CE24DE7500DB}" destId="{5547DDF0-2341-44E8-B909-599AD9A38258}" srcOrd="1" destOrd="0" presId="urn:microsoft.com/office/officeart/2005/8/layout/process5"/>
    <dgm:cxn modelId="{58C12863-4289-4DA8-B097-9530057722A9}" type="presParOf" srcId="{5547DDF0-2341-44E8-B909-599AD9A38258}" destId="{B1B2B2FA-F8EF-4EF3-90AC-9D5B53F4B8BD}" srcOrd="0" destOrd="0" presId="urn:microsoft.com/office/officeart/2005/8/layout/process5"/>
    <dgm:cxn modelId="{6D815689-3769-4E4B-A262-7D8C09ED4FB4}" type="presParOf" srcId="{C896FC28-B0AE-427E-913D-CE24DE7500DB}" destId="{234CB822-5963-4284-953F-D197BC136D05}" srcOrd="2" destOrd="0" presId="urn:microsoft.com/office/officeart/2005/8/layout/process5"/>
    <dgm:cxn modelId="{37E197AF-2A0A-4D8D-99EA-1615DAC9B76C}" type="presParOf" srcId="{C896FC28-B0AE-427E-913D-CE24DE7500DB}" destId="{FD3C48C4-668B-4C1A-B8DA-C84BB00FD71A}" srcOrd="3" destOrd="0" presId="urn:microsoft.com/office/officeart/2005/8/layout/process5"/>
    <dgm:cxn modelId="{5FED3919-B280-4DB3-86AB-E3B96AD24AD7}" type="presParOf" srcId="{FD3C48C4-668B-4C1A-B8DA-C84BB00FD71A}" destId="{C8C8BEC7-95A7-45A1-AEFE-5F48C771A339}" srcOrd="0" destOrd="0" presId="urn:microsoft.com/office/officeart/2005/8/layout/process5"/>
    <dgm:cxn modelId="{7C9C24C7-02AE-48FE-86A9-3BA6B4002F11}" type="presParOf" srcId="{C896FC28-B0AE-427E-913D-CE24DE7500DB}" destId="{0FA49742-9D1F-4EDD-AF58-7EAC20D56457}" srcOrd="4" destOrd="0" presId="urn:microsoft.com/office/officeart/2005/8/layout/process5"/>
    <dgm:cxn modelId="{5BEA2042-EF75-46F4-8220-46EA76528902}" type="presParOf" srcId="{C896FC28-B0AE-427E-913D-CE24DE7500DB}" destId="{88ACB480-0A4F-4659-927C-83A8E1B95987}" srcOrd="5" destOrd="0" presId="urn:microsoft.com/office/officeart/2005/8/layout/process5"/>
    <dgm:cxn modelId="{9F65531C-FFF1-46A6-A997-9CB7F16A8CE9}" type="presParOf" srcId="{88ACB480-0A4F-4659-927C-83A8E1B95987}" destId="{39743218-1719-4169-BADA-C7E2CAFAA3F4}" srcOrd="0" destOrd="0" presId="urn:microsoft.com/office/officeart/2005/8/layout/process5"/>
    <dgm:cxn modelId="{ABF1D4A3-7B92-4CAF-BCC0-578C54D7975F}" type="presParOf" srcId="{C896FC28-B0AE-427E-913D-CE24DE7500DB}" destId="{F8B9390E-069E-4704-831C-E70BEB8A89D4}" srcOrd="6" destOrd="0" presId="urn:microsoft.com/office/officeart/2005/8/layout/process5"/>
    <dgm:cxn modelId="{D4C3EE45-AC4E-4C44-AA0C-F65FFD7D0A27}" type="presParOf" srcId="{C896FC28-B0AE-427E-913D-CE24DE7500DB}" destId="{A2CEBB0F-A3AC-4A4D-BE84-01708D590085}" srcOrd="7" destOrd="0" presId="urn:microsoft.com/office/officeart/2005/8/layout/process5"/>
    <dgm:cxn modelId="{F371B739-8DAE-4D5B-9834-607F1C4FDF83}" type="presParOf" srcId="{A2CEBB0F-A3AC-4A4D-BE84-01708D590085}" destId="{9C2D3834-A989-4DAA-ACE0-1BFA53B18CF5}" srcOrd="0" destOrd="0" presId="urn:microsoft.com/office/officeart/2005/8/layout/process5"/>
    <dgm:cxn modelId="{BC46624D-C235-4E18-9AE0-D4329C18175E}" type="presParOf" srcId="{C896FC28-B0AE-427E-913D-CE24DE7500DB}" destId="{54E93AE6-435F-4C31-8B95-D31A688EF26F}" srcOrd="8" destOrd="0" presId="urn:microsoft.com/office/officeart/2005/8/layout/process5"/>
    <dgm:cxn modelId="{653C36A0-C3D1-4BF5-953E-99EF0CC1CDEB}" type="presParOf" srcId="{C896FC28-B0AE-427E-913D-CE24DE7500DB}" destId="{DBDEE197-C7AF-4F19-A792-17296AEFE828}" srcOrd="9" destOrd="0" presId="urn:microsoft.com/office/officeart/2005/8/layout/process5"/>
    <dgm:cxn modelId="{3F27D954-5F88-403C-8934-297C3B1B2611}" type="presParOf" srcId="{DBDEE197-C7AF-4F19-A792-17296AEFE828}" destId="{23F9487E-9026-41E4-ACAE-75B254558C4F}" srcOrd="0" destOrd="0" presId="urn:microsoft.com/office/officeart/2005/8/layout/process5"/>
    <dgm:cxn modelId="{71FBD379-19E7-45E4-9211-B63871E6634E}" type="presParOf" srcId="{C896FC28-B0AE-427E-913D-CE24DE7500DB}" destId="{5125F8CA-6B50-4F4D-802B-A1CD97D4F06C}" srcOrd="10" destOrd="0" presId="urn:microsoft.com/office/officeart/2005/8/layout/process5"/>
    <dgm:cxn modelId="{0F332C49-4C4F-4BFA-B33B-38430228A15B}" type="presParOf" srcId="{C896FC28-B0AE-427E-913D-CE24DE7500DB}" destId="{947FD77F-D02E-409A-A799-6984F43C2EC2}" srcOrd="11" destOrd="0" presId="urn:microsoft.com/office/officeart/2005/8/layout/process5"/>
    <dgm:cxn modelId="{0376A197-203A-4972-ACA8-6A2FEC815EB0}" type="presParOf" srcId="{947FD77F-D02E-409A-A799-6984F43C2EC2}" destId="{686AED1D-599E-4A40-85E2-350153F76086}" srcOrd="0" destOrd="0" presId="urn:microsoft.com/office/officeart/2005/8/layout/process5"/>
    <dgm:cxn modelId="{A6C62432-AF65-4959-8C96-953F126D8F6D}" type="presParOf" srcId="{C896FC28-B0AE-427E-913D-CE24DE7500DB}" destId="{6B047922-162F-4B6E-A9DA-FA4C2E92B232}" srcOrd="12" destOrd="0" presId="urn:microsoft.com/office/officeart/2005/8/layout/process5"/>
    <dgm:cxn modelId="{C81E6A0C-2A64-4F4F-B1CE-DCBFE3CD358C}" type="presParOf" srcId="{C896FC28-B0AE-427E-913D-CE24DE7500DB}" destId="{16DE901F-1592-4E42-B78A-D358DA3DA820}" srcOrd="13" destOrd="0" presId="urn:microsoft.com/office/officeart/2005/8/layout/process5"/>
    <dgm:cxn modelId="{6A765AA5-DA58-40C9-A99D-E54E15573798}" type="presParOf" srcId="{16DE901F-1592-4E42-B78A-D358DA3DA820}" destId="{AB099BA9-2880-4AFB-9212-D8B8B0F9A8C5}" srcOrd="0" destOrd="0" presId="urn:microsoft.com/office/officeart/2005/8/layout/process5"/>
    <dgm:cxn modelId="{20958F17-F699-4195-AB86-41DCF46C0B7A}" type="presParOf" srcId="{C896FC28-B0AE-427E-913D-CE24DE7500DB}" destId="{1C88D81E-920E-46DA-BD72-326FA7CD9A04}" srcOrd="14" destOrd="0" presId="urn:microsoft.com/office/officeart/2005/8/layout/process5"/>
    <dgm:cxn modelId="{F6547431-1393-4334-AD21-BEF7B2E76BAC}" type="presParOf" srcId="{C896FC28-B0AE-427E-913D-CE24DE7500DB}" destId="{58FE53D6-98F4-407B-8451-857BFFF87C5C}" srcOrd="15" destOrd="0" presId="urn:microsoft.com/office/officeart/2005/8/layout/process5"/>
    <dgm:cxn modelId="{72C8E3E7-9A4F-455C-882A-C54A5D51FBB8}" type="presParOf" srcId="{58FE53D6-98F4-407B-8451-857BFFF87C5C}" destId="{F2C5FC1D-FFC8-49DA-B57B-180BBAC80326}" srcOrd="0" destOrd="0" presId="urn:microsoft.com/office/officeart/2005/8/layout/process5"/>
    <dgm:cxn modelId="{823DE42B-53A4-4FAD-9514-189C04E52D1F}" type="presParOf" srcId="{C896FC28-B0AE-427E-913D-CE24DE7500DB}" destId="{E422F7D2-586C-40CF-8C61-74A7FA642D2F}" srcOrd="16" destOrd="0" presId="urn:microsoft.com/office/officeart/2005/8/layout/process5"/>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E1769E-B168-4CD8-BE69-23AD7E310373}">
      <dsp:nvSpPr>
        <dsp:cNvPr id="0" name=""/>
        <dsp:cNvSpPr/>
      </dsp:nvSpPr>
      <dsp:spPr>
        <a:xfrm rot="5400000">
          <a:off x="-147363" y="538963"/>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8032C8F-07F8-49E7-971C-FCC8CFA0A309}">
      <dsp:nvSpPr>
        <dsp:cNvPr id="0" name=""/>
        <dsp:cNvSpPr/>
      </dsp:nvSpPr>
      <dsp:spPr>
        <a:xfrm>
          <a:off x="433" y="119494"/>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lease Management</a:t>
          </a:r>
          <a:endParaRPr lang="en-US" sz="900" kern="1200" dirty="0"/>
        </a:p>
      </dsp:txBody>
      <dsp:txXfrm>
        <a:off x="15847" y="134908"/>
        <a:ext cx="846270" cy="495430"/>
      </dsp:txXfrm>
    </dsp:sp>
    <dsp:sp modelId="{1C87ED88-6481-4D07-9F24-87B0AE319D5F}">
      <dsp:nvSpPr>
        <dsp:cNvPr id="0" name=""/>
        <dsp:cNvSpPr/>
      </dsp:nvSpPr>
      <dsp:spPr>
        <a:xfrm rot="5400000">
          <a:off x="-147363" y="1196787"/>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3A94AF2-A702-4098-BBF8-E78BBA5F1D6D}">
      <dsp:nvSpPr>
        <dsp:cNvPr id="0" name=""/>
        <dsp:cNvSpPr/>
      </dsp:nvSpPr>
      <dsp:spPr>
        <a:xfrm>
          <a:off x="433" y="777318"/>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llaboration/ KM Management</a:t>
          </a:r>
          <a:endParaRPr lang="en-US" sz="900" kern="1200" dirty="0"/>
        </a:p>
      </dsp:txBody>
      <dsp:txXfrm>
        <a:off x="15847" y="792732"/>
        <a:ext cx="846270" cy="495430"/>
      </dsp:txXfrm>
    </dsp:sp>
    <dsp:sp modelId="{57E7BDAE-DCE6-47E5-8E9C-B8C08ABA3F38}">
      <dsp:nvSpPr>
        <dsp:cNvPr id="0" name=""/>
        <dsp:cNvSpPr/>
      </dsp:nvSpPr>
      <dsp:spPr>
        <a:xfrm rot="5400000">
          <a:off x="-147363" y="1854610"/>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7934C21-ADF7-422F-B47B-B5A5A9ACA79D}">
      <dsp:nvSpPr>
        <dsp:cNvPr id="0" name=""/>
        <dsp:cNvSpPr/>
      </dsp:nvSpPr>
      <dsp:spPr>
        <a:xfrm>
          <a:off x="433" y="1435141"/>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quirement Management</a:t>
          </a:r>
          <a:endParaRPr lang="en-US" sz="900" kern="1200" dirty="0"/>
        </a:p>
      </dsp:txBody>
      <dsp:txXfrm>
        <a:off x="15847" y="1450555"/>
        <a:ext cx="846270" cy="495430"/>
      </dsp:txXfrm>
    </dsp:sp>
    <dsp:sp modelId="{D5FA8DAC-FD33-47B2-AF30-E334B817887F}">
      <dsp:nvSpPr>
        <dsp:cNvPr id="0" name=""/>
        <dsp:cNvSpPr/>
      </dsp:nvSpPr>
      <dsp:spPr>
        <a:xfrm rot="5400000">
          <a:off x="-147363" y="2512434"/>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25792AB4-3AFD-4F68-897D-F8B7E034032A}">
      <dsp:nvSpPr>
        <dsp:cNvPr id="0" name=""/>
        <dsp:cNvSpPr/>
      </dsp:nvSpPr>
      <dsp:spPr>
        <a:xfrm>
          <a:off x="433" y="2092965"/>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heckout</a:t>
          </a:r>
          <a:endParaRPr lang="en-US" sz="900" kern="1200" dirty="0"/>
        </a:p>
      </dsp:txBody>
      <dsp:txXfrm>
        <a:off x="15847" y="2108379"/>
        <a:ext cx="846270" cy="495430"/>
      </dsp:txXfrm>
    </dsp:sp>
    <dsp:sp modelId="{F524A3C2-2F47-4EC7-9192-FF87140744A2}">
      <dsp:nvSpPr>
        <dsp:cNvPr id="0" name=""/>
        <dsp:cNvSpPr/>
      </dsp:nvSpPr>
      <dsp:spPr>
        <a:xfrm>
          <a:off x="181548" y="2841346"/>
          <a:ext cx="1160845"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E9A9EE7-92C5-4699-8669-56116A772C24}">
      <dsp:nvSpPr>
        <dsp:cNvPr id="0" name=""/>
        <dsp:cNvSpPr/>
      </dsp:nvSpPr>
      <dsp:spPr>
        <a:xfrm>
          <a:off x="433" y="2750788"/>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struction</a:t>
          </a:r>
          <a:endParaRPr lang="en-US" sz="900" kern="1200" dirty="0"/>
        </a:p>
      </dsp:txBody>
      <dsp:txXfrm>
        <a:off x="15847" y="2766202"/>
        <a:ext cx="846270" cy="495430"/>
      </dsp:txXfrm>
    </dsp:sp>
    <dsp:sp modelId="{49E3A27E-2060-4282-930E-AB4FCEE55EDC}">
      <dsp:nvSpPr>
        <dsp:cNvPr id="0" name=""/>
        <dsp:cNvSpPr/>
      </dsp:nvSpPr>
      <dsp:spPr>
        <a:xfrm rot="16200000">
          <a:off x="1019176" y="2512434"/>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857B1DA-2507-499A-A5D5-C0764C8CAA3E}">
      <dsp:nvSpPr>
        <dsp:cNvPr id="0" name=""/>
        <dsp:cNvSpPr/>
      </dsp:nvSpPr>
      <dsp:spPr>
        <a:xfrm>
          <a:off x="1166973" y="2750788"/>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nit Testing</a:t>
          </a:r>
          <a:endParaRPr lang="en-US" sz="900" kern="1200" dirty="0"/>
        </a:p>
      </dsp:txBody>
      <dsp:txXfrm>
        <a:off x="1182387" y="2766202"/>
        <a:ext cx="846270" cy="495430"/>
      </dsp:txXfrm>
    </dsp:sp>
    <dsp:sp modelId="{B630B3E9-C976-4814-8F94-C0C4A230ADBF}">
      <dsp:nvSpPr>
        <dsp:cNvPr id="0" name=""/>
        <dsp:cNvSpPr/>
      </dsp:nvSpPr>
      <dsp:spPr>
        <a:xfrm rot="16200000">
          <a:off x="1019176" y="1854610"/>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035CB83-BBB4-4446-A112-13AF53CB77D8}">
      <dsp:nvSpPr>
        <dsp:cNvPr id="0" name=""/>
        <dsp:cNvSpPr/>
      </dsp:nvSpPr>
      <dsp:spPr>
        <a:xfrm>
          <a:off x="1166973" y="2092965"/>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Review</a:t>
          </a:r>
          <a:endParaRPr lang="en-US" sz="900" kern="1200" dirty="0"/>
        </a:p>
      </dsp:txBody>
      <dsp:txXfrm>
        <a:off x="1182387" y="2108379"/>
        <a:ext cx="846270" cy="495430"/>
      </dsp:txXfrm>
    </dsp:sp>
    <dsp:sp modelId="{102024F8-46FB-49EA-846C-1146B6011A6D}">
      <dsp:nvSpPr>
        <dsp:cNvPr id="0" name=""/>
        <dsp:cNvSpPr/>
      </dsp:nvSpPr>
      <dsp:spPr>
        <a:xfrm rot="16200000">
          <a:off x="1019176" y="1196787"/>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9FD8211-2BCA-47BB-831A-240575A82F59}">
      <dsp:nvSpPr>
        <dsp:cNvPr id="0" name=""/>
        <dsp:cNvSpPr/>
      </dsp:nvSpPr>
      <dsp:spPr>
        <a:xfrm>
          <a:off x="1166973" y="1435141"/>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flict Management</a:t>
          </a:r>
          <a:endParaRPr lang="en-US" sz="900" kern="1200" dirty="0"/>
        </a:p>
      </dsp:txBody>
      <dsp:txXfrm>
        <a:off x="1182387" y="1450555"/>
        <a:ext cx="846270" cy="495430"/>
      </dsp:txXfrm>
    </dsp:sp>
    <dsp:sp modelId="{26601E23-47AA-4256-A218-A825457954F3}">
      <dsp:nvSpPr>
        <dsp:cNvPr id="0" name=""/>
        <dsp:cNvSpPr/>
      </dsp:nvSpPr>
      <dsp:spPr>
        <a:xfrm rot="16200000">
          <a:off x="1019176" y="538963"/>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5EA1F8C6-C86C-4503-BC0D-7BD03573E398}">
      <dsp:nvSpPr>
        <dsp:cNvPr id="0" name=""/>
        <dsp:cNvSpPr/>
      </dsp:nvSpPr>
      <dsp:spPr>
        <a:xfrm>
          <a:off x="1166973" y="777318"/>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Version Management</a:t>
          </a:r>
          <a:endParaRPr lang="en-US" sz="900" kern="1200" dirty="0"/>
        </a:p>
      </dsp:txBody>
      <dsp:txXfrm>
        <a:off x="1182387" y="792732"/>
        <a:ext cx="846270" cy="495430"/>
      </dsp:txXfrm>
    </dsp:sp>
    <dsp:sp modelId="{3C2DD09D-26A9-46AC-84EB-C215991B44BB}">
      <dsp:nvSpPr>
        <dsp:cNvPr id="0" name=""/>
        <dsp:cNvSpPr/>
      </dsp:nvSpPr>
      <dsp:spPr>
        <a:xfrm>
          <a:off x="1348088" y="210051"/>
          <a:ext cx="1160845"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50BFC0-B4D6-4BC3-B5E4-CF59BDFABE2A}">
      <dsp:nvSpPr>
        <dsp:cNvPr id="0" name=""/>
        <dsp:cNvSpPr/>
      </dsp:nvSpPr>
      <dsp:spPr>
        <a:xfrm>
          <a:off x="1166973" y="119494"/>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Build</a:t>
          </a:r>
          <a:endParaRPr lang="en-US" sz="900" kern="1200" dirty="0"/>
        </a:p>
      </dsp:txBody>
      <dsp:txXfrm>
        <a:off x="1182387" y="134908"/>
        <a:ext cx="846270" cy="495430"/>
      </dsp:txXfrm>
    </dsp:sp>
    <dsp:sp modelId="{EE1B6901-BA8E-4105-96F4-42FA568E72BE}">
      <dsp:nvSpPr>
        <dsp:cNvPr id="0" name=""/>
        <dsp:cNvSpPr/>
      </dsp:nvSpPr>
      <dsp:spPr>
        <a:xfrm rot="5400000">
          <a:off x="2185717" y="538963"/>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68F451B-07D1-4CC8-8C09-0A6CFF49BCE8}">
      <dsp:nvSpPr>
        <dsp:cNvPr id="0" name=""/>
        <dsp:cNvSpPr/>
      </dsp:nvSpPr>
      <dsp:spPr>
        <a:xfrm>
          <a:off x="2333513" y="119494"/>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tatic/Dynamic Code Analysis</a:t>
          </a:r>
          <a:endParaRPr lang="en-US" sz="900" kern="1200" dirty="0"/>
        </a:p>
      </dsp:txBody>
      <dsp:txXfrm>
        <a:off x="2348927" y="134908"/>
        <a:ext cx="846270" cy="495430"/>
      </dsp:txXfrm>
    </dsp:sp>
    <dsp:sp modelId="{6C96EEF3-BDD2-46B0-9775-DB0AD7122BCA}">
      <dsp:nvSpPr>
        <dsp:cNvPr id="0" name=""/>
        <dsp:cNvSpPr/>
      </dsp:nvSpPr>
      <dsp:spPr>
        <a:xfrm rot="5400000">
          <a:off x="2185717" y="1196787"/>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96307D-B72E-46CA-99C3-DF4964887F61}">
      <dsp:nvSpPr>
        <dsp:cNvPr id="0" name=""/>
        <dsp:cNvSpPr/>
      </dsp:nvSpPr>
      <dsp:spPr>
        <a:xfrm>
          <a:off x="2333513" y="777318"/>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Tag Release</a:t>
          </a:r>
          <a:endParaRPr lang="en-US" sz="900" kern="1200" dirty="0"/>
        </a:p>
      </dsp:txBody>
      <dsp:txXfrm>
        <a:off x="2348927" y="792732"/>
        <a:ext cx="846270" cy="495430"/>
      </dsp:txXfrm>
    </dsp:sp>
    <dsp:sp modelId="{F6FC2ECE-CFEF-4937-9FA9-7386B67A1865}">
      <dsp:nvSpPr>
        <dsp:cNvPr id="0" name=""/>
        <dsp:cNvSpPr/>
      </dsp:nvSpPr>
      <dsp:spPr>
        <a:xfrm rot="5400000">
          <a:off x="2185717" y="1854610"/>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B428A3B2-862D-4B94-BDCF-12B1A0C11E4D}">
      <dsp:nvSpPr>
        <dsp:cNvPr id="0" name=""/>
        <dsp:cNvSpPr/>
      </dsp:nvSpPr>
      <dsp:spPr>
        <a:xfrm>
          <a:off x="2333513" y="1435141"/>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ackage and Artifact </a:t>
          </a:r>
          <a:r>
            <a:rPr lang="en-US" sz="900" kern="1200" dirty="0" err="1" smtClean="0"/>
            <a:t>Mngt</a:t>
          </a:r>
          <a:r>
            <a:rPr lang="en-US" sz="900" kern="1200" dirty="0" smtClean="0"/>
            <a:t>.</a:t>
          </a:r>
          <a:endParaRPr lang="en-US" sz="900" kern="1200" dirty="0"/>
        </a:p>
      </dsp:txBody>
      <dsp:txXfrm>
        <a:off x="2348927" y="1450555"/>
        <a:ext cx="846270" cy="495430"/>
      </dsp:txXfrm>
    </dsp:sp>
    <dsp:sp modelId="{336F546F-1FDC-4E18-95BF-FE0101C6AA07}">
      <dsp:nvSpPr>
        <dsp:cNvPr id="0" name=""/>
        <dsp:cNvSpPr/>
      </dsp:nvSpPr>
      <dsp:spPr>
        <a:xfrm rot="5400000">
          <a:off x="2185717" y="2512434"/>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46D306B-4D14-46FF-9643-9239C46D8CAC}">
      <dsp:nvSpPr>
        <dsp:cNvPr id="0" name=""/>
        <dsp:cNvSpPr/>
      </dsp:nvSpPr>
      <dsp:spPr>
        <a:xfrm>
          <a:off x="2333513" y="2092965"/>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QA/SIT/UAT</a:t>
          </a:r>
          <a:endParaRPr lang="en-US" sz="900" kern="1200" dirty="0"/>
        </a:p>
      </dsp:txBody>
      <dsp:txXfrm>
        <a:off x="2348927" y="2108379"/>
        <a:ext cx="846270" cy="495430"/>
      </dsp:txXfrm>
    </dsp:sp>
    <dsp:sp modelId="{71178B63-9DA7-4EB2-B893-CB8B1DDC5504}">
      <dsp:nvSpPr>
        <dsp:cNvPr id="0" name=""/>
        <dsp:cNvSpPr/>
      </dsp:nvSpPr>
      <dsp:spPr>
        <a:xfrm>
          <a:off x="2514628" y="2841346"/>
          <a:ext cx="1160845"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865CC9CB-4D1A-4BBD-89CB-C6A0A3D909BD}">
      <dsp:nvSpPr>
        <dsp:cNvPr id="0" name=""/>
        <dsp:cNvSpPr/>
      </dsp:nvSpPr>
      <dsp:spPr>
        <a:xfrm>
          <a:off x="2333513" y="2750788"/>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solidFill>
            </a:rPr>
            <a:t>Functional Testing</a:t>
          </a:r>
          <a:endParaRPr lang="en-US" sz="900" kern="1200" dirty="0">
            <a:solidFill>
              <a:schemeClr val="bg1"/>
            </a:solidFill>
          </a:endParaRPr>
        </a:p>
      </dsp:txBody>
      <dsp:txXfrm>
        <a:off x="2348927" y="2766202"/>
        <a:ext cx="846270" cy="495430"/>
      </dsp:txXfrm>
    </dsp:sp>
    <dsp:sp modelId="{9B25D534-E41D-4E66-9ABC-EB6CCB037EBF}">
      <dsp:nvSpPr>
        <dsp:cNvPr id="0" name=""/>
        <dsp:cNvSpPr/>
      </dsp:nvSpPr>
      <dsp:spPr>
        <a:xfrm rot="16200000">
          <a:off x="3352257" y="2512434"/>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032526AA-CA4F-47A6-8833-CC4E299DB417}">
      <dsp:nvSpPr>
        <dsp:cNvPr id="0" name=""/>
        <dsp:cNvSpPr/>
      </dsp:nvSpPr>
      <dsp:spPr>
        <a:xfrm>
          <a:off x="3500054" y="2750788"/>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Integration Testing</a:t>
          </a:r>
          <a:endParaRPr lang="en-US" sz="900" kern="1200" dirty="0"/>
        </a:p>
      </dsp:txBody>
      <dsp:txXfrm>
        <a:off x="3515468" y="2766202"/>
        <a:ext cx="846270" cy="495430"/>
      </dsp:txXfrm>
    </dsp:sp>
    <dsp:sp modelId="{89D00D1F-943B-48DA-A8FD-AC043957EA6D}">
      <dsp:nvSpPr>
        <dsp:cNvPr id="0" name=""/>
        <dsp:cNvSpPr/>
      </dsp:nvSpPr>
      <dsp:spPr>
        <a:xfrm rot="16200000">
          <a:off x="3352257" y="1854610"/>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85740BD-7D7E-4766-A8DC-1A35B1C1FEC9}">
      <dsp:nvSpPr>
        <dsp:cNvPr id="0" name=""/>
        <dsp:cNvSpPr/>
      </dsp:nvSpPr>
      <dsp:spPr>
        <a:xfrm>
          <a:off x="3500054" y="2092965"/>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curity Testing</a:t>
          </a:r>
          <a:endParaRPr lang="en-US" sz="900" kern="1200" dirty="0"/>
        </a:p>
      </dsp:txBody>
      <dsp:txXfrm>
        <a:off x="3515468" y="2108379"/>
        <a:ext cx="846270" cy="495430"/>
      </dsp:txXfrm>
    </dsp:sp>
    <dsp:sp modelId="{A1C00C4B-A7DA-42E9-8FF6-0516DAF3992D}">
      <dsp:nvSpPr>
        <dsp:cNvPr id="0" name=""/>
        <dsp:cNvSpPr/>
      </dsp:nvSpPr>
      <dsp:spPr>
        <a:xfrm rot="16200000">
          <a:off x="3352257" y="1196787"/>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37C0B14A-2A81-4DA6-A4DE-8B0C0FD97FC1}">
      <dsp:nvSpPr>
        <dsp:cNvPr id="0" name=""/>
        <dsp:cNvSpPr/>
      </dsp:nvSpPr>
      <dsp:spPr>
        <a:xfrm>
          <a:off x="3500054" y="1435141"/>
          <a:ext cx="877098" cy="526258"/>
        </a:xfrm>
        <a:prstGeom prst="roundRect">
          <a:avLst>
            <a:gd name="adj" fmla="val 10000"/>
          </a:avLst>
        </a:prstGeom>
        <a:solidFill>
          <a:schemeClr val="accent4"/>
        </a:solidFill>
        <a:ln w="12700" cap="flat" cmpd="sng" algn="ctr">
          <a:solidFill>
            <a:srgbClr val="FFC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erformance Testing</a:t>
          </a:r>
          <a:endParaRPr lang="en-US" sz="900" kern="1200" dirty="0"/>
        </a:p>
      </dsp:txBody>
      <dsp:txXfrm>
        <a:off x="3515468" y="1450555"/>
        <a:ext cx="846270" cy="495430"/>
      </dsp:txXfrm>
    </dsp:sp>
    <dsp:sp modelId="{BB525EF4-11CA-4AF0-9D05-0890477F605B}">
      <dsp:nvSpPr>
        <dsp:cNvPr id="0" name=""/>
        <dsp:cNvSpPr/>
      </dsp:nvSpPr>
      <dsp:spPr>
        <a:xfrm rot="16200000">
          <a:off x="3352257" y="538963"/>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944E00CC-E210-4FBC-BC90-6DD58207E1A0}">
      <dsp:nvSpPr>
        <dsp:cNvPr id="0" name=""/>
        <dsp:cNvSpPr/>
      </dsp:nvSpPr>
      <dsp:spPr>
        <a:xfrm>
          <a:off x="3500054" y="777318"/>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ser Acceptance Testing</a:t>
          </a:r>
          <a:endParaRPr lang="en-US" sz="900" kern="1200" dirty="0"/>
        </a:p>
      </dsp:txBody>
      <dsp:txXfrm>
        <a:off x="3515468" y="792732"/>
        <a:ext cx="846270" cy="495430"/>
      </dsp:txXfrm>
    </dsp:sp>
    <dsp:sp modelId="{8AEDD5ED-C456-404E-A0C1-9FCD061445C8}">
      <dsp:nvSpPr>
        <dsp:cNvPr id="0" name=""/>
        <dsp:cNvSpPr/>
      </dsp:nvSpPr>
      <dsp:spPr>
        <a:xfrm>
          <a:off x="3681169" y="210051"/>
          <a:ext cx="1160845"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B49DBB2-8BF6-48D2-AD6B-E4C56A5DA215}">
      <dsp:nvSpPr>
        <dsp:cNvPr id="0" name=""/>
        <dsp:cNvSpPr/>
      </dsp:nvSpPr>
      <dsp:spPr>
        <a:xfrm>
          <a:off x="3500054" y="119494"/>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rvice Management</a:t>
          </a:r>
          <a:endParaRPr lang="en-US" sz="900" kern="1200" dirty="0"/>
        </a:p>
      </dsp:txBody>
      <dsp:txXfrm>
        <a:off x="3515468" y="134908"/>
        <a:ext cx="846270" cy="495430"/>
      </dsp:txXfrm>
    </dsp:sp>
    <dsp:sp modelId="{FC461A49-6E8A-4765-BDC6-DF366118A9DB}">
      <dsp:nvSpPr>
        <dsp:cNvPr id="0" name=""/>
        <dsp:cNvSpPr/>
      </dsp:nvSpPr>
      <dsp:spPr>
        <a:xfrm rot="5400000">
          <a:off x="4518797" y="538963"/>
          <a:ext cx="652128" cy="78938"/>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C50EEFDE-E4D4-43BF-B3E0-15EBCF9D5439}">
      <dsp:nvSpPr>
        <dsp:cNvPr id="0" name=""/>
        <dsp:cNvSpPr/>
      </dsp:nvSpPr>
      <dsp:spPr>
        <a:xfrm>
          <a:off x="4666594" y="119494"/>
          <a:ext cx="877098" cy="526258"/>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Production</a:t>
          </a:r>
          <a:endParaRPr lang="en-US" sz="900" kern="1200" dirty="0"/>
        </a:p>
      </dsp:txBody>
      <dsp:txXfrm>
        <a:off x="4682008" y="134908"/>
        <a:ext cx="846270" cy="495430"/>
      </dsp:txXfrm>
    </dsp:sp>
    <dsp:sp modelId="{2847F226-AA4E-451E-8FA8-84F2FF69A214}">
      <dsp:nvSpPr>
        <dsp:cNvPr id="0" name=""/>
        <dsp:cNvSpPr/>
      </dsp:nvSpPr>
      <dsp:spPr>
        <a:xfrm>
          <a:off x="4666594" y="777318"/>
          <a:ext cx="877098" cy="526258"/>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Monitoring</a:t>
          </a:r>
          <a:endParaRPr lang="en-US" sz="900" kern="1200" dirty="0"/>
        </a:p>
      </dsp:txBody>
      <dsp:txXfrm>
        <a:off x="4682008" y="792732"/>
        <a:ext cx="846270" cy="4954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E1769E-B168-4CD8-BE69-23AD7E310373}">
      <dsp:nvSpPr>
        <dsp:cNvPr id="0" name=""/>
        <dsp:cNvSpPr/>
      </dsp:nvSpPr>
      <dsp:spPr>
        <a:xfrm rot="5400000">
          <a:off x="-147678"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8032C8F-07F8-49E7-971C-FCC8CFA0A309}">
      <dsp:nvSpPr>
        <dsp:cNvPr id="0" name=""/>
        <dsp:cNvSpPr/>
      </dsp:nvSpPr>
      <dsp:spPr>
        <a:xfrm>
          <a:off x="434" y="119878"/>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lease Management</a:t>
          </a:r>
          <a:endParaRPr lang="en-US" sz="900" kern="1200" dirty="0"/>
        </a:p>
      </dsp:txBody>
      <dsp:txXfrm>
        <a:off x="15879" y="135323"/>
        <a:ext cx="848009" cy="496449"/>
      </dsp:txXfrm>
    </dsp:sp>
    <dsp:sp modelId="{1C87ED88-6481-4D07-9F24-87B0AE319D5F}">
      <dsp:nvSpPr>
        <dsp:cNvPr id="0" name=""/>
        <dsp:cNvSpPr/>
      </dsp:nvSpPr>
      <dsp:spPr>
        <a:xfrm rot="5400000">
          <a:off x="-147678"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3A94AF2-A702-4098-BBF8-E78BBA5F1D6D}">
      <dsp:nvSpPr>
        <dsp:cNvPr id="0" name=""/>
        <dsp:cNvSpPr/>
      </dsp:nvSpPr>
      <dsp:spPr>
        <a:xfrm>
          <a:off x="434"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llaboration/ KM Management</a:t>
          </a:r>
          <a:endParaRPr lang="en-US" sz="900" kern="1200" dirty="0"/>
        </a:p>
      </dsp:txBody>
      <dsp:txXfrm>
        <a:off x="15879" y="794497"/>
        <a:ext cx="848009" cy="496449"/>
      </dsp:txXfrm>
    </dsp:sp>
    <dsp:sp modelId="{57E7BDAE-DCE6-47E5-8E9C-B8C08ABA3F38}">
      <dsp:nvSpPr>
        <dsp:cNvPr id="0" name=""/>
        <dsp:cNvSpPr/>
      </dsp:nvSpPr>
      <dsp:spPr>
        <a:xfrm rot="5400000">
          <a:off x="-147678"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7934C21-ADF7-422F-B47B-B5A5A9ACA79D}">
      <dsp:nvSpPr>
        <dsp:cNvPr id="0" name=""/>
        <dsp:cNvSpPr/>
      </dsp:nvSpPr>
      <dsp:spPr>
        <a:xfrm>
          <a:off x="434" y="143822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quirement Management</a:t>
          </a:r>
          <a:endParaRPr lang="en-US" sz="900" kern="1200" dirty="0"/>
        </a:p>
      </dsp:txBody>
      <dsp:txXfrm>
        <a:off x="15879" y="1453672"/>
        <a:ext cx="848009" cy="496449"/>
      </dsp:txXfrm>
    </dsp:sp>
    <dsp:sp modelId="{D5FA8DAC-FD33-47B2-AF30-E334B817887F}">
      <dsp:nvSpPr>
        <dsp:cNvPr id="0" name=""/>
        <dsp:cNvSpPr/>
      </dsp:nvSpPr>
      <dsp:spPr>
        <a:xfrm rot="5400000">
          <a:off x="-147678"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25792AB4-3AFD-4F68-897D-F8B7E034032A}">
      <dsp:nvSpPr>
        <dsp:cNvPr id="0" name=""/>
        <dsp:cNvSpPr/>
      </dsp:nvSpPr>
      <dsp:spPr>
        <a:xfrm>
          <a:off x="434" y="209740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heckout</a:t>
          </a:r>
          <a:endParaRPr lang="en-US" sz="900" kern="1200" dirty="0"/>
        </a:p>
      </dsp:txBody>
      <dsp:txXfrm>
        <a:off x="15879" y="2112847"/>
        <a:ext cx="848009" cy="496449"/>
      </dsp:txXfrm>
    </dsp:sp>
    <dsp:sp modelId="{F524A3C2-2F47-4EC7-9192-FF87140744A2}">
      <dsp:nvSpPr>
        <dsp:cNvPr id="0" name=""/>
        <dsp:cNvSpPr/>
      </dsp:nvSpPr>
      <dsp:spPr>
        <a:xfrm>
          <a:off x="181909" y="2847314"/>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E9A9EE7-92C5-4699-8669-56116A772C24}">
      <dsp:nvSpPr>
        <dsp:cNvPr id="0" name=""/>
        <dsp:cNvSpPr/>
      </dsp:nvSpPr>
      <dsp:spPr>
        <a:xfrm>
          <a:off x="434" y="275657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struction</a:t>
          </a:r>
          <a:endParaRPr lang="en-US" sz="900" kern="1200" dirty="0"/>
        </a:p>
      </dsp:txBody>
      <dsp:txXfrm>
        <a:off x="15879" y="2772022"/>
        <a:ext cx="848009" cy="496449"/>
      </dsp:txXfrm>
    </dsp:sp>
    <dsp:sp modelId="{49E3A27E-2060-4282-930E-AB4FCEE55EDC}">
      <dsp:nvSpPr>
        <dsp:cNvPr id="0" name=""/>
        <dsp:cNvSpPr/>
      </dsp:nvSpPr>
      <dsp:spPr>
        <a:xfrm rot="16200000">
          <a:off x="1021258"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857B1DA-2507-499A-A5D5-C0764C8CAA3E}">
      <dsp:nvSpPr>
        <dsp:cNvPr id="0" name=""/>
        <dsp:cNvSpPr/>
      </dsp:nvSpPr>
      <dsp:spPr>
        <a:xfrm>
          <a:off x="1169370" y="275657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nit Testing</a:t>
          </a:r>
          <a:endParaRPr lang="en-US" sz="900" kern="1200" dirty="0"/>
        </a:p>
      </dsp:txBody>
      <dsp:txXfrm>
        <a:off x="1184815" y="2772022"/>
        <a:ext cx="848009" cy="496449"/>
      </dsp:txXfrm>
    </dsp:sp>
    <dsp:sp modelId="{B630B3E9-C976-4814-8F94-C0C4A230ADBF}">
      <dsp:nvSpPr>
        <dsp:cNvPr id="0" name=""/>
        <dsp:cNvSpPr/>
      </dsp:nvSpPr>
      <dsp:spPr>
        <a:xfrm rot="16200000">
          <a:off x="1021258"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035CB83-BBB4-4446-A112-13AF53CB77D8}">
      <dsp:nvSpPr>
        <dsp:cNvPr id="0" name=""/>
        <dsp:cNvSpPr/>
      </dsp:nvSpPr>
      <dsp:spPr>
        <a:xfrm>
          <a:off x="1169370" y="209740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Review</a:t>
          </a:r>
          <a:endParaRPr lang="en-US" sz="900" kern="1200" dirty="0"/>
        </a:p>
      </dsp:txBody>
      <dsp:txXfrm>
        <a:off x="1184815" y="2112847"/>
        <a:ext cx="848009" cy="496449"/>
      </dsp:txXfrm>
    </dsp:sp>
    <dsp:sp modelId="{102024F8-46FB-49EA-846C-1146B6011A6D}">
      <dsp:nvSpPr>
        <dsp:cNvPr id="0" name=""/>
        <dsp:cNvSpPr/>
      </dsp:nvSpPr>
      <dsp:spPr>
        <a:xfrm rot="16200000">
          <a:off x="1021258"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9FD8211-2BCA-47BB-831A-240575A82F59}">
      <dsp:nvSpPr>
        <dsp:cNvPr id="0" name=""/>
        <dsp:cNvSpPr/>
      </dsp:nvSpPr>
      <dsp:spPr>
        <a:xfrm>
          <a:off x="1169370" y="143822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flict Management</a:t>
          </a:r>
          <a:endParaRPr lang="en-US" sz="900" kern="1200" dirty="0"/>
        </a:p>
      </dsp:txBody>
      <dsp:txXfrm>
        <a:off x="1184815" y="1453672"/>
        <a:ext cx="848009" cy="496449"/>
      </dsp:txXfrm>
    </dsp:sp>
    <dsp:sp modelId="{26601E23-47AA-4256-A218-A825457954F3}">
      <dsp:nvSpPr>
        <dsp:cNvPr id="0" name=""/>
        <dsp:cNvSpPr/>
      </dsp:nvSpPr>
      <dsp:spPr>
        <a:xfrm rot="16200000">
          <a:off x="1021258"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5EA1F8C6-C86C-4503-BC0D-7BD03573E398}">
      <dsp:nvSpPr>
        <dsp:cNvPr id="0" name=""/>
        <dsp:cNvSpPr/>
      </dsp:nvSpPr>
      <dsp:spPr>
        <a:xfrm>
          <a:off x="1169370"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Version Management</a:t>
          </a:r>
          <a:endParaRPr lang="en-US" sz="900" kern="1200" dirty="0"/>
        </a:p>
      </dsp:txBody>
      <dsp:txXfrm>
        <a:off x="1184815" y="794497"/>
        <a:ext cx="848009" cy="496449"/>
      </dsp:txXfrm>
    </dsp:sp>
    <dsp:sp modelId="{3C2DD09D-26A9-46AC-84EB-C215991B44BB}">
      <dsp:nvSpPr>
        <dsp:cNvPr id="0" name=""/>
        <dsp:cNvSpPr/>
      </dsp:nvSpPr>
      <dsp:spPr>
        <a:xfrm>
          <a:off x="1350845" y="210615"/>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50BFC0-B4D6-4BC3-B5E4-CF59BDFABE2A}">
      <dsp:nvSpPr>
        <dsp:cNvPr id="0" name=""/>
        <dsp:cNvSpPr/>
      </dsp:nvSpPr>
      <dsp:spPr>
        <a:xfrm>
          <a:off x="1169370" y="119878"/>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Build</a:t>
          </a:r>
          <a:endParaRPr lang="en-US" sz="900" kern="1200" dirty="0"/>
        </a:p>
      </dsp:txBody>
      <dsp:txXfrm>
        <a:off x="1184815" y="135323"/>
        <a:ext cx="848009" cy="496449"/>
      </dsp:txXfrm>
    </dsp:sp>
    <dsp:sp modelId="{EE1B6901-BA8E-4105-96F4-42FA568E72BE}">
      <dsp:nvSpPr>
        <dsp:cNvPr id="0" name=""/>
        <dsp:cNvSpPr/>
      </dsp:nvSpPr>
      <dsp:spPr>
        <a:xfrm rot="5400000">
          <a:off x="2190195"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68F451B-07D1-4CC8-8C09-0A6CFF49BCE8}">
      <dsp:nvSpPr>
        <dsp:cNvPr id="0" name=""/>
        <dsp:cNvSpPr/>
      </dsp:nvSpPr>
      <dsp:spPr>
        <a:xfrm>
          <a:off x="2338307" y="119878"/>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tatic/Dynamic Code Analysis</a:t>
          </a:r>
          <a:endParaRPr lang="en-US" sz="900" kern="1200" dirty="0"/>
        </a:p>
      </dsp:txBody>
      <dsp:txXfrm>
        <a:off x="2353752" y="135323"/>
        <a:ext cx="848009" cy="496449"/>
      </dsp:txXfrm>
    </dsp:sp>
    <dsp:sp modelId="{6C96EEF3-BDD2-46B0-9775-DB0AD7122BCA}">
      <dsp:nvSpPr>
        <dsp:cNvPr id="0" name=""/>
        <dsp:cNvSpPr/>
      </dsp:nvSpPr>
      <dsp:spPr>
        <a:xfrm rot="5400000">
          <a:off x="2190195"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96307D-B72E-46CA-99C3-DF4964887F61}">
      <dsp:nvSpPr>
        <dsp:cNvPr id="0" name=""/>
        <dsp:cNvSpPr/>
      </dsp:nvSpPr>
      <dsp:spPr>
        <a:xfrm>
          <a:off x="2338307"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Tag Release</a:t>
          </a:r>
          <a:endParaRPr lang="en-US" sz="900" kern="1200" dirty="0"/>
        </a:p>
      </dsp:txBody>
      <dsp:txXfrm>
        <a:off x="2353752" y="794497"/>
        <a:ext cx="848009" cy="496449"/>
      </dsp:txXfrm>
    </dsp:sp>
    <dsp:sp modelId="{F6FC2ECE-CFEF-4937-9FA9-7386B67A1865}">
      <dsp:nvSpPr>
        <dsp:cNvPr id="0" name=""/>
        <dsp:cNvSpPr/>
      </dsp:nvSpPr>
      <dsp:spPr>
        <a:xfrm rot="5400000">
          <a:off x="2190195"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B428A3B2-862D-4B94-BDCF-12B1A0C11E4D}">
      <dsp:nvSpPr>
        <dsp:cNvPr id="0" name=""/>
        <dsp:cNvSpPr/>
      </dsp:nvSpPr>
      <dsp:spPr>
        <a:xfrm>
          <a:off x="2338307" y="143822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ackage and Artifact </a:t>
          </a:r>
          <a:r>
            <a:rPr lang="en-US" sz="900" kern="1200" dirty="0" err="1" smtClean="0"/>
            <a:t>Mngt</a:t>
          </a:r>
          <a:r>
            <a:rPr lang="en-US" sz="900" kern="1200" dirty="0" smtClean="0"/>
            <a:t>.</a:t>
          </a:r>
          <a:endParaRPr lang="en-US" sz="900" kern="1200" dirty="0"/>
        </a:p>
      </dsp:txBody>
      <dsp:txXfrm>
        <a:off x="2353752" y="1453672"/>
        <a:ext cx="848009" cy="496449"/>
      </dsp:txXfrm>
    </dsp:sp>
    <dsp:sp modelId="{336F546F-1FDC-4E18-95BF-FE0101C6AA07}">
      <dsp:nvSpPr>
        <dsp:cNvPr id="0" name=""/>
        <dsp:cNvSpPr/>
      </dsp:nvSpPr>
      <dsp:spPr>
        <a:xfrm rot="5400000">
          <a:off x="2190195"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46D306B-4D14-46FF-9643-9239C46D8CAC}">
      <dsp:nvSpPr>
        <dsp:cNvPr id="0" name=""/>
        <dsp:cNvSpPr/>
      </dsp:nvSpPr>
      <dsp:spPr>
        <a:xfrm>
          <a:off x="2338307" y="209740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QA/SIT/UAT</a:t>
          </a:r>
          <a:endParaRPr lang="en-US" sz="900" kern="1200" dirty="0"/>
        </a:p>
      </dsp:txBody>
      <dsp:txXfrm>
        <a:off x="2353752" y="2112847"/>
        <a:ext cx="848009" cy="496449"/>
      </dsp:txXfrm>
    </dsp:sp>
    <dsp:sp modelId="{71178B63-9DA7-4EB2-B893-CB8B1DDC5504}">
      <dsp:nvSpPr>
        <dsp:cNvPr id="0" name=""/>
        <dsp:cNvSpPr/>
      </dsp:nvSpPr>
      <dsp:spPr>
        <a:xfrm>
          <a:off x="2519782" y="2847314"/>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865CC9CB-4D1A-4BBD-89CB-C6A0A3D909BD}">
      <dsp:nvSpPr>
        <dsp:cNvPr id="0" name=""/>
        <dsp:cNvSpPr/>
      </dsp:nvSpPr>
      <dsp:spPr>
        <a:xfrm>
          <a:off x="2338307" y="275657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solidFill>
            </a:rPr>
            <a:t>Functional Testing</a:t>
          </a:r>
          <a:endParaRPr lang="en-US" sz="900" kern="1200" dirty="0">
            <a:solidFill>
              <a:schemeClr val="bg1"/>
            </a:solidFill>
          </a:endParaRPr>
        </a:p>
      </dsp:txBody>
      <dsp:txXfrm>
        <a:off x="2353752" y="2772022"/>
        <a:ext cx="848009" cy="496449"/>
      </dsp:txXfrm>
    </dsp:sp>
    <dsp:sp modelId="{9B25D534-E41D-4E66-9ABC-EB6CCB037EBF}">
      <dsp:nvSpPr>
        <dsp:cNvPr id="0" name=""/>
        <dsp:cNvSpPr/>
      </dsp:nvSpPr>
      <dsp:spPr>
        <a:xfrm rot="16200000">
          <a:off x="3359131"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032526AA-CA4F-47A6-8833-CC4E299DB417}">
      <dsp:nvSpPr>
        <dsp:cNvPr id="0" name=""/>
        <dsp:cNvSpPr/>
      </dsp:nvSpPr>
      <dsp:spPr>
        <a:xfrm>
          <a:off x="3507243" y="275657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Integration Testing</a:t>
          </a:r>
          <a:endParaRPr lang="en-US" sz="900" kern="1200" dirty="0"/>
        </a:p>
      </dsp:txBody>
      <dsp:txXfrm>
        <a:off x="3522688" y="2772022"/>
        <a:ext cx="848009" cy="496449"/>
      </dsp:txXfrm>
    </dsp:sp>
    <dsp:sp modelId="{89D00D1F-943B-48DA-A8FD-AC043957EA6D}">
      <dsp:nvSpPr>
        <dsp:cNvPr id="0" name=""/>
        <dsp:cNvSpPr/>
      </dsp:nvSpPr>
      <dsp:spPr>
        <a:xfrm rot="16200000">
          <a:off x="3359131"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85740BD-7D7E-4766-A8DC-1A35B1C1FEC9}">
      <dsp:nvSpPr>
        <dsp:cNvPr id="0" name=""/>
        <dsp:cNvSpPr/>
      </dsp:nvSpPr>
      <dsp:spPr>
        <a:xfrm>
          <a:off x="3507243" y="209740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curity Testing</a:t>
          </a:r>
          <a:endParaRPr lang="en-US" sz="900" kern="1200" dirty="0"/>
        </a:p>
      </dsp:txBody>
      <dsp:txXfrm>
        <a:off x="3522688" y="2112847"/>
        <a:ext cx="848009" cy="496449"/>
      </dsp:txXfrm>
    </dsp:sp>
    <dsp:sp modelId="{A1C00C4B-A7DA-42E9-8FF6-0516DAF3992D}">
      <dsp:nvSpPr>
        <dsp:cNvPr id="0" name=""/>
        <dsp:cNvSpPr/>
      </dsp:nvSpPr>
      <dsp:spPr>
        <a:xfrm rot="16200000">
          <a:off x="3359131"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37C0B14A-2A81-4DA6-A4DE-8B0C0FD97FC1}">
      <dsp:nvSpPr>
        <dsp:cNvPr id="0" name=""/>
        <dsp:cNvSpPr/>
      </dsp:nvSpPr>
      <dsp:spPr>
        <a:xfrm>
          <a:off x="3507243" y="143822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erformance Testing</a:t>
          </a:r>
          <a:endParaRPr lang="en-US" sz="900" kern="1200" dirty="0"/>
        </a:p>
      </dsp:txBody>
      <dsp:txXfrm>
        <a:off x="3522688" y="1453672"/>
        <a:ext cx="848009" cy="496449"/>
      </dsp:txXfrm>
    </dsp:sp>
    <dsp:sp modelId="{BB525EF4-11CA-4AF0-9D05-0890477F605B}">
      <dsp:nvSpPr>
        <dsp:cNvPr id="0" name=""/>
        <dsp:cNvSpPr/>
      </dsp:nvSpPr>
      <dsp:spPr>
        <a:xfrm rot="16200000">
          <a:off x="3359131"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944E00CC-E210-4FBC-BC90-6DD58207E1A0}">
      <dsp:nvSpPr>
        <dsp:cNvPr id="0" name=""/>
        <dsp:cNvSpPr/>
      </dsp:nvSpPr>
      <dsp:spPr>
        <a:xfrm>
          <a:off x="3507243" y="77905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ser Acceptance Testing</a:t>
          </a:r>
          <a:endParaRPr lang="en-US" sz="900" kern="1200" dirty="0"/>
        </a:p>
      </dsp:txBody>
      <dsp:txXfrm>
        <a:off x="3522688" y="794497"/>
        <a:ext cx="848009" cy="496449"/>
      </dsp:txXfrm>
    </dsp:sp>
    <dsp:sp modelId="{8AEDD5ED-C456-404E-A0C1-9FCD061445C8}">
      <dsp:nvSpPr>
        <dsp:cNvPr id="0" name=""/>
        <dsp:cNvSpPr/>
      </dsp:nvSpPr>
      <dsp:spPr>
        <a:xfrm>
          <a:off x="3688718" y="210615"/>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B49DBB2-8BF6-48D2-AD6B-E4C56A5DA215}">
      <dsp:nvSpPr>
        <dsp:cNvPr id="0" name=""/>
        <dsp:cNvSpPr/>
      </dsp:nvSpPr>
      <dsp:spPr>
        <a:xfrm>
          <a:off x="3507243" y="119878"/>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rvice Management</a:t>
          </a:r>
          <a:endParaRPr lang="en-US" sz="900" kern="1200" dirty="0"/>
        </a:p>
      </dsp:txBody>
      <dsp:txXfrm>
        <a:off x="3522688" y="135323"/>
        <a:ext cx="848009" cy="496449"/>
      </dsp:txXfrm>
    </dsp:sp>
    <dsp:sp modelId="{FC461A49-6E8A-4765-BDC6-DF366118A9DB}">
      <dsp:nvSpPr>
        <dsp:cNvPr id="0" name=""/>
        <dsp:cNvSpPr/>
      </dsp:nvSpPr>
      <dsp:spPr>
        <a:xfrm rot="5400000">
          <a:off x="4528068"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C50EEFDE-E4D4-43BF-B3E0-15EBCF9D5439}">
      <dsp:nvSpPr>
        <dsp:cNvPr id="0" name=""/>
        <dsp:cNvSpPr/>
      </dsp:nvSpPr>
      <dsp:spPr>
        <a:xfrm>
          <a:off x="4676180" y="119878"/>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Production</a:t>
          </a:r>
          <a:endParaRPr lang="en-US" sz="900" kern="1200" dirty="0"/>
        </a:p>
      </dsp:txBody>
      <dsp:txXfrm>
        <a:off x="4691625" y="135323"/>
        <a:ext cx="848009" cy="496449"/>
      </dsp:txXfrm>
    </dsp:sp>
    <dsp:sp modelId="{2847F226-AA4E-451E-8FA8-84F2FF69A214}">
      <dsp:nvSpPr>
        <dsp:cNvPr id="0" name=""/>
        <dsp:cNvSpPr/>
      </dsp:nvSpPr>
      <dsp:spPr>
        <a:xfrm>
          <a:off x="4676180"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Monitoring</a:t>
          </a:r>
          <a:endParaRPr lang="en-US" sz="900" kern="1200" dirty="0"/>
        </a:p>
      </dsp:txBody>
      <dsp:txXfrm>
        <a:off x="4691625" y="794497"/>
        <a:ext cx="848009" cy="4964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E1769E-B168-4CD8-BE69-23AD7E310373}">
      <dsp:nvSpPr>
        <dsp:cNvPr id="0" name=""/>
        <dsp:cNvSpPr/>
      </dsp:nvSpPr>
      <dsp:spPr>
        <a:xfrm rot="5400000">
          <a:off x="-147678"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8032C8F-07F8-49E7-971C-FCC8CFA0A309}">
      <dsp:nvSpPr>
        <dsp:cNvPr id="0" name=""/>
        <dsp:cNvSpPr/>
      </dsp:nvSpPr>
      <dsp:spPr>
        <a:xfrm>
          <a:off x="434" y="119878"/>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lease Management</a:t>
          </a:r>
          <a:endParaRPr lang="en-US" sz="900" kern="1200" dirty="0"/>
        </a:p>
      </dsp:txBody>
      <dsp:txXfrm>
        <a:off x="15879" y="135323"/>
        <a:ext cx="848009" cy="496449"/>
      </dsp:txXfrm>
    </dsp:sp>
    <dsp:sp modelId="{1C87ED88-6481-4D07-9F24-87B0AE319D5F}">
      <dsp:nvSpPr>
        <dsp:cNvPr id="0" name=""/>
        <dsp:cNvSpPr/>
      </dsp:nvSpPr>
      <dsp:spPr>
        <a:xfrm rot="5400000">
          <a:off x="-147678"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3A94AF2-A702-4098-BBF8-E78BBA5F1D6D}">
      <dsp:nvSpPr>
        <dsp:cNvPr id="0" name=""/>
        <dsp:cNvSpPr/>
      </dsp:nvSpPr>
      <dsp:spPr>
        <a:xfrm>
          <a:off x="434"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llaboration</a:t>
          </a:r>
          <a:endParaRPr lang="en-US" sz="900" kern="1200" dirty="0"/>
        </a:p>
      </dsp:txBody>
      <dsp:txXfrm>
        <a:off x="15879" y="794497"/>
        <a:ext cx="848009" cy="496449"/>
      </dsp:txXfrm>
    </dsp:sp>
    <dsp:sp modelId="{57E7BDAE-DCE6-47E5-8E9C-B8C08ABA3F38}">
      <dsp:nvSpPr>
        <dsp:cNvPr id="0" name=""/>
        <dsp:cNvSpPr/>
      </dsp:nvSpPr>
      <dsp:spPr>
        <a:xfrm rot="5400000">
          <a:off x="-147678"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7934C21-ADF7-422F-B47B-B5A5A9ACA79D}">
      <dsp:nvSpPr>
        <dsp:cNvPr id="0" name=""/>
        <dsp:cNvSpPr/>
      </dsp:nvSpPr>
      <dsp:spPr>
        <a:xfrm>
          <a:off x="434" y="143822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quirement Management</a:t>
          </a:r>
          <a:endParaRPr lang="en-US" sz="900" kern="1200" dirty="0"/>
        </a:p>
      </dsp:txBody>
      <dsp:txXfrm>
        <a:off x="15879" y="1453672"/>
        <a:ext cx="848009" cy="496449"/>
      </dsp:txXfrm>
    </dsp:sp>
    <dsp:sp modelId="{D5FA8DAC-FD33-47B2-AF30-E334B817887F}">
      <dsp:nvSpPr>
        <dsp:cNvPr id="0" name=""/>
        <dsp:cNvSpPr/>
      </dsp:nvSpPr>
      <dsp:spPr>
        <a:xfrm rot="5400000">
          <a:off x="-147678"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25792AB4-3AFD-4F68-897D-F8B7E034032A}">
      <dsp:nvSpPr>
        <dsp:cNvPr id="0" name=""/>
        <dsp:cNvSpPr/>
      </dsp:nvSpPr>
      <dsp:spPr>
        <a:xfrm>
          <a:off x="434" y="209740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heckout</a:t>
          </a:r>
          <a:endParaRPr lang="en-US" sz="900" kern="1200" dirty="0"/>
        </a:p>
      </dsp:txBody>
      <dsp:txXfrm>
        <a:off x="15879" y="2112847"/>
        <a:ext cx="848009" cy="496449"/>
      </dsp:txXfrm>
    </dsp:sp>
    <dsp:sp modelId="{F524A3C2-2F47-4EC7-9192-FF87140744A2}">
      <dsp:nvSpPr>
        <dsp:cNvPr id="0" name=""/>
        <dsp:cNvSpPr/>
      </dsp:nvSpPr>
      <dsp:spPr>
        <a:xfrm>
          <a:off x="181909" y="2847314"/>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E9A9EE7-92C5-4699-8669-56116A772C24}">
      <dsp:nvSpPr>
        <dsp:cNvPr id="0" name=""/>
        <dsp:cNvSpPr/>
      </dsp:nvSpPr>
      <dsp:spPr>
        <a:xfrm>
          <a:off x="434" y="275657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struction</a:t>
          </a:r>
          <a:endParaRPr lang="en-US" sz="900" kern="1200" dirty="0"/>
        </a:p>
      </dsp:txBody>
      <dsp:txXfrm>
        <a:off x="15879" y="2772022"/>
        <a:ext cx="848009" cy="496449"/>
      </dsp:txXfrm>
    </dsp:sp>
    <dsp:sp modelId="{49E3A27E-2060-4282-930E-AB4FCEE55EDC}">
      <dsp:nvSpPr>
        <dsp:cNvPr id="0" name=""/>
        <dsp:cNvSpPr/>
      </dsp:nvSpPr>
      <dsp:spPr>
        <a:xfrm rot="16200000">
          <a:off x="1021258"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857B1DA-2507-499A-A5D5-C0764C8CAA3E}">
      <dsp:nvSpPr>
        <dsp:cNvPr id="0" name=""/>
        <dsp:cNvSpPr/>
      </dsp:nvSpPr>
      <dsp:spPr>
        <a:xfrm>
          <a:off x="1169370" y="275657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nit Testing</a:t>
          </a:r>
          <a:endParaRPr lang="en-US" sz="900" kern="1200" dirty="0"/>
        </a:p>
      </dsp:txBody>
      <dsp:txXfrm>
        <a:off x="1184815" y="2772022"/>
        <a:ext cx="848009" cy="496449"/>
      </dsp:txXfrm>
    </dsp:sp>
    <dsp:sp modelId="{B630B3E9-C976-4814-8F94-C0C4A230ADBF}">
      <dsp:nvSpPr>
        <dsp:cNvPr id="0" name=""/>
        <dsp:cNvSpPr/>
      </dsp:nvSpPr>
      <dsp:spPr>
        <a:xfrm rot="16200000">
          <a:off x="1021258"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035CB83-BBB4-4446-A112-13AF53CB77D8}">
      <dsp:nvSpPr>
        <dsp:cNvPr id="0" name=""/>
        <dsp:cNvSpPr/>
      </dsp:nvSpPr>
      <dsp:spPr>
        <a:xfrm>
          <a:off x="1169370" y="209740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Review</a:t>
          </a:r>
          <a:endParaRPr lang="en-US" sz="900" kern="1200" dirty="0"/>
        </a:p>
      </dsp:txBody>
      <dsp:txXfrm>
        <a:off x="1184815" y="2112847"/>
        <a:ext cx="848009" cy="496449"/>
      </dsp:txXfrm>
    </dsp:sp>
    <dsp:sp modelId="{102024F8-46FB-49EA-846C-1146B6011A6D}">
      <dsp:nvSpPr>
        <dsp:cNvPr id="0" name=""/>
        <dsp:cNvSpPr/>
      </dsp:nvSpPr>
      <dsp:spPr>
        <a:xfrm rot="16200000">
          <a:off x="1021258"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9FD8211-2BCA-47BB-831A-240575A82F59}">
      <dsp:nvSpPr>
        <dsp:cNvPr id="0" name=""/>
        <dsp:cNvSpPr/>
      </dsp:nvSpPr>
      <dsp:spPr>
        <a:xfrm>
          <a:off x="1169370" y="143822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flict Management</a:t>
          </a:r>
          <a:endParaRPr lang="en-US" sz="900" kern="1200" dirty="0"/>
        </a:p>
      </dsp:txBody>
      <dsp:txXfrm>
        <a:off x="1184815" y="1453672"/>
        <a:ext cx="848009" cy="496449"/>
      </dsp:txXfrm>
    </dsp:sp>
    <dsp:sp modelId="{26601E23-47AA-4256-A218-A825457954F3}">
      <dsp:nvSpPr>
        <dsp:cNvPr id="0" name=""/>
        <dsp:cNvSpPr/>
      </dsp:nvSpPr>
      <dsp:spPr>
        <a:xfrm rot="16200000">
          <a:off x="1021258"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5EA1F8C6-C86C-4503-BC0D-7BD03573E398}">
      <dsp:nvSpPr>
        <dsp:cNvPr id="0" name=""/>
        <dsp:cNvSpPr/>
      </dsp:nvSpPr>
      <dsp:spPr>
        <a:xfrm>
          <a:off x="1169370"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Version Management</a:t>
          </a:r>
          <a:endParaRPr lang="en-US" sz="900" kern="1200" dirty="0"/>
        </a:p>
      </dsp:txBody>
      <dsp:txXfrm>
        <a:off x="1184815" y="794497"/>
        <a:ext cx="848009" cy="496449"/>
      </dsp:txXfrm>
    </dsp:sp>
    <dsp:sp modelId="{3C2DD09D-26A9-46AC-84EB-C215991B44BB}">
      <dsp:nvSpPr>
        <dsp:cNvPr id="0" name=""/>
        <dsp:cNvSpPr/>
      </dsp:nvSpPr>
      <dsp:spPr>
        <a:xfrm>
          <a:off x="1350845" y="210615"/>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50BFC0-B4D6-4BC3-B5E4-CF59BDFABE2A}">
      <dsp:nvSpPr>
        <dsp:cNvPr id="0" name=""/>
        <dsp:cNvSpPr/>
      </dsp:nvSpPr>
      <dsp:spPr>
        <a:xfrm>
          <a:off x="1169370" y="119878"/>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Build</a:t>
          </a:r>
          <a:endParaRPr lang="en-US" sz="900" kern="1200" dirty="0"/>
        </a:p>
      </dsp:txBody>
      <dsp:txXfrm>
        <a:off x="1184815" y="135323"/>
        <a:ext cx="848009" cy="496449"/>
      </dsp:txXfrm>
    </dsp:sp>
    <dsp:sp modelId="{EE1B6901-BA8E-4105-96F4-42FA568E72BE}">
      <dsp:nvSpPr>
        <dsp:cNvPr id="0" name=""/>
        <dsp:cNvSpPr/>
      </dsp:nvSpPr>
      <dsp:spPr>
        <a:xfrm rot="5400000">
          <a:off x="2190195"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68F451B-07D1-4CC8-8C09-0A6CFF49BCE8}">
      <dsp:nvSpPr>
        <dsp:cNvPr id="0" name=""/>
        <dsp:cNvSpPr/>
      </dsp:nvSpPr>
      <dsp:spPr>
        <a:xfrm>
          <a:off x="2338307" y="119878"/>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tatic/Dynamic Code Analysis</a:t>
          </a:r>
          <a:endParaRPr lang="en-US" sz="900" kern="1200" dirty="0"/>
        </a:p>
      </dsp:txBody>
      <dsp:txXfrm>
        <a:off x="2353752" y="135323"/>
        <a:ext cx="848009" cy="496449"/>
      </dsp:txXfrm>
    </dsp:sp>
    <dsp:sp modelId="{6C96EEF3-BDD2-46B0-9775-DB0AD7122BCA}">
      <dsp:nvSpPr>
        <dsp:cNvPr id="0" name=""/>
        <dsp:cNvSpPr/>
      </dsp:nvSpPr>
      <dsp:spPr>
        <a:xfrm rot="5400000">
          <a:off x="2190195"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96307D-B72E-46CA-99C3-DF4964887F61}">
      <dsp:nvSpPr>
        <dsp:cNvPr id="0" name=""/>
        <dsp:cNvSpPr/>
      </dsp:nvSpPr>
      <dsp:spPr>
        <a:xfrm>
          <a:off x="2338307"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Tag Release</a:t>
          </a:r>
          <a:endParaRPr lang="en-US" sz="900" kern="1200" dirty="0"/>
        </a:p>
      </dsp:txBody>
      <dsp:txXfrm>
        <a:off x="2353752" y="794497"/>
        <a:ext cx="848009" cy="496449"/>
      </dsp:txXfrm>
    </dsp:sp>
    <dsp:sp modelId="{F6FC2ECE-CFEF-4937-9FA9-7386B67A1865}">
      <dsp:nvSpPr>
        <dsp:cNvPr id="0" name=""/>
        <dsp:cNvSpPr/>
      </dsp:nvSpPr>
      <dsp:spPr>
        <a:xfrm rot="5400000">
          <a:off x="2190195"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B428A3B2-862D-4B94-BDCF-12B1A0C11E4D}">
      <dsp:nvSpPr>
        <dsp:cNvPr id="0" name=""/>
        <dsp:cNvSpPr/>
      </dsp:nvSpPr>
      <dsp:spPr>
        <a:xfrm>
          <a:off x="2338307" y="143822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ackage and Artifact </a:t>
          </a:r>
          <a:r>
            <a:rPr lang="en-US" sz="900" kern="1200" dirty="0" err="1" smtClean="0"/>
            <a:t>Mngt</a:t>
          </a:r>
          <a:r>
            <a:rPr lang="en-US" sz="900" kern="1200" dirty="0" smtClean="0"/>
            <a:t>.</a:t>
          </a:r>
          <a:endParaRPr lang="en-US" sz="900" kern="1200" dirty="0"/>
        </a:p>
      </dsp:txBody>
      <dsp:txXfrm>
        <a:off x="2353752" y="1453672"/>
        <a:ext cx="848009" cy="496449"/>
      </dsp:txXfrm>
    </dsp:sp>
    <dsp:sp modelId="{336F546F-1FDC-4E18-95BF-FE0101C6AA07}">
      <dsp:nvSpPr>
        <dsp:cNvPr id="0" name=""/>
        <dsp:cNvSpPr/>
      </dsp:nvSpPr>
      <dsp:spPr>
        <a:xfrm rot="5400000">
          <a:off x="2190195"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46D306B-4D14-46FF-9643-9239C46D8CAC}">
      <dsp:nvSpPr>
        <dsp:cNvPr id="0" name=""/>
        <dsp:cNvSpPr/>
      </dsp:nvSpPr>
      <dsp:spPr>
        <a:xfrm>
          <a:off x="2338307" y="209740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QA/SIT/UAT</a:t>
          </a:r>
          <a:endParaRPr lang="en-US" sz="900" kern="1200" dirty="0"/>
        </a:p>
      </dsp:txBody>
      <dsp:txXfrm>
        <a:off x="2353752" y="2112847"/>
        <a:ext cx="848009" cy="496449"/>
      </dsp:txXfrm>
    </dsp:sp>
    <dsp:sp modelId="{71178B63-9DA7-4EB2-B893-CB8B1DDC5504}">
      <dsp:nvSpPr>
        <dsp:cNvPr id="0" name=""/>
        <dsp:cNvSpPr/>
      </dsp:nvSpPr>
      <dsp:spPr>
        <a:xfrm>
          <a:off x="2519782" y="2847314"/>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865CC9CB-4D1A-4BBD-89CB-C6A0A3D909BD}">
      <dsp:nvSpPr>
        <dsp:cNvPr id="0" name=""/>
        <dsp:cNvSpPr/>
      </dsp:nvSpPr>
      <dsp:spPr>
        <a:xfrm>
          <a:off x="2338307" y="275657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solidFill>
            </a:rPr>
            <a:t>Functional Testing</a:t>
          </a:r>
          <a:endParaRPr lang="en-US" sz="900" kern="1200" dirty="0">
            <a:solidFill>
              <a:schemeClr val="bg1"/>
            </a:solidFill>
          </a:endParaRPr>
        </a:p>
      </dsp:txBody>
      <dsp:txXfrm>
        <a:off x="2353752" y="2772022"/>
        <a:ext cx="848009" cy="496449"/>
      </dsp:txXfrm>
    </dsp:sp>
    <dsp:sp modelId="{9B25D534-E41D-4E66-9ABC-EB6CCB037EBF}">
      <dsp:nvSpPr>
        <dsp:cNvPr id="0" name=""/>
        <dsp:cNvSpPr/>
      </dsp:nvSpPr>
      <dsp:spPr>
        <a:xfrm rot="16200000">
          <a:off x="3359131" y="251772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032526AA-CA4F-47A6-8833-CC4E299DB417}">
      <dsp:nvSpPr>
        <dsp:cNvPr id="0" name=""/>
        <dsp:cNvSpPr/>
      </dsp:nvSpPr>
      <dsp:spPr>
        <a:xfrm>
          <a:off x="3507243" y="275657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Integration Testing</a:t>
          </a:r>
          <a:endParaRPr lang="en-US" sz="900" kern="1200" dirty="0"/>
        </a:p>
      </dsp:txBody>
      <dsp:txXfrm>
        <a:off x="3522688" y="2772022"/>
        <a:ext cx="848009" cy="496449"/>
      </dsp:txXfrm>
    </dsp:sp>
    <dsp:sp modelId="{89D00D1F-943B-48DA-A8FD-AC043957EA6D}">
      <dsp:nvSpPr>
        <dsp:cNvPr id="0" name=""/>
        <dsp:cNvSpPr/>
      </dsp:nvSpPr>
      <dsp:spPr>
        <a:xfrm rot="16200000">
          <a:off x="3359131" y="185855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85740BD-7D7E-4766-A8DC-1A35B1C1FEC9}">
      <dsp:nvSpPr>
        <dsp:cNvPr id="0" name=""/>
        <dsp:cNvSpPr/>
      </dsp:nvSpPr>
      <dsp:spPr>
        <a:xfrm>
          <a:off x="3507243" y="209740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curity Testing</a:t>
          </a:r>
          <a:endParaRPr lang="en-US" sz="900" kern="1200" dirty="0"/>
        </a:p>
      </dsp:txBody>
      <dsp:txXfrm>
        <a:off x="3522688" y="2112847"/>
        <a:ext cx="848009" cy="496449"/>
      </dsp:txXfrm>
    </dsp:sp>
    <dsp:sp modelId="{A1C00C4B-A7DA-42E9-8FF6-0516DAF3992D}">
      <dsp:nvSpPr>
        <dsp:cNvPr id="0" name=""/>
        <dsp:cNvSpPr/>
      </dsp:nvSpPr>
      <dsp:spPr>
        <a:xfrm rot="16200000">
          <a:off x="3359131" y="119937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37C0B14A-2A81-4DA6-A4DE-8B0C0FD97FC1}">
      <dsp:nvSpPr>
        <dsp:cNvPr id="0" name=""/>
        <dsp:cNvSpPr/>
      </dsp:nvSpPr>
      <dsp:spPr>
        <a:xfrm>
          <a:off x="3507243" y="143822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erformance Testing</a:t>
          </a:r>
          <a:endParaRPr lang="en-US" sz="900" kern="1200" dirty="0"/>
        </a:p>
      </dsp:txBody>
      <dsp:txXfrm>
        <a:off x="3522688" y="1453672"/>
        <a:ext cx="848009" cy="496449"/>
      </dsp:txXfrm>
    </dsp:sp>
    <dsp:sp modelId="{BB525EF4-11CA-4AF0-9D05-0890477F605B}">
      <dsp:nvSpPr>
        <dsp:cNvPr id="0" name=""/>
        <dsp:cNvSpPr/>
      </dsp:nvSpPr>
      <dsp:spPr>
        <a:xfrm rot="16200000">
          <a:off x="3359131"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944E00CC-E210-4FBC-BC90-6DD58207E1A0}">
      <dsp:nvSpPr>
        <dsp:cNvPr id="0" name=""/>
        <dsp:cNvSpPr/>
      </dsp:nvSpPr>
      <dsp:spPr>
        <a:xfrm>
          <a:off x="3507243" y="77905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ser Acceptance Testing</a:t>
          </a:r>
          <a:endParaRPr lang="en-US" sz="900" kern="1200" dirty="0"/>
        </a:p>
      </dsp:txBody>
      <dsp:txXfrm>
        <a:off x="3522688" y="794497"/>
        <a:ext cx="848009" cy="496449"/>
      </dsp:txXfrm>
    </dsp:sp>
    <dsp:sp modelId="{8AEDD5ED-C456-404E-A0C1-9FCD061445C8}">
      <dsp:nvSpPr>
        <dsp:cNvPr id="0" name=""/>
        <dsp:cNvSpPr/>
      </dsp:nvSpPr>
      <dsp:spPr>
        <a:xfrm>
          <a:off x="3688718" y="210615"/>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B49DBB2-8BF6-48D2-AD6B-E4C56A5DA215}">
      <dsp:nvSpPr>
        <dsp:cNvPr id="0" name=""/>
        <dsp:cNvSpPr/>
      </dsp:nvSpPr>
      <dsp:spPr>
        <a:xfrm>
          <a:off x="3507243" y="119878"/>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rvice Management</a:t>
          </a:r>
          <a:endParaRPr lang="en-US" sz="900" kern="1200" dirty="0"/>
        </a:p>
      </dsp:txBody>
      <dsp:txXfrm>
        <a:off x="3522688" y="135323"/>
        <a:ext cx="848009" cy="496449"/>
      </dsp:txXfrm>
    </dsp:sp>
    <dsp:sp modelId="{FC461A49-6E8A-4765-BDC6-DF366118A9DB}">
      <dsp:nvSpPr>
        <dsp:cNvPr id="0" name=""/>
        <dsp:cNvSpPr/>
      </dsp:nvSpPr>
      <dsp:spPr>
        <a:xfrm rot="5400000">
          <a:off x="4528068" y="540203"/>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C50EEFDE-E4D4-43BF-B3E0-15EBCF9D5439}">
      <dsp:nvSpPr>
        <dsp:cNvPr id="0" name=""/>
        <dsp:cNvSpPr/>
      </dsp:nvSpPr>
      <dsp:spPr>
        <a:xfrm>
          <a:off x="4676180" y="119878"/>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Production</a:t>
          </a:r>
          <a:endParaRPr lang="en-US" sz="900" kern="1200" dirty="0"/>
        </a:p>
      </dsp:txBody>
      <dsp:txXfrm>
        <a:off x="4691625" y="135323"/>
        <a:ext cx="848009" cy="496449"/>
      </dsp:txXfrm>
    </dsp:sp>
    <dsp:sp modelId="{2847F226-AA4E-451E-8FA8-84F2FF69A214}">
      <dsp:nvSpPr>
        <dsp:cNvPr id="0" name=""/>
        <dsp:cNvSpPr/>
      </dsp:nvSpPr>
      <dsp:spPr>
        <a:xfrm>
          <a:off x="4676180" y="77905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Monitoring</a:t>
          </a:r>
          <a:endParaRPr lang="en-US" sz="900" kern="1200" dirty="0"/>
        </a:p>
      </dsp:txBody>
      <dsp:txXfrm>
        <a:off x="4691625" y="794497"/>
        <a:ext cx="848009" cy="4964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E1769E-B168-4CD8-BE69-23AD7E310373}">
      <dsp:nvSpPr>
        <dsp:cNvPr id="0" name=""/>
        <dsp:cNvSpPr/>
      </dsp:nvSpPr>
      <dsp:spPr>
        <a:xfrm rot="5400000">
          <a:off x="-147678" y="498818"/>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8032C8F-07F8-49E7-971C-FCC8CFA0A309}">
      <dsp:nvSpPr>
        <dsp:cNvPr id="0" name=""/>
        <dsp:cNvSpPr/>
      </dsp:nvSpPr>
      <dsp:spPr>
        <a:xfrm>
          <a:off x="434" y="78493"/>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lease Management</a:t>
          </a:r>
          <a:endParaRPr lang="en-US" sz="900" kern="1200" dirty="0"/>
        </a:p>
      </dsp:txBody>
      <dsp:txXfrm>
        <a:off x="15879" y="93938"/>
        <a:ext cx="848009" cy="496449"/>
      </dsp:txXfrm>
    </dsp:sp>
    <dsp:sp modelId="{1C87ED88-6481-4D07-9F24-87B0AE319D5F}">
      <dsp:nvSpPr>
        <dsp:cNvPr id="0" name=""/>
        <dsp:cNvSpPr/>
      </dsp:nvSpPr>
      <dsp:spPr>
        <a:xfrm rot="5400000">
          <a:off x="-147678" y="115799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3A94AF2-A702-4098-BBF8-E78BBA5F1D6D}">
      <dsp:nvSpPr>
        <dsp:cNvPr id="0" name=""/>
        <dsp:cNvSpPr/>
      </dsp:nvSpPr>
      <dsp:spPr>
        <a:xfrm>
          <a:off x="434" y="73766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llaboration/ KM Management</a:t>
          </a:r>
          <a:endParaRPr lang="en-US" sz="900" kern="1200" dirty="0"/>
        </a:p>
      </dsp:txBody>
      <dsp:txXfrm>
        <a:off x="15879" y="753112"/>
        <a:ext cx="848009" cy="496449"/>
      </dsp:txXfrm>
    </dsp:sp>
    <dsp:sp modelId="{57E7BDAE-DCE6-47E5-8E9C-B8C08ABA3F38}">
      <dsp:nvSpPr>
        <dsp:cNvPr id="0" name=""/>
        <dsp:cNvSpPr/>
      </dsp:nvSpPr>
      <dsp:spPr>
        <a:xfrm rot="5400000">
          <a:off x="-147678" y="181716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7934C21-ADF7-422F-B47B-B5A5A9ACA79D}">
      <dsp:nvSpPr>
        <dsp:cNvPr id="0" name=""/>
        <dsp:cNvSpPr/>
      </dsp:nvSpPr>
      <dsp:spPr>
        <a:xfrm>
          <a:off x="434" y="139684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quirement Management</a:t>
          </a:r>
          <a:endParaRPr lang="en-US" sz="900" kern="1200" dirty="0"/>
        </a:p>
      </dsp:txBody>
      <dsp:txXfrm>
        <a:off x="15879" y="1412287"/>
        <a:ext cx="848009" cy="496449"/>
      </dsp:txXfrm>
    </dsp:sp>
    <dsp:sp modelId="{D5FA8DAC-FD33-47B2-AF30-E334B817887F}">
      <dsp:nvSpPr>
        <dsp:cNvPr id="0" name=""/>
        <dsp:cNvSpPr/>
      </dsp:nvSpPr>
      <dsp:spPr>
        <a:xfrm rot="5400000">
          <a:off x="-147678" y="247634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25792AB4-3AFD-4F68-897D-F8B7E034032A}">
      <dsp:nvSpPr>
        <dsp:cNvPr id="0" name=""/>
        <dsp:cNvSpPr/>
      </dsp:nvSpPr>
      <dsp:spPr>
        <a:xfrm>
          <a:off x="434" y="205601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heckout</a:t>
          </a:r>
          <a:endParaRPr lang="en-US" sz="900" kern="1200" dirty="0"/>
        </a:p>
      </dsp:txBody>
      <dsp:txXfrm>
        <a:off x="15879" y="2071462"/>
        <a:ext cx="848009" cy="496449"/>
      </dsp:txXfrm>
    </dsp:sp>
    <dsp:sp modelId="{F524A3C2-2F47-4EC7-9192-FF87140744A2}">
      <dsp:nvSpPr>
        <dsp:cNvPr id="0" name=""/>
        <dsp:cNvSpPr/>
      </dsp:nvSpPr>
      <dsp:spPr>
        <a:xfrm>
          <a:off x="181909" y="2805929"/>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E9A9EE7-92C5-4699-8669-56116A772C24}">
      <dsp:nvSpPr>
        <dsp:cNvPr id="0" name=""/>
        <dsp:cNvSpPr/>
      </dsp:nvSpPr>
      <dsp:spPr>
        <a:xfrm>
          <a:off x="434" y="271519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struction</a:t>
          </a:r>
          <a:endParaRPr lang="en-US" sz="900" kern="1200" dirty="0"/>
        </a:p>
      </dsp:txBody>
      <dsp:txXfrm>
        <a:off x="15879" y="2730637"/>
        <a:ext cx="848009" cy="496449"/>
      </dsp:txXfrm>
    </dsp:sp>
    <dsp:sp modelId="{49E3A27E-2060-4282-930E-AB4FCEE55EDC}">
      <dsp:nvSpPr>
        <dsp:cNvPr id="0" name=""/>
        <dsp:cNvSpPr/>
      </dsp:nvSpPr>
      <dsp:spPr>
        <a:xfrm rot="16200000">
          <a:off x="1021258" y="247634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857B1DA-2507-499A-A5D5-C0764C8CAA3E}">
      <dsp:nvSpPr>
        <dsp:cNvPr id="0" name=""/>
        <dsp:cNvSpPr/>
      </dsp:nvSpPr>
      <dsp:spPr>
        <a:xfrm>
          <a:off x="1169370" y="271519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nit Testing</a:t>
          </a:r>
          <a:endParaRPr lang="en-US" sz="900" kern="1200" dirty="0"/>
        </a:p>
      </dsp:txBody>
      <dsp:txXfrm>
        <a:off x="1184815" y="2730637"/>
        <a:ext cx="848009" cy="496449"/>
      </dsp:txXfrm>
    </dsp:sp>
    <dsp:sp modelId="{B630B3E9-C976-4814-8F94-C0C4A230ADBF}">
      <dsp:nvSpPr>
        <dsp:cNvPr id="0" name=""/>
        <dsp:cNvSpPr/>
      </dsp:nvSpPr>
      <dsp:spPr>
        <a:xfrm rot="16200000">
          <a:off x="1021258" y="181716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035CB83-BBB4-4446-A112-13AF53CB77D8}">
      <dsp:nvSpPr>
        <dsp:cNvPr id="0" name=""/>
        <dsp:cNvSpPr/>
      </dsp:nvSpPr>
      <dsp:spPr>
        <a:xfrm>
          <a:off x="1169370" y="205601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Review</a:t>
          </a:r>
          <a:endParaRPr lang="en-US" sz="900" kern="1200" dirty="0"/>
        </a:p>
      </dsp:txBody>
      <dsp:txXfrm>
        <a:off x="1184815" y="2071462"/>
        <a:ext cx="848009" cy="496449"/>
      </dsp:txXfrm>
    </dsp:sp>
    <dsp:sp modelId="{102024F8-46FB-49EA-846C-1146B6011A6D}">
      <dsp:nvSpPr>
        <dsp:cNvPr id="0" name=""/>
        <dsp:cNvSpPr/>
      </dsp:nvSpPr>
      <dsp:spPr>
        <a:xfrm rot="16200000">
          <a:off x="1021258" y="115799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9FD8211-2BCA-47BB-831A-240575A82F59}">
      <dsp:nvSpPr>
        <dsp:cNvPr id="0" name=""/>
        <dsp:cNvSpPr/>
      </dsp:nvSpPr>
      <dsp:spPr>
        <a:xfrm>
          <a:off x="1169370" y="1396842"/>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flict Management</a:t>
          </a:r>
          <a:endParaRPr lang="en-US" sz="900" kern="1200" dirty="0"/>
        </a:p>
      </dsp:txBody>
      <dsp:txXfrm>
        <a:off x="1184815" y="1412287"/>
        <a:ext cx="848009" cy="496449"/>
      </dsp:txXfrm>
    </dsp:sp>
    <dsp:sp modelId="{26601E23-47AA-4256-A218-A825457954F3}">
      <dsp:nvSpPr>
        <dsp:cNvPr id="0" name=""/>
        <dsp:cNvSpPr/>
      </dsp:nvSpPr>
      <dsp:spPr>
        <a:xfrm rot="16200000">
          <a:off x="1021258" y="498818"/>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5EA1F8C6-C86C-4503-BC0D-7BD03573E398}">
      <dsp:nvSpPr>
        <dsp:cNvPr id="0" name=""/>
        <dsp:cNvSpPr/>
      </dsp:nvSpPr>
      <dsp:spPr>
        <a:xfrm>
          <a:off x="1169370" y="73766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Version Management</a:t>
          </a:r>
          <a:endParaRPr lang="en-US" sz="900" kern="1200" dirty="0"/>
        </a:p>
      </dsp:txBody>
      <dsp:txXfrm>
        <a:off x="1184815" y="753112"/>
        <a:ext cx="848009" cy="496449"/>
      </dsp:txXfrm>
    </dsp:sp>
    <dsp:sp modelId="{3C2DD09D-26A9-46AC-84EB-C215991B44BB}">
      <dsp:nvSpPr>
        <dsp:cNvPr id="0" name=""/>
        <dsp:cNvSpPr/>
      </dsp:nvSpPr>
      <dsp:spPr>
        <a:xfrm>
          <a:off x="1350845" y="169230"/>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50BFC0-B4D6-4BC3-B5E4-CF59BDFABE2A}">
      <dsp:nvSpPr>
        <dsp:cNvPr id="0" name=""/>
        <dsp:cNvSpPr/>
      </dsp:nvSpPr>
      <dsp:spPr>
        <a:xfrm>
          <a:off x="1169370" y="78493"/>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Build</a:t>
          </a:r>
          <a:endParaRPr lang="en-US" sz="900" kern="1200" dirty="0"/>
        </a:p>
      </dsp:txBody>
      <dsp:txXfrm>
        <a:off x="1184815" y="93938"/>
        <a:ext cx="848009" cy="496449"/>
      </dsp:txXfrm>
    </dsp:sp>
    <dsp:sp modelId="{EE1B6901-BA8E-4105-96F4-42FA568E72BE}">
      <dsp:nvSpPr>
        <dsp:cNvPr id="0" name=""/>
        <dsp:cNvSpPr/>
      </dsp:nvSpPr>
      <dsp:spPr>
        <a:xfrm rot="5400000">
          <a:off x="2190195" y="498818"/>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68F451B-07D1-4CC8-8C09-0A6CFF49BCE8}">
      <dsp:nvSpPr>
        <dsp:cNvPr id="0" name=""/>
        <dsp:cNvSpPr/>
      </dsp:nvSpPr>
      <dsp:spPr>
        <a:xfrm>
          <a:off x="2338307" y="78493"/>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tatic/Dynamic Code Analysis</a:t>
          </a:r>
          <a:endParaRPr lang="en-US" sz="900" kern="1200" dirty="0"/>
        </a:p>
      </dsp:txBody>
      <dsp:txXfrm>
        <a:off x="2353752" y="93938"/>
        <a:ext cx="848009" cy="496449"/>
      </dsp:txXfrm>
    </dsp:sp>
    <dsp:sp modelId="{6C96EEF3-BDD2-46B0-9775-DB0AD7122BCA}">
      <dsp:nvSpPr>
        <dsp:cNvPr id="0" name=""/>
        <dsp:cNvSpPr/>
      </dsp:nvSpPr>
      <dsp:spPr>
        <a:xfrm rot="5400000">
          <a:off x="2190195" y="115799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96307D-B72E-46CA-99C3-DF4964887F61}">
      <dsp:nvSpPr>
        <dsp:cNvPr id="0" name=""/>
        <dsp:cNvSpPr/>
      </dsp:nvSpPr>
      <dsp:spPr>
        <a:xfrm>
          <a:off x="2338307" y="73766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Tag Release</a:t>
          </a:r>
          <a:endParaRPr lang="en-US" sz="900" kern="1200" dirty="0"/>
        </a:p>
      </dsp:txBody>
      <dsp:txXfrm>
        <a:off x="2353752" y="753112"/>
        <a:ext cx="848009" cy="496449"/>
      </dsp:txXfrm>
    </dsp:sp>
    <dsp:sp modelId="{F6FC2ECE-CFEF-4937-9FA9-7386B67A1865}">
      <dsp:nvSpPr>
        <dsp:cNvPr id="0" name=""/>
        <dsp:cNvSpPr/>
      </dsp:nvSpPr>
      <dsp:spPr>
        <a:xfrm rot="5400000">
          <a:off x="2190195" y="181716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B428A3B2-862D-4B94-BDCF-12B1A0C11E4D}">
      <dsp:nvSpPr>
        <dsp:cNvPr id="0" name=""/>
        <dsp:cNvSpPr/>
      </dsp:nvSpPr>
      <dsp:spPr>
        <a:xfrm>
          <a:off x="2338307" y="139684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ackage and Artifact </a:t>
          </a:r>
          <a:r>
            <a:rPr lang="en-US" sz="900" kern="1200" dirty="0" err="1" smtClean="0"/>
            <a:t>Mngt</a:t>
          </a:r>
          <a:r>
            <a:rPr lang="en-US" sz="900" kern="1200" dirty="0" smtClean="0"/>
            <a:t>.</a:t>
          </a:r>
          <a:endParaRPr lang="en-US" sz="900" kern="1200" dirty="0"/>
        </a:p>
      </dsp:txBody>
      <dsp:txXfrm>
        <a:off x="2353752" y="1412287"/>
        <a:ext cx="848009" cy="496449"/>
      </dsp:txXfrm>
    </dsp:sp>
    <dsp:sp modelId="{336F546F-1FDC-4E18-95BF-FE0101C6AA07}">
      <dsp:nvSpPr>
        <dsp:cNvPr id="0" name=""/>
        <dsp:cNvSpPr/>
      </dsp:nvSpPr>
      <dsp:spPr>
        <a:xfrm rot="5400000">
          <a:off x="2190195" y="247634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46D306B-4D14-46FF-9643-9239C46D8CAC}">
      <dsp:nvSpPr>
        <dsp:cNvPr id="0" name=""/>
        <dsp:cNvSpPr/>
      </dsp:nvSpPr>
      <dsp:spPr>
        <a:xfrm>
          <a:off x="2338307" y="205601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QA/SIT/UAT</a:t>
          </a:r>
          <a:endParaRPr lang="en-US" sz="900" kern="1200" dirty="0"/>
        </a:p>
      </dsp:txBody>
      <dsp:txXfrm>
        <a:off x="2353752" y="2071462"/>
        <a:ext cx="848009" cy="496449"/>
      </dsp:txXfrm>
    </dsp:sp>
    <dsp:sp modelId="{71178B63-9DA7-4EB2-B893-CB8B1DDC5504}">
      <dsp:nvSpPr>
        <dsp:cNvPr id="0" name=""/>
        <dsp:cNvSpPr/>
      </dsp:nvSpPr>
      <dsp:spPr>
        <a:xfrm>
          <a:off x="2519782" y="2805929"/>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865CC9CB-4D1A-4BBD-89CB-C6A0A3D909BD}">
      <dsp:nvSpPr>
        <dsp:cNvPr id="0" name=""/>
        <dsp:cNvSpPr/>
      </dsp:nvSpPr>
      <dsp:spPr>
        <a:xfrm>
          <a:off x="2338307" y="271519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solidFill>
            </a:rPr>
            <a:t>Functional Testing</a:t>
          </a:r>
          <a:endParaRPr lang="en-US" sz="900" kern="1200" dirty="0">
            <a:solidFill>
              <a:schemeClr val="bg1"/>
            </a:solidFill>
          </a:endParaRPr>
        </a:p>
      </dsp:txBody>
      <dsp:txXfrm>
        <a:off x="2353752" y="2730637"/>
        <a:ext cx="848009" cy="496449"/>
      </dsp:txXfrm>
    </dsp:sp>
    <dsp:sp modelId="{9B25D534-E41D-4E66-9ABC-EB6CCB037EBF}">
      <dsp:nvSpPr>
        <dsp:cNvPr id="0" name=""/>
        <dsp:cNvSpPr/>
      </dsp:nvSpPr>
      <dsp:spPr>
        <a:xfrm rot="16200000">
          <a:off x="3359131" y="247634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032526AA-CA4F-47A6-8833-CC4E299DB417}">
      <dsp:nvSpPr>
        <dsp:cNvPr id="0" name=""/>
        <dsp:cNvSpPr/>
      </dsp:nvSpPr>
      <dsp:spPr>
        <a:xfrm>
          <a:off x="3507243" y="271519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Integration Testing</a:t>
          </a:r>
          <a:endParaRPr lang="en-US" sz="900" kern="1200" dirty="0"/>
        </a:p>
      </dsp:txBody>
      <dsp:txXfrm>
        <a:off x="3522688" y="2730637"/>
        <a:ext cx="848009" cy="496449"/>
      </dsp:txXfrm>
    </dsp:sp>
    <dsp:sp modelId="{89D00D1F-943B-48DA-A8FD-AC043957EA6D}">
      <dsp:nvSpPr>
        <dsp:cNvPr id="0" name=""/>
        <dsp:cNvSpPr/>
      </dsp:nvSpPr>
      <dsp:spPr>
        <a:xfrm rot="16200000">
          <a:off x="3359131" y="1817167"/>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85740BD-7D7E-4766-A8DC-1A35B1C1FEC9}">
      <dsp:nvSpPr>
        <dsp:cNvPr id="0" name=""/>
        <dsp:cNvSpPr/>
      </dsp:nvSpPr>
      <dsp:spPr>
        <a:xfrm>
          <a:off x="3507243" y="205601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curity Testing</a:t>
          </a:r>
          <a:endParaRPr lang="en-US" sz="900" kern="1200" dirty="0"/>
        </a:p>
      </dsp:txBody>
      <dsp:txXfrm>
        <a:off x="3522688" y="2071462"/>
        <a:ext cx="848009" cy="496449"/>
      </dsp:txXfrm>
    </dsp:sp>
    <dsp:sp modelId="{A1C00C4B-A7DA-42E9-8FF6-0516DAF3992D}">
      <dsp:nvSpPr>
        <dsp:cNvPr id="0" name=""/>
        <dsp:cNvSpPr/>
      </dsp:nvSpPr>
      <dsp:spPr>
        <a:xfrm rot="16200000">
          <a:off x="3359131" y="1157992"/>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37C0B14A-2A81-4DA6-A4DE-8B0C0FD97FC1}">
      <dsp:nvSpPr>
        <dsp:cNvPr id="0" name=""/>
        <dsp:cNvSpPr/>
      </dsp:nvSpPr>
      <dsp:spPr>
        <a:xfrm>
          <a:off x="3507243" y="1396842"/>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erformance Testing</a:t>
          </a:r>
          <a:endParaRPr lang="en-US" sz="900" kern="1200" dirty="0"/>
        </a:p>
      </dsp:txBody>
      <dsp:txXfrm>
        <a:off x="3522688" y="1412287"/>
        <a:ext cx="848009" cy="496449"/>
      </dsp:txXfrm>
    </dsp:sp>
    <dsp:sp modelId="{BB525EF4-11CA-4AF0-9D05-0890477F605B}">
      <dsp:nvSpPr>
        <dsp:cNvPr id="0" name=""/>
        <dsp:cNvSpPr/>
      </dsp:nvSpPr>
      <dsp:spPr>
        <a:xfrm rot="16200000">
          <a:off x="3359131" y="498818"/>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944E00CC-E210-4FBC-BC90-6DD58207E1A0}">
      <dsp:nvSpPr>
        <dsp:cNvPr id="0" name=""/>
        <dsp:cNvSpPr/>
      </dsp:nvSpPr>
      <dsp:spPr>
        <a:xfrm>
          <a:off x="3507243" y="737667"/>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ser Acceptance Testing</a:t>
          </a:r>
          <a:endParaRPr lang="en-US" sz="900" kern="1200" dirty="0"/>
        </a:p>
      </dsp:txBody>
      <dsp:txXfrm>
        <a:off x="3522688" y="753112"/>
        <a:ext cx="848009" cy="496449"/>
      </dsp:txXfrm>
    </dsp:sp>
    <dsp:sp modelId="{8AEDD5ED-C456-404E-A0C1-9FCD061445C8}">
      <dsp:nvSpPr>
        <dsp:cNvPr id="0" name=""/>
        <dsp:cNvSpPr/>
      </dsp:nvSpPr>
      <dsp:spPr>
        <a:xfrm>
          <a:off x="3688718" y="169230"/>
          <a:ext cx="1163241"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B49DBB2-8BF6-48D2-AD6B-E4C56A5DA215}">
      <dsp:nvSpPr>
        <dsp:cNvPr id="0" name=""/>
        <dsp:cNvSpPr/>
      </dsp:nvSpPr>
      <dsp:spPr>
        <a:xfrm>
          <a:off x="3507243" y="78493"/>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rvice Management</a:t>
          </a:r>
          <a:endParaRPr lang="en-US" sz="900" kern="1200" dirty="0"/>
        </a:p>
      </dsp:txBody>
      <dsp:txXfrm>
        <a:off x="3522688" y="93938"/>
        <a:ext cx="848009" cy="496449"/>
      </dsp:txXfrm>
    </dsp:sp>
    <dsp:sp modelId="{FC461A49-6E8A-4765-BDC6-DF366118A9DB}">
      <dsp:nvSpPr>
        <dsp:cNvPr id="0" name=""/>
        <dsp:cNvSpPr/>
      </dsp:nvSpPr>
      <dsp:spPr>
        <a:xfrm rot="5400000">
          <a:off x="4528068" y="498818"/>
          <a:ext cx="653479" cy="79100"/>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C50EEFDE-E4D4-43BF-B3E0-15EBCF9D5439}">
      <dsp:nvSpPr>
        <dsp:cNvPr id="0" name=""/>
        <dsp:cNvSpPr/>
      </dsp:nvSpPr>
      <dsp:spPr>
        <a:xfrm>
          <a:off x="4676180" y="78493"/>
          <a:ext cx="878899" cy="527339"/>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Production</a:t>
          </a:r>
          <a:endParaRPr lang="en-US" sz="900" kern="1200" dirty="0"/>
        </a:p>
      </dsp:txBody>
      <dsp:txXfrm>
        <a:off x="4691625" y="93938"/>
        <a:ext cx="848009" cy="496449"/>
      </dsp:txXfrm>
    </dsp:sp>
    <dsp:sp modelId="{2847F226-AA4E-451E-8FA8-84F2FF69A214}">
      <dsp:nvSpPr>
        <dsp:cNvPr id="0" name=""/>
        <dsp:cNvSpPr/>
      </dsp:nvSpPr>
      <dsp:spPr>
        <a:xfrm>
          <a:off x="4676180" y="737667"/>
          <a:ext cx="878899" cy="527339"/>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Monitoring</a:t>
          </a:r>
          <a:endParaRPr lang="en-US" sz="900" kern="1200" dirty="0"/>
        </a:p>
      </dsp:txBody>
      <dsp:txXfrm>
        <a:off x="4691625" y="753112"/>
        <a:ext cx="848009" cy="49644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E1769E-B168-4CD8-BE69-23AD7E310373}">
      <dsp:nvSpPr>
        <dsp:cNvPr id="0" name=""/>
        <dsp:cNvSpPr/>
      </dsp:nvSpPr>
      <dsp:spPr>
        <a:xfrm rot="5400000">
          <a:off x="-148848" y="514599"/>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8032C8F-07F8-49E7-971C-FCC8CFA0A309}">
      <dsp:nvSpPr>
        <dsp:cNvPr id="0" name=""/>
        <dsp:cNvSpPr/>
      </dsp:nvSpPr>
      <dsp:spPr>
        <a:xfrm>
          <a:off x="437" y="91087"/>
          <a:ext cx="885607" cy="531364"/>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lease Management</a:t>
          </a:r>
          <a:endParaRPr lang="en-US" sz="900" kern="1200" dirty="0"/>
        </a:p>
      </dsp:txBody>
      <dsp:txXfrm>
        <a:off x="16000" y="106650"/>
        <a:ext cx="854481" cy="500238"/>
      </dsp:txXfrm>
    </dsp:sp>
    <dsp:sp modelId="{1C87ED88-6481-4D07-9F24-87B0AE319D5F}">
      <dsp:nvSpPr>
        <dsp:cNvPr id="0" name=""/>
        <dsp:cNvSpPr/>
      </dsp:nvSpPr>
      <dsp:spPr>
        <a:xfrm rot="5400000">
          <a:off x="-148848" y="1178805"/>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3A94AF2-A702-4098-BBF8-E78BBA5F1D6D}">
      <dsp:nvSpPr>
        <dsp:cNvPr id="0" name=""/>
        <dsp:cNvSpPr/>
      </dsp:nvSpPr>
      <dsp:spPr>
        <a:xfrm>
          <a:off x="437" y="755293"/>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llaboration/ KM Management</a:t>
          </a:r>
          <a:endParaRPr lang="en-US" sz="900" kern="1200" dirty="0"/>
        </a:p>
      </dsp:txBody>
      <dsp:txXfrm>
        <a:off x="16000" y="770856"/>
        <a:ext cx="854481" cy="500238"/>
      </dsp:txXfrm>
    </dsp:sp>
    <dsp:sp modelId="{57E7BDAE-DCE6-47E5-8E9C-B8C08ABA3F38}">
      <dsp:nvSpPr>
        <dsp:cNvPr id="0" name=""/>
        <dsp:cNvSpPr/>
      </dsp:nvSpPr>
      <dsp:spPr>
        <a:xfrm rot="5400000">
          <a:off x="-148848" y="1843011"/>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7934C21-ADF7-422F-B47B-B5A5A9ACA79D}">
      <dsp:nvSpPr>
        <dsp:cNvPr id="0" name=""/>
        <dsp:cNvSpPr/>
      </dsp:nvSpPr>
      <dsp:spPr>
        <a:xfrm>
          <a:off x="437" y="1419499"/>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Requirement Management</a:t>
          </a:r>
          <a:endParaRPr lang="en-US" sz="900" kern="1200" dirty="0"/>
        </a:p>
      </dsp:txBody>
      <dsp:txXfrm>
        <a:off x="16000" y="1435062"/>
        <a:ext cx="854481" cy="500238"/>
      </dsp:txXfrm>
    </dsp:sp>
    <dsp:sp modelId="{D5FA8DAC-FD33-47B2-AF30-E334B817887F}">
      <dsp:nvSpPr>
        <dsp:cNvPr id="0" name=""/>
        <dsp:cNvSpPr/>
      </dsp:nvSpPr>
      <dsp:spPr>
        <a:xfrm rot="5400000">
          <a:off x="-148848" y="2507216"/>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25792AB4-3AFD-4F68-897D-F8B7E034032A}">
      <dsp:nvSpPr>
        <dsp:cNvPr id="0" name=""/>
        <dsp:cNvSpPr/>
      </dsp:nvSpPr>
      <dsp:spPr>
        <a:xfrm>
          <a:off x="437" y="2083705"/>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heckout</a:t>
          </a:r>
          <a:endParaRPr lang="en-US" sz="900" kern="1200" dirty="0"/>
        </a:p>
      </dsp:txBody>
      <dsp:txXfrm>
        <a:off x="16000" y="2099268"/>
        <a:ext cx="854481" cy="500238"/>
      </dsp:txXfrm>
    </dsp:sp>
    <dsp:sp modelId="{F524A3C2-2F47-4EC7-9192-FF87140744A2}">
      <dsp:nvSpPr>
        <dsp:cNvPr id="0" name=""/>
        <dsp:cNvSpPr/>
      </dsp:nvSpPr>
      <dsp:spPr>
        <a:xfrm>
          <a:off x="183254" y="2839319"/>
          <a:ext cx="1172163"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E9A9EE7-92C5-4699-8669-56116A772C24}">
      <dsp:nvSpPr>
        <dsp:cNvPr id="0" name=""/>
        <dsp:cNvSpPr/>
      </dsp:nvSpPr>
      <dsp:spPr>
        <a:xfrm>
          <a:off x="437" y="2747911"/>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struction</a:t>
          </a:r>
          <a:endParaRPr lang="en-US" sz="900" kern="1200" dirty="0"/>
        </a:p>
      </dsp:txBody>
      <dsp:txXfrm>
        <a:off x="16000" y="2763474"/>
        <a:ext cx="854481" cy="500238"/>
      </dsp:txXfrm>
    </dsp:sp>
    <dsp:sp modelId="{49E3A27E-2060-4282-930E-AB4FCEE55EDC}">
      <dsp:nvSpPr>
        <dsp:cNvPr id="0" name=""/>
        <dsp:cNvSpPr/>
      </dsp:nvSpPr>
      <dsp:spPr>
        <a:xfrm rot="16200000">
          <a:off x="1029009" y="2507216"/>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4857B1DA-2507-499A-A5D5-C0764C8CAA3E}">
      <dsp:nvSpPr>
        <dsp:cNvPr id="0" name=""/>
        <dsp:cNvSpPr/>
      </dsp:nvSpPr>
      <dsp:spPr>
        <a:xfrm>
          <a:off x="1178295" y="2747911"/>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nit Testing</a:t>
          </a:r>
          <a:endParaRPr lang="en-US" sz="900" kern="1200" dirty="0"/>
        </a:p>
      </dsp:txBody>
      <dsp:txXfrm>
        <a:off x="1193858" y="2763474"/>
        <a:ext cx="854481" cy="500238"/>
      </dsp:txXfrm>
    </dsp:sp>
    <dsp:sp modelId="{B630B3E9-C976-4814-8F94-C0C4A230ADBF}">
      <dsp:nvSpPr>
        <dsp:cNvPr id="0" name=""/>
        <dsp:cNvSpPr/>
      </dsp:nvSpPr>
      <dsp:spPr>
        <a:xfrm rot="16200000">
          <a:off x="1029009" y="1843011"/>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035CB83-BBB4-4446-A112-13AF53CB77D8}">
      <dsp:nvSpPr>
        <dsp:cNvPr id="0" name=""/>
        <dsp:cNvSpPr/>
      </dsp:nvSpPr>
      <dsp:spPr>
        <a:xfrm>
          <a:off x="1178295" y="2083705"/>
          <a:ext cx="885607" cy="531364"/>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Review</a:t>
          </a:r>
          <a:endParaRPr lang="en-US" sz="900" kern="1200" dirty="0"/>
        </a:p>
      </dsp:txBody>
      <dsp:txXfrm>
        <a:off x="1193858" y="2099268"/>
        <a:ext cx="854481" cy="500238"/>
      </dsp:txXfrm>
    </dsp:sp>
    <dsp:sp modelId="{102024F8-46FB-49EA-846C-1146B6011A6D}">
      <dsp:nvSpPr>
        <dsp:cNvPr id="0" name=""/>
        <dsp:cNvSpPr/>
      </dsp:nvSpPr>
      <dsp:spPr>
        <a:xfrm rot="16200000">
          <a:off x="1029009" y="1178805"/>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9FD8211-2BCA-47BB-831A-240575A82F59}">
      <dsp:nvSpPr>
        <dsp:cNvPr id="0" name=""/>
        <dsp:cNvSpPr/>
      </dsp:nvSpPr>
      <dsp:spPr>
        <a:xfrm>
          <a:off x="1178295" y="1419499"/>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Code Conflict Management</a:t>
          </a:r>
          <a:endParaRPr lang="en-US" sz="900" kern="1200" dirty="0"/>
        </a:p>
      </dsp:txBody>
      <dsp:txXfrm>
        <a:off x="1193858" y="1435062"/>
        <a:ext cx="854481" cy="500238"/>
      </dsp:txXfrm>
    </dsp:sp>
    <dsp:sp modelId="{26601E23-47AA-4256-A218-A825457954F3}">
      <dsp:nvSpPr>
        <dsp:cNvPr id="0" name=""/>
        <dsp:cNvSpPr/>
      </dsp:nvSpPr>
      <dsp:spPr>
        <a:xfrm rot="16200000">
          <a:off x="1029009" y="514599"/>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5EA1F8C6-C86C-4503-BC0D-7BD03573E398}">
      <dsp:nvSpPr>
        <dsp:cNvPr id="0" name=""/>
        <dsp:cNvSpPr/>
      </dsp:nvSpPr>
      <dsp:spPr>
        <a:xfrm>
          <a:off x="1178295" y="755293"/>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Version Management</a:t>
          </a:r>
          <a:endParaRPr lang="en-US" sz="900" kern="1200" dirty="0"/>
        </a:p>
      </dsp:txBody>
      <dsp:txXfrm>
        <a:off x="1193858" y="770856"/>
        <a:ext cx="854481" cy="500238"/>
      </dsp:txXfrm>
    </dsp:sp>
    <dsp:sp modelId="{3C2DD09D-26A9-46AC-84EB-C215991B44BB}">
      <dsp:nvSpPr>
        <dsp:cNvPr id="0" name=""/>
        <dsp:cNvSpPr/>
      </dsp:nvSpPr>
      <dsp:spPr>
        <a:xfrm>
          <a:off x="1361112" y="182496"/>
          <a:ext cx="1172163"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50BFC0-B4D6-4BC3-B5E4-CF59BDFABE2A}">
      <dsp:nvSpPr>
        <dsp:cNvPr id="0" name=""/>
        <dsp:cNvSpPr/>
      </dsp:nvSpPr>
      <dsp:spPr>
        <a:xfrm>
          <a:off x="1178295" y="91087"/>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Build</a:t>
          </a:r>
          <a:endParaRPr lang="en-US" sz="900" kern="1200" dirty="0"/>
        </a:p>
      </dsp:txBody>
      <dsp:txXfrm>
        <a:off x="1193858" y="106650"/>
        <a:ext cx="854481" cy="500238"/>
      </dsp:txXfrm>
    </dsp:sp>
    <dsp:sp modelId="{EE1B6901-BA8E-4105-96F4-42FA568E72BE}">
      <dsp:nvSpPr>
        <dsp:cNvPr id="0" name=""/>
        <dsp:cNvSpPr/>
      </dsp:nvSpPr>
      <dsp:spPr>
        <a:xfrm rot="5400000">
          <a:off x="2206868" y="514599"/>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68F451B-07D1-4CC8-8C09-0A6CFF49BCE8}">
      <dsp:nvSpPr>
        <dsp:cNvPr id="0" name=""/>
        <dsp:cNvSpPr/>
      </dsp:nvSpPr>
      <dsp:spPr>
        <a:xfrm>
          <a:off x="2356154" y="91087"/>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tatic/Dynamic Code Analysis</a:t>
          </a:r>
          <a:endParaRPr lang="en-US" sz="900" kern="1200" dirty="0"/>
        </a:p>
      </dsp:txBody>
      <dsp:txXfrm>
        <a:off x="2371717" y="106650"/>
        <a:ext cx="854481" cy="500238"/>
      </dsp:txXfrm>
    </dsp:sp>
    <dsp:sp modelId="{6C96EEF3-BDD2-46B0-9775-DB0AD7122BCA}">
      <dsp:nvSpPr>
        <dsp:cNvPr id="0" name=""/>
        <dsp:cNvSpPr/>
      </dsp:nvSpPr>
      <dsp:spPr>
        <a:xfrm rot="5400000">
          <a:off x="2206868" y="1178805"/>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1B96307D-B72E-46CA-99C3-DF4964887F61}">
      <dsp:nvSpPr>
        <dsp:cNvPr id="0" name=""/>
        <dsp:cNvSpPr/>
      </dsp:nvSpPr>
      <dsp:spPr>
        <a:xfrm>
          <a:off x="2356154" y="755293"/>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Tag Release</a:t>
          </a:r>
          <a:endParaRPr lang="en-US" sz="900" kern="1200" dirty="0"/>
        </a:p>
      </dsp:txBody>
      <dsp:txXfrm>
        <a:off x="2371717" y="770856"/>
        <a:ext cx="854481" cy="500238"/>
      </dsp:txXfrm>
    </dsp:sp>
    <dsp:sp modelId="{F6FC2ECE-CFEF-4937-9FA9-7386B67A1865}">
      <dsp:nvSpPr>
        <dsp:cNvPr id="0" name=""/>
        <dsp:cNvSpPr/>
      </dsp:nvSpPr>
      <dsp:spPr>
        <a:xfrm rot="5400000">
          <a:off x="2206868" y="1843011"/>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B428A3B2-862D-4B94-BDCF-12B1A0C11E4D}">
      <dsp:nvSpPr>
        <dsp:cNvPr id="0" name=""/>
        <dsp:cNvSpPr/>
      </dsp:nvSpPr>
      <dsp:spPr>
        <a:xfrm>
          <a:off x="2356154" y="1419499"/>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ackage and Artifact </a:t>
          </a:r>
          <a:r>
            <a:rPr lang="en-US" sz="900" kern="1200" dirty="0" err="1" smtClean="0"/>
            <a:t>Mngt</a:t>
          </a:r>
          <a:r>
            <a:rPr lang="en-US" sz="900" kern="1200" dirty="0" smtClean="0"/>
            <a:t>.</a:t>
          </a:r>
          <a:endParaRPr lang="en-US" sz="900" kern="1200" dirty="0"/>
        </a:p>
      </dsp:txBody>
      <dsp:txXfrm>
        <a:off x="2371717" y="1435062"/>
        <a:ext cx="854481" cy="500238"/>
      </dsp:txXfrm>
    </dsp:sp>
    <dsp:sp modelId="{336F546F-1FDC-4E18-95BF-FE0101C6AA07}">
      <dsp:nvSpPr>
        <dsp:cNvPr id="0" name=""/>
        <dsp:cNvSpPr/>
      </dsp:nvSpPr>
      <dsp:spPr>
        <a:xfrm rot="5400000">
          <a:off x="2206868" y="2507216"/>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D46D306B-4D14-46FF-9643-9239C46D8CAC}">
      <dsp:nvSpPr>
        <dsp:cNvPr id="0" name=""/>
        <dsp:cNvSpPr/>
      </dsp:nvSpPr>
      <dsp:spPr>
        <a:xfrm>
          <a:off x="2356154" y="2083705"/>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QA/SIT/UAT</a:t>
          </a:r>
          <a:endParaRPr lang="en-US" sz="900" kern="1200" dirty="0"/>
        </a:p>
      </dsp:txBody>
      <dsp:txXfrm>
        <a:off x="2371717" y="2099268"/>
        <a:ext cx="854481" cy="500238"/>
      </dsp:txXfrm>
    </dsp:sp>
    <dsp:sp modelId="{71178B63-9DA7-4EB2-B893-CB8B1DDC5504}">
      <dsp:nvSpPr>
        <dsp:cNvPr id="0" name=""/>
        <dsp:cNvSpPr/>
      </dsp:nvSpPr>
      <dsp:spPr>
        <a:xfrm>
          <a:off x="2538970" y="2839319"/>
          <a:ext cx="1172163"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865CC9CB-4D1A-4BBD-89CB-C6A0A3D909BD}">
      <dsp:nvSpPr>
        <dsp:cNvPr id="0" name=""/>
        <dsp:cNvSpPr/>
      </dsp:nvSpPr>
      <dsp:spPr>
        <a:xfrm>
          <a:off x="2356154" y="2747911"/>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solidFill>
            </a:rPr>
            <a:t>Functional Testing</a:t>
          </a:r>
          <a:endParaRPr lang="en-US" sz="900" kern="1200" dirty="0">
            <a:solidFill>
              <a:schemeClr val="bg1"/>
            </a:solidFill>
          </a:endParaRPr>
        </a:p>
      </dsp:txBody>
      <dsp:txXfrm>
        <a:off x="2371717" y="2763474"/>
        <a:ext cx="854481" cy="500238"/>
      </dsp:txXfrm>
    </dsp:sp>
    <dsp:sp modelId="{9B25D534-E41D-4E66-9ABC-EB6CCB037EBF}">
      <dsp:nvSpPr>
        <dsp:cNvPr id="0" name=""/>
        <dsp:cNvSpPr/>
      </dsp:nvSpPr>
      <dsp:spPr>
        <a:xfrm rot="16200000">
          <a:off x="3384726" y="2507216"/>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032526AA-CA4F-47A6-8833-CC4E299DB417}">
      <dsp:nvSpPr>
        <dsp:cNvPr id="0" name=""/>
        <dsp:cNvSpPr/>
      </dsp:nvSpPr>
      <dsp:spPr>
        <a:xfrm>
          <a:off x="3534012" y="2747911"/>
          <a:ext cx="885607" cy="531364"/>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Integration Testing</a:t>
          </a:r>
          <a:endParaRPr lang="en-US" sz="900" kern="1200" dirty="0"/>
        </a:p>
      </dsp:txBody>
      <dsp:txXfrm>
        <a:off x="3549575" y="2763474"/>
        <a:ext cx="854481" cy="500238"/>
      </dsp:txXfrm>
    </dsp:sp>
    <dsp:sp modelId="{89D00D1F-943B-48DA-A8FD-AC043957EA6D}">
      <dsp:nvSpPr>
        <dsp:cNvPr id="0" name=""/>
        <dsp:cNvSpPr/>
      </dsp:nvSpPr>
      <dsp:spPr>
        <a:xfrm rot="16200000">
          <a:off x="3384726" y="1843011"/>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E85740BD-7D7E-4766-A8DC-1A35B1C1FEC9}">
      <dsp:nvSpPr>
        <dsp:cNvPr id="0" name=""/>
        <dsp:cNvSpPr/>
      </dsp:nvSpPr>
      <dsp:spPr>
        <a:xfrm>
          <a:off x="3534012" y="2083705"/>
          <a:ext cx="885607" cy="531364"/>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curity Testing</a:t>
          </a:r>
          <a:endParaRPr lang="en-US" sz="900" kern="1200" dirty="0"/>
        </a:p>
      </dsp:txBody>
      <dsp:txXfrm>
        <a:off x="3549575" y="2099268"/>
        <a:ext cx="854481" cy="500238"/>
      </dsp:txXfrm>
    </dsp:sp>
    <dsp:sp modelId="{A1C00C4B-A7DA-42E9-8FF6-0516DAF3992D}">
      <dsp:nvSpPr>
        <dsp:cNvPr id="0" name=""/>
        <dsp:cNvSpPr/>
      </dsp:nvSpPr>
      <dsp:spPr>
        <a:xfrm rot="16200000">
          <a:off x="3384726" y="1178805"/>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37C0B14A-2A81-4DA6-A4DE-8B0C0FD97FC1}">
      <dsp:nvSpPr>
        <dsp:cNvPr id="0" name=""/>
        <dsp:cNvSpPr/>
      </dsp:nvSpPr>
      <dsp:spPr>
        <a:xfrm>
          <a:off x="3534012" y="1419499"/>
          <a:ext cx="885607" cy="531364"/>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Performance Testing</a:t>
          </a:r>
          <a:endParaRPr lang="en-US" sz="900" kern="1200" dirty="0"/>
        </a:p>
      </dsp:txBody>
      <dsp:txXfrm>
        <a:off x="3549575" y="1435062"/>
        <a:ext cx="854481" cy="500238"/>
      </dsp:txXfrm>
    </dsp:sp>
    <dsp:sp modelId="{BB525EF4-11CA-4AF0-9D05-0890477F605B}">
      <dsp:nvSpPr>
        <dsp:cNvPr id="0" name=""/>
        <dsp:cNvSpPr/>
      </dsp:nvSpPr>
      <dsp:spPr>
        <a:xfrm rot="16200000">
          <a:off x="3384726" y="514599"/>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944E00CC-E210-4FBC-BC90-6DD58207E1A0}">
      <dsp:nvSpPr>
        <dsp:cNvPr id="0" name=""/>
        <dsp:cNvSpPr/>
      </dsp:nvSpPr>
      <dsp:spPr>
        <a:xfrm>
          <a:off x="3534012" y="755293"/>
          <a:ext cx="885607" cy="531364"/>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User Acceptance Testing</a:t>
          </a:r>
          <a:endParaRPr lang="en-US" sz="900" kern="1200" dirty="0"/>
        </a:p>
      </dsp:txBody>
      <dsp:txXfrm>
        <a:off x="3549575" y="770856"/>
        <a:ext cx="854481" cy="500238"/>
      </dsp:txXfrm>
    </dsp:sp>
    <dsp:sp modelId="{8AEDD5ED-C456-404E-A0C1-9FCD061445C8}">
      <dsp:nvSpPr>
        <dsp:cNvPr id="0" name=""/>
        <dsp:cNvSpPr/>
      </dsp:nvSpPr>
      <dsp:spPr>
        <a:xfrm>
          <a:off x="3716829" y="182496"/>
          <a:ext cx="1172163"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AB49DBB2-8BF6-48D2-AD6B-E4C56A5DA215}">
      <dsp:nvSpPr>
        <dsp:cNvPr id="0" name=""/>
        <dsp:cNvSpPr/>
      </dsp:nvSpPr>
      <dsp:spPr>
        <a:xfrm>
          <a:off x="3534012" y="91087"/>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Service Management</a:t>
          </a:r>
          <a:endParaRPr lang="en-US" sz="900" kern="1200" dirty="0"/>
        </a:p>
      </dsp:txBody>
      <dsp:txXfrm>
        <a:off x="3549575" y="106650"/>
        <a:ext cx="854481" cy="500238"/>
      </dsp:txXfrm>
    </dsp:sp>
    <dsp:sp modelId="{FC461A49-6E8A-4765-BDC6-DF366118A9DB}">
      <dsp:nvSpPr>
        <dsp:cNvPr id="0" name=""/>
        <dsp:cNvSpPr/>
      </dsp:nvSpPr>
      <dsp:spPr>
        <a:xfrm rot="5400000">
          <a:off x="4562584" y="514599"/>
          <a:ext cx="658510" cy="79704"/>
        </a:xfrm>
        <a:prstGeom prst="rect">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sp>
    <dsp:sp modelId="{C50EEFDE-E4D4-43BF-B3E0-15EBCF9D5439}">
      <dsp:nvSpPr>
        <dsp:cNvPr id="0" name=""/>
        <dsp:cNvSpPr/>
      </dsp:nvSpPr>
      <dsp:spPr>
        <a:xfrm>
          <a:off x="4711870" y="91087"/>
          <a:ext cx="885607" cy="531364"/>
        </a:xfrm>
        <a:prstGeom prst="roundRect">
          <a:avLst>
            <a:gd name="adj" fmla="val 10000"/>
          </a:avLst>
        </a:prstGeom>
        <a:solidFill>
          <a:schemeClr val="accent4"/>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Deployment – Production</a:t>
          </a:r>
          <a:endParaRPr lang="en-US" sz="900" kern="1200" dirty="0"/>
        </a:p>
      </dsp:txBody>
      <dsp:txXfrm>
        <a:off x="4727433" y="106650"/>
        <a:ext cx="854481" cy="500238"/>
      </dsp:txXfrm>
    </dsp:sp>
    <dsp:sp modelId="{2847F226-AA4E-451E-8FA8-84F2FF69A214}">
      <dsp:nvSpPr>
        <dsp:cNvPr id="0" name=""/>
        <dsp:cNvSpPr/>
      </dsp:nvSpPr>
      <dsp:spPr>
        <a:xfrm>
          <a:off x="4711870" y="755293"/>
          <a:ext cx="885607" cy="531364"/>
        </a:xfrm>
        <a:prstGeom prst="roundRect">
          <a:avLst>
            <a:gd name="adj" fmla="val 10000"/>
          </a:avLst>
        </a:prstGeom>
        <a:solidFill>
          <a:schemeClr val="bg2"/>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t>Monitoring</a:t>
          </a:r>
          <a:endParaRPr lang="en-US" sz="900" kern="1200" dirty="0"/>
        </a:p>
      </dsp:txBody>
      <dsp:txXfrm>
        <a:off x="4727433" y="770856"/>
        <a:ext cx="854481" cy="50023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01443-4336-42F7-8C6B-DFDDF8835326}">
      <dsp:nvSpPr>
        <dsp:cNvPr id="0" name=""/>
        <dsp:cNvSpPr/>
      </dsp:nvSpPr>
      <dsp:spPr>
        <a:xfrm>
          <a:off x="0" y="681108"/>
          <a:ext cx="743787" cy="239902"/>
        </a:xfrm>
        <a:prstGeom prst="roundRect">
          <a:avLst>
            <a:gd name="adj" fmla="val 10000"/>
          </a:avLst>
        </a:prstGeom>
        <a:solidFill>
          <a:schemeClr val="accent6"/>
        </a:solidFill>
        <a:ln w="28575"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Integration</a:t>
          </a:r>
          <a:endParaRPr lang="en-US" sz="1000" kern="1200" dirty="0">
            <a:solidFill>
              <a:schemeClr val="tx1">
                <a:lumMod val="50000"/>
              </a:schemeClr>
            </a:solidFill>
          </a:endParaRPr>
        </a:p>
      </dsp:txBody>
      <dsp:txXfrm>
        <a:off x="7026" y="688134"/>
        <a:ext cx="729735" cy="225850"/>
      </dsp:txXfrm>
    </dsp:sp>
    <dsp:sp modelId="{5547DDF0-2341-44E8-B909-599AD9A38258}">
      <dsp:nvSpPr>
        <dsp:cNvPr id="0" name=""/>
        <dsp:cNvSpPr/>
      </dsp:nvSpPr>
      <dsp:spPr>
        <a:xfrm rot="34886">
          <a:off x="1020041" y="707806"/>
          <a:ext cx="665597" cy="206415"/>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1020043" y="748775"/>
        <a:ext cx="603673" cy="123849"/>
      </dsp:txXfrm>
    </dsp:sp>
    <dsp:sp modelId="{234CB822-5963-4284-953F-D197BC136D05}">
      <dsp:nvSpPr>
        <dsp:cNvPr id="0" name=""/>
        <dsp:cNvSpPr/>
      </dsp:nvSpPr>
      <dsp:spPr>
        <a:xfrm>
          <a:off x="1999566" y="687736"/>
          <a:ext cx="923950" cy="269058"/>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Compilation</a:t>
          </a:r>
          <a:endParaRPr lang="en-US" sz="1000" kern="1200" dirty="0">
            <a:solidFill>
              <a:schemeClr val="tx1">
                <a:lumMod val="50000"/>
              </a:schemeClr>
            </a:solidFill>
          </a:endParaRPr>
        </a:p>
      </dsp:txBody>
      <dsp:txXfrm>
        <a:off x="2007446" y="695616"/>
        <a:ext cx="908190" cy="253298"/>
      </dsp:txXfrm>
    </dsp:sp>
    <dsp:sp modelId="{FD3C48C4-668B-4C1A-B8DA-C84BB00FD71A}">
      <dsp:nvSpPr>
        <dsp:cNvPr id="0" name=""/>
        <dsp:cNvSpPr/>
      </dsp:nvSpPr>
      <dsp:spPr>
        <a:xfrm rot="43508">
          <a:off x="3184722" y="719705"/>
          <a:ext cx="629377" cy="231392"/>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3184725" y="765544"/>
        <a:ext cx="559959" cy="138836"/>
      </dsp:txXfrm>
    </dsp:sp>
    <dsp:sp modelId="{0FA49742-9D1F-4EDD-AF58-7EAC20D56457}">
      <dsp:nvSpPr>
        <dsp:cNvPr id="0" name=""/>
        <dsp:cNvSpPr/>
      </dsp:nvSpPr>
      <dsp:spPr>
        <a:xfrm>
          <a:off x="4110927" y="713542"/>
          <a:ext cx="946257" cy="271174"/>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Review</a:t>
          </a:r>
          <a:endParaRPr lang="en-US" sz="1000" kern="1200" dirty="0">
            <a:solidFill>
              <a:schemeClr val="tx1">
                <a:lumMod val="50000"/>
              </a:schemeClr>
            </a:solidFill>
          </a:endParaRPr>
        </a:p>
      </dsp:txBody>
      <dsp:txXfrm>
        <a:off x="4118869" y="721484"/>
        <a:ext cx="930373" cy="255290"/>
      </dsp:txXfrm>
    </dsp:sp>
    <dsp:sp modelId="{88ACB480-0A4F-4659-927C-83A8E1B95987}">
      <dsp:nvSpPr>
        <dsp:cNvPr id="0" name=""/>
        <dsp:cNvSpPr/>
      </dsp:nvSpPr>
      <dsp:spPr>
        <a:xfrm rot="21568777">
          <a:off x="5393191" y="736679"/>
          <a:ext cx="809544" cy="202850"/>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5393192" y="777525"/>
        <a:ext cx="748689" cy="121710"/>
      </dsp:txXfrm>
    </dsp:sp>
    <dsp:sp modelId="{F8B9390E-069E-4704-831C-E70BEB8A89D4}">
      <dsp:nvSpPr>
        <dsp:cNvPr id="0" name=""/>
        <dsp:cNvSpPr/>
      </dsp:nvSpPr>
      <dsp:spPr>
        <a:xfrm>
          <a:off x="6584564" y="707596"/>
          <a:ext cx="908616" cy="238475"/>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Unit Testing</a:t>
          </a:r>
          <a:endParaRPr lang="en-US" sz="1000" kern="1200" dirty="0">
            <a:solidFill>
              <a:schemeClr val="tx1">
                <a:lumMod val="50000"/>
              </a:schemeClr>
            </a:solidFill>
          </a:endParaRPr>
        </a:p>
      </dsp:txBody>
      <dsp:txXfrm>
        <a:off x="6591549" y="714581"/>
        <a:ext cx="894646" cy="224505"/>
      </dsp:txXfrm>
    </dsp:sp>
    <dsp:sp modelId="{A2CEBB0F-A3AC-4A4D-BE84-01708D590085}">
      <dsp:nvSpPr>
        <dsp:cNvPr id="0" name=""/>
        <dsp:cNvSpPr/>
      </dsp:nvSpPr>
      <dsp:spPr>
        <a:xfrm rot="5246904">
          <a:off x="7285196" y="1889164"/>
          <a:ext cx="545881" cy="184459"/>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5400000">
        <a:off x="7501567" y="1708480"/>
        <a:ext cx="110675" cy="490543"/>
      </dsp:txXfrm>
    </dsp:sp>
    <dsp:sp modelId="{54E93AE6-435F-4C31-8B95-D31A688EF26F}">
      <dsp:nvSpPr>
        <dsp:cNvPr id="0" name=""/>
        <dsp:cNvSpPr/>
      </dsp:nvSpPr>
      <dsp:spPr>
        <a:xfrm>
          <a:off x="6756766" y="2865731"/>
          <a:ext cx="857645" cy="291707"/>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lumMod val="50000"/>
                </a:schemeClr>
              </a:solidFill>
            </a:rPr>
            <a:t>Build</a:t>
          </a:r>
        </a:p>
      </dsp:txBody>
      <dsp:txXfrm>
        <a:off x="6765310" y="2874275"/>
        <a:ext cx="840557" cy="274619"/>
      </dsp:txXfrm>
    </dsp:sp>
    <dsp:sp modelId="{DBDEE197-C7AF-4F19-A792-17296AEFE828}">
      <dsp:nvSpPr>
        <dsp:cNvPr id="0" name=""/>
        <dsp:cNvSpPr/>
      </dsp:nvSpPr>
      <dsp:spPr>
        <a:xfrm rot="10758275">
          <a:off x="6107395" y="2915991"/>
          <a:ext cx="544773" cy="210748"/>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6170617" y="2957757"/>
        <a:ext cx="481549" cy="126448"/>
      </dsp:txXfrm>
    </dsp:sp>
    <dsp:sp modelId="{5125F8CA-6B50-4F4D-802B-A1CD97D4F06C}">
      <dsp:nvSpPr>
        <dsp:cNvPr id="0" name=""/>
        <dsp:cNvSpPr/>
      </dsp:nvSpPr>
      <dsp:spPr>
        <a:xfrm>
          <a:off x="4958287" y="2889421"/>
          <a:ext cx="1021191" cy="286001"/>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Packaging</a:t>
          </a:r>
        </a:p>
      </dsp:txBody>
      <dsp:txXfrm>
        <a:off x="4966664" y="2897798"/>
        <a:ext cx="1004437" cy="269247"/>
      </dsp:txXfrm>
    </dsp:sp>
    <dsp:sp modelId="{947FD77F-D02E-409A-A799-6984F43C2EC2}">
      <dsp:nvSpPr>
        <dsp:cNvPr id="0" name=""/>
        <dsp:cNvSpPr/>
      </dsp:nvSpPr>
      <dsp:spPr>
        <a:xfrm rot="10791927" flipV="1">
          <a:off x="4476998" y="2933739"/>
          <a:ext cx="404019" cy="193655"/>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n-US" sz="800" kern="1200" dirty="0">
            <a:solidFill>
              <a:schemeClr val="tx1"/>
            </a:solidFill>
          </a:endParaRPr>
        </a:p>
      </dsp:txBody>
      <dsp:txXfrm rot="10800000">
        <a:off x="4535094" y="2972402"/>
        <a:ext cx="345923" cy="116193"/>
      </dsp:txXfrm>
    </dsp:sp>
    <dsp:sp modelId="{6B047922-162F-4B6E-A9DA-FA4C2E92B232}">
      <dsp:nvSpPr>
        <dsp:cNvPr id="0" name=""/>
        <dsp:cNvSpPr/>
      </dsp:nvSpPr>
      <dsp:spPr>
        <a:xfrm>
          <a:off x="3483695" y="2879083"/>
          <a:ext cx="898758" cy="299465"/>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Deployment</a:t>
          </a:r>
        </a:p>
      </dsp:txBody>
      <dsp:txXfrm>
        <a:off x="3492466" y="2887854"/>
        <a:ext cx="881216" cy="281923"/>
      </dsp:txXfrm>
    </dsp:sp>
    <dsp:sp modelId="{16DE901F-1592-4E42-B78A-D358DA3DA820}">
      <dsp:nvSpPr>
        <dsp:cNvPr id="0" name=""/>
        <dsp:cNvSpPr/>
      </dsp:nvSpPr>
      <dsp:spPr>
        <a:xfrm rot="10877884">
          <a:off x="2816678" y="2890308"/>
          <a:ext cx="471436" cy="237103"/>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2887800" y="2938535"/>
        <a:ext cx="400305" cy="142261"/>
      </dsp:txXfrm>
    </dsp:sp>
    <dsp:sp modelId="{1C88D81E-920E-46DA-BD72-326FA7CD9A04}">
      <dsp:nvSpPr>
        <dsp:cNvPr id="0" name=""/>
        <dsp:cNvSpPr/>
      </dsp:nvSpPr>
      <dsp:spPr>
        <a:xfrm>
          <a:off x="1613193" y="2858237"/>
          <a:ext cx="981226" cy="258255"/>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QA Testing </a:t>
          </a:r>
        </a:p>
      </dsp:txBody>
      <dsp:txXfrm>
        <a:off x="1620757" y="2865801"/>
        <a:ext cx="966098" cy="243127"/>
      </dsp:txXfrm>
    </dsp:sp>
    <dsp:sp modelId="{58FE53D6-98F4-407B-8451-857BFFF87C5C}">
      <dsp:nvSpPr>
        <dsp:cNvPr id="0" name=""/>
        <dsp:cNvSpPr/>
      </dsp:nvSpPr>
      <dsp:spPr>
        <a:xfrm rot="10766093">
          <a:off x="890492" y="2878826"/>
          <a:ext cx="485526" cy="233969"/>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960681" y="2925274"/>
        <a:ext cx="415335" cy="140381"/>
      </dsp:txXfrm>
    </dsp:sp>
    <dsp:sp modelId="{E422F7D2-586C-40CF-8C61-74A7FA642D2F}">
      <dsp:nvSpPr>
        <dsp:cNvPr id="0" name=""/>
        <dsp:cNvSpPr/>
      </dsp:nvSpPr>
      <dsp:spPr>
        <a:xfrm>
          <a:off x="28457" y="2872620"/>
          <a:ext cx="668692" cy="263833"/>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Release</a:t>
          </a:r>
        </a:p>
      </dsp:txBody>
      <dsp:txXfrm>
        <a:off x="36184" y="2880347"/>
        <a:ext cx="653238" cy="2483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01443-4336-42F7-8C6B-DFDDF8835326}">
      <dsp:nvSpPr>
        <dsp:cNvPr id="0" name=""/>
        <dsp:cNvSpPr/>
      </dsp:nvSpPr>
      <dsp:spPr>
        <a:xfrm>
          <a:off x="465058" y="710358"/>
          <a:ext cx="778995" cy="251258"/>
        </a:xfrm>
        <a:prstGeom prst="roundRect">
          <a:avLst>
            <a:gd name="adj" fmla="val 10000"/>
          </a:avLst>
        </a:prstGeom>
        <a:solidFill>
          <a:schemeClr val="accent6"/>
        </a:solidFill>
        <a:ln w="28575"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Integration</a:t>
          </a:r>
          <a:endParaRPr lang="en-US" sz="1000" kern="1200" dirty="0">
            <a:solidFill>
              <a:schemeClr val="tx1">
                <a:lumMod val="50000"/>
              </a:schemeClr>
            </a:solidFill>
          </a:endParaRPr>
        </a:p>
      </dsp:txBody>
      <dsp:txXfrm>
        <a:off x="472417" y="717717"/>
        <a:ext cx="764277" cy="236540"/>
      </dsp:txXfrm>
    </dsp:sp>
    <dsp:sp modelId="{5547DDF0-2341-44E8-B909-599AD9A38258}">
      <dsp:nvSpPr>
        <dsp:cNvPr id="0" name=""/>
        <dsp:cNvSpPr/>
      </dsp:nvSpPr>
      <dsp:spPr>
        <a:xfrm rot="21590666">
          <a:off x="1601447" y="724698"/>
          <a:ext cx="861001" cy="216186"/>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1601447" y="768023"/>
        <a:ext cx="796145" cy="129712"/>
      </dsp:txXfrm>
    </dsp:sp>
    <dsp:sp modelId="{234CB822-5963-4284-953F-D197BC136D05}">
      <dsp:nvSpPr>
        <dsp:cNvPr id="0" name=""/>
        <dsp:cNvSpPr/>
      </dsp:nvSpPr>
      <dsp:spPr>
        <a:xfrm>
          <a:off x="2868579" y="688308"/>
          <a:ext cx="967686" cy="281794"/>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Compilation</a:t>
          </a:r>
          <a:endParaRPr lang="en-US" sz="1000" kern="1200" dirty="0">
            <a:solidFill>
              <a:schemeClr val="tx1">
                <a:lumMod val="50000"/>
              </a:schemeClr>
            </a:solidFill>
          </a:endParaRPr>
        </a:p>
      </dsp:txBody>
      <dsp:txXfrm>
        <a:off x="2876832" y="696561"/>
        <a:ext cx="951180" cy="265288"/>
      </dsp:txXfrm>
    </dsp:sp>
    <dsp:sp modelId="{FD3C48C4-668B-4C1A-B8DA-C84BB00FD71A}">
      <dsp:nvSpPr>
        <dsp:cNvPr id="0" name=""/>
        <dsp:cNvSpPr/>
      </dsp:nvSpPr>
      <dsp:spPr>
        <a:xfrm rot="11502">
          <a:off x="4075310" y="711415"/>
          <a:ext cx="575885" cy="242345"/>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4075310" y="759762"/>
        <a:ext cx="503182" cy="145407"/>
      </dsp:txXfrm>
    </dsp:sp>
    <dsp:sp modelId="{0FA49742-9D1F-4EDD-AF58-7EAC20D56457}">
      <dsp:nvSpPr>
        <dsp:cNvPr id="0" name=""/>
        <dsp:cNvSpPr/>
      </dsp:nvSpPr>
      <dsp:spPr>
        <a:xfrm>
          <a:off x="4922836" y="693680"/>
          <a:ext cx="732718" cy="284010"/>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Review</a:t>
          </a:r>
          <a:endParaRPr lang="en-US" sz="1000" kern="1200" dirty="0">
            <a:solidFill>
              <a:schemeClr val="tx1">
                <a:lumMod val="50000"/>
              </a:schemeClr>
            </a:solidFill>
          </a:endParaRPr>
        </a:p>
      </dsp:txBody>
      <dsp:txXfrm>
        <a:off x="4931154" y="701998"/>
        <a:ext cx="716082" cy="267374"/>
      </dsp:txXfrm>
    </dsp:sp>
    <dsp:sp modelId="{88ACB480-0A4F-4659-927C-83A8E1B95987}">
      <dsp:nvSpPr>
        <dsp:cNvPr id="0" name=""/>
        <dsp:cNvSpPr/>
      </dsp:nvSpPr>
      <dsp:spPr>
        <a:xfrm rot="21584712">
          <a:off x="5945317" y="724989"/>
          <a:ext cx="698079" cy="212453"/>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5945317" y="767622"/>
        <a:ext cx="634343" cy="127471"/>
      </dsp:txXfrm>
    </dsp:sp>
    <dsp:sp modelId="{F8B9390E-069E-4704-831C-E70BEB8A89D4}">
      <dsp:nvSpPr>
        <dsp:cNvPr id="0" name=""/>
        <dsp:cNvSpPr/>
      </dsp:nvSpPr>
      <dsp:spPr>
        <a:xfrm>
          <a:off x="6972673" y="701201"/>
          <a:ext cx="951626" cy="249764"/>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Unit Testing</a:t>
          </a:r>
          <a:endParaRPr lang="en-US" sz="1000" kern="1200" dirty="0">
            <a:solidFill>
              <a:schemeClr val="tx1">
                <a:lumMod val="50000"/>
              </a:schemeClr>
            </a:solidFill>
          </a:endParaRPr>
        </a:p>
      </dsp:txBody>
      <dsp:txXfrm>
        <a:off x="6979988" y="708516"/>
        <a:ext cx="936996" cy="235134"/>
      </dsp:txXfrm>
    </dsp:sp>
    <dsp:sp modelId="{A2CEBB0F-A3AC-4A4D-BE84-01708D590085}">
      <dsp:nvSpPr>
        <dsp:cNvPr id="0" name=""/>
        <dsp:cNvSpPr/>
      </dsp:nvSpPr>
      <dsp:spPr>
        <a:xfrm rot="5268640">
          <a:off x="7531873" y="1905581"/>
          <a:ext cx="558831" cy="193190"/>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5400000">
        <a:off x="7752224" y="1722782"/>
        <a:ext cx="115914" cy="500874"/>
      </dsp:txXfrm>
    </dsp:sp>
    <dsp:sp modelId="{54E93AE6-435F-4C31-8B95-D31A688EF26F}">
      <dsp:nvSpPr>
        <dsp:cNvPr id="0" name=""/>
        <dsp:cNvSpPr/>
      </dsp:nvSpPr>
      <dsp:spPr>
        <a:xfrm>
          <a:off x="7135791" y="2916957"/>
          <a:ext cx="898242" cy="305515"/>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lumMod val="50000"/>
                </a:schemeClr>
              </a:solidFill>
            </a:rPr>
            <a:t>Build</a:t>
          </a:r>
        </a:p>
      </dsp:txBody>
      <dsp:txXfrm>
        <a:off x="7144739" y="2925905"/>
        <a:ext cx="880346" cy="287619"/>
      </dsp:txXfrm>
    </dsp:sp>
    <dsp:sp modelId="{DBDEE197-C7AF-4F19-A792-17296AEFE828}">
      <dsp:nvSpPr>
        <dsp:cNvPr id="0" name=""/>
        <dsp:cNvSpPr/>
      </dsp:nvSpPr>
      <dsp:spPr>
        <a:xfrm rot="10852297">
          <a:off x="6636733" y="2948112"/>
          <a:ext cx="418682" cy="220724"/>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6702946" y="2992761"/>
        <a:ext cx="352465" cy="132434"/>
      </dsp:txXfrm>
    </dsp:sp>
    <dsp:sp modelId="{5125F8CA-6B50-4F4D-802B-A1CD97D4F06C}">
      <dsp:nvSpPr>
        <dsp:cNvPr id="0" name=""/>
        <dsp:cNvSpPr/>
      </dsp:nvSpPr>
      <dsp:spPr>
        <a:xfrm>
          <a:off x="5468905" y="2895888"/>
          <a:ext cx="1069531" cy="299539"/>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Packaging</a:t>
          </a:r>
        </a:p>
      </dsp:txBody>
      <dsp:txXfrm>
        <a:off x="5477678" y="2904661"/>
        <a:ext cx="1051985" cy="281993"/>
      </dsp:txXfrm>
    </dsp:sp>
    <dsp:sp modelId="{947FD77F-D02E-409A-A799-6984F43C2EC2}">
      <dsp:nvSpPr>
        <dsp:cNvPr id="0" name=""/>
        <dsp:cNvSpPr/>
      </dsp:nvSpPr>
      <dsp:spPr>
        <a:xfrm rot="10821445" flipV="1">
          <a:off x="4952928" y="2949451"/>
          <a:ext cx="433143" cy="202821"/>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solidFill>
              <a:schemeClr val="tx1"/>
            </a:solidFill>
          </a:endParaRPr>
        </a:p>
      </dsp:txBody>
      <dsp:txXfrm rot="10800000">
        <a:off x="5013773" y="2990205"/>
        <a:ext cx="372297" cy="121693"/>
      </dsp:txXfrm>
    </dsp:sp>
    <dsp:sp modelId="{6B047922-162F-4B6E-A9DA-FA4C2E92B232}">
      <dsp:nvSpPr>
        <dsp:cNvPr id="0" name=""/>
        <dsp:cNvSpPr/>
      </dsp:nvSpPr>
      <dsp:spPr>
        <a:xfrm>
          <a:off x="3910271" y="2898960"/>
          <a:ext cx="941302" cy="313640"/>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Deployment</a:t>
          </a:r>
        </a:p>
      </dsp:txBody>
      <dsp:txXfrm>
        <a:off x="3919457" y="2908146"/>
        <a:ext cx="922930" cy="295268"/>
      </dsp:txXfrm>
    </dsp:sp>
    <dsp:sp modelId="{16DE901F-1592-4E42-B78A-D358DA3DA820}">
      <dsp:nvSpPr>
        <dsp:cNvPr id="0" name=""/>
        <dsp:cNvSpPr/>
      </dsp:nvSpPr>
      <dsp:spPr>
        <a:xfrm rot="10798879">
          <a:off x="3066070" y="2931949"/>
          <a:ext cx="596568" cy="248326"/>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3140568" y="2981602"/>
        <a:ext cx="522070" cy="148996"/>
      </dsp:txXfrm>
    </dsp:sp>
    <dsp:sp modelId="{1C88D81E-920E-46DA-BD72-326FA7CD9A04}">
      <dsp:nvSpPr>
        <dsp:cNvPr id="0" name=""/>
        <dsp:cNvSpPr/>
      </dsp:nvSpPr>
      <dsp:spPr>
        <a:xfrm>
          <a:off x="1756995" y="2921229"/>
          <a:ext cx="1027674" cy="270480"/>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QA Testing </a:t>
          </a:r>
        </a:p>
      </dsp:txBody>
      <dsp:txXfrm>
        <a:off x="1764917" y="2929151"/>
        <a:ext cx="1011830" cy="254636"/>
      </dsp:txXfrm>
    </dsp:sp>
    <dsp:sp modelId="{58FE53D6-98F4-407B-8451-857BFFF87C5C}">
      <dsp:nvSpPr>
        <dsp:cNvPr id="0" name=""/>
        <dsp:cNvSpPr/>
      </dsp:nvSpPr>
      <dsp:spPr>
        <a:xfrm rot="10757733">
          <a:off x="1135904" y="2945203"/>
          <a:ext cx="438925" cy="245044"/>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1209414" y="2993760"/>
        <a:ext cx="365412" cy="147026"/>
      </dsp:txXfrm>
    </dsp:sp>
    <dsp:sp modelId="{E422F7D2-586C-40CF-8C61-74A7FA642D2F}">
      <dsp:nvSpPr>
        <dsp:cNvPr id="0" name=""/>
        <dsp:cNvSpPr/>
      </dsp:nvSpPr>
      <dsp:spPr>
        <a:xfrm>
          <a:off x="228550" y="2939113"/>
          <a:ext cx="700346" cy="276322"/>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Release</a:t>
          </a:r>
        </a:p>
      </dsp:txBody>
      <dsp:txXfrm>
        <a:off x="236643" y="2947206"/>
        <a:ext cx="684160" cy="26013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01443-4336-42F7-8C6B-DFDDF8835326}">
      <dsp:nvSpPr>
        <dsp:cNvPr id="0" name=""/>
        <dsp:cNvSpPr/>
      </dsp:nvSpPr>
      <dsp:spPr>
        <a:xfrm>
          <a:off x="371525" y="684373"/>
          <a:ext cx="787068" cy="253862"/>
        </a:xfrm>
        <a:prstGeom prst="roundRect">
          <a:avLst>
            <a:gd name="adj" fmla="val 10000"/>
          </a:avLst>
        </a:prstGeom>
        <a:solidFill>
          <a:schemeClr val="accent6"/>
        </a:solidFill>
        <a:ln w="28575"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Integration</a:t>
          </a:r>
          <a:endParaRPr lang="en-US" sz="1000" kern="1200" dirty="0">
            <a:solidFill>
              <a:schemeClr val="tx1">
                <a:lumMod val="50000"/>
              </a:schemeClr>
            </a:solidFill>
          </a:endParaRPr>
        </a:p>
      </dsp:txBody>
      <dsp:txXfrm>
        <a:off x="378960" y="691808"/>
        <a:ext cx="772198" cy="238992"/>
      </dsp:txXfrm>
    </dsp:sp>
    <dsp:sp modelId="{5547DDF0-2341-44E8-B909-599AD9A38258}">
      <dsp:nvSpPr>
        <dsp:cNvPr id="0" name=""/>
        <dsp:cNvSpPr/>
      </dsp:nvSpPr>
      <dsp:spPr>
        <a:xfrm rot="33106">
          <a:off x="1539841" y="713976"/>
          <a:ext cx="918553" cy="218426"/>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1539843" y="757345"/>
        <a:ext cx="853025" cy="131056"/>
      </dsp:txXfrm>
    </dsp:sp>
    <dsp:sp modelId="{234CB822-5963-4284-953F-D197BC136D05}">
      <dsp:nvSpPr>
        <dsp:cNvPr id="0" name=""/>
        <dsp:cNvSpPr/>
      </dsp:nvSpPr>
      <dsp:spPr>
        <a:xfrm>
          <a:off x="2891633" y="694135"/>
          <a:ext cx="977715" cy="284715"/>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Compilation</a:t>
          </a:r>
          <a:endParaRPr lang="en-US" sz="1000" kern="1200" dirty="0">
            <a:solidFill>
              <a:schemeClr val="tx1">
                <a:lumMod val="50000"/>
              </a:schemeClr>
            </a:solidFill>
          </a:endParaRPr>
        </a:p>
      </dsp:txBody>
      <dsp:txXfrm>
        <a:off x="2899972" y="702474"/>
        <a:ext cx="961037" cy="268037"/>
      </dsp:txXfrm>
    </dsp:sp>
    <dsp:sp modelId="{FD3C48C4-668B-4C1A-B8DA-C84BB00FD71A}">
      <dsp:nvSpPr>
        <dsp:cNvPr id="0" name=""/>
        <dsp:cNvSpPr/>
      </dsp:nvSpPr>
      <dsp:spPr>
        <a:xfrm rot="11502">
          <a:off x="4110870" y="717481"/>
          <a:ext cx="581853" cy="244857"/>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4110870" y="766329"/>
        <a:ext cx="508396" cy="146915"/>
      </dsp:txXfrm>
    </dsp:sp>
    <dsp:sp modelId="{0FA49742-9D1F-4EDD-AF58-7EAC20D56457}">
      <dsp:nvSpPr>
        <dsp:cNvPr id="0" name=""/>
        <dsp:cNvSpPr/>
      </dsp:nvSpPr>
      <dsp:spPr>
        <a:xfrm>
          <a:off x="4967180" y="699562"/>
          <a:ext cx="740311" cy="286954"/>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Code Review</a:t>
          </a:r>
          <a:endParaRPr lang="en-US" sz="1000" kern="1200" dirty="0">
            <a:solidFill>
              <a:schemeClr val="tx1">
                <a:lumMod val="50000"/>
              </a:schemeClr>
            </a:solidFill>
          </a:endParaRPr>
        </a:p>
      </dsp:txBody>
      <dsp:txXfrm>
        <a:off x="4975585" y="707967"/>
        <a:ext cx="723501" cy="270144"/>
      </dsp:txXfrm>
    </dsp:sp>
    <dsp:sp modelId="{88ACB480-0A4F-4659-927C-83A8E1B95987}">
      <dsp:nvSpPr>
        <dsp:cNvPr id="0" name=""/>
        <dsp:cNvSpPr/>
      </dsp:nvSpPr>
      <dsp:spPr>
        <a:xfrm rot="12617">
          <a:off x="6043892" y="739793"/>
          <a:ext cx="810431" cy="214654"/>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a:off x="6043892" y="782606"/>
        <a:ext cx="746035" cy="128792"/>
      </dsp:txXfrm>
    </dsp:sp>
    <dsp:sp modelId="{F8B9390E-069E-4704-831C-E70BEB8A89D4}">
      <dsp:nvSpPr>
        <dsp:cNvPr id="0" name=""/>
        <dsp:cNvSpPr/>
      </dsp:nvSpPr>
      <dsp:spPr>
        <a:xfrm>
          <a:off x="7236597" y="725598"/>
          <a:ext cx="961489" cy="252352"/>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Unit Testing</a:t>
          </a:r>
          <a:endParaRPr lang="en-US" sz="1000" kern="1200" dirty="0">
            <a:solidFill>
              <a:schemeClr val="tx1">
                <a:lumMod val="50000"/>
              </a:schemeClr>
            </a:solidFill>
          </a:endParaRPr>
        </a:p>
      </dsp:txBody>
      <dsp:txXfrm>
        <a:off x="7243988" y="732989"/>
        <a:ext cx="946707" cy="237570"/>
      </dsp:txXfrm>
    </dsp:sp>
    <dsp:sp modelId="{A2CEBB0F-A3AC-4A4D-BE84-01708D590085}">
      <dsp:nvSpPr>
        <dsp:cNvPr id="0" name=""/>
        <dsp:cNvSpPr/>
      </dsp:nvSpPr>
      <dsp:spPr>
        <a:xfrm rot="5336132">
          <a:off x="7777725" y="1902275"/>
          <a:ext cx="540529" cy="195193"/>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5400000">
        <a:off x="7988888" y="1729612"/>
        <a:ext cx="117115" cy="481971"/>
      </dsp:txXfrm>
    </dsp:sp>
    <dsp:sp modelId="{54E93AE6-435F-4C31-8B95-D31A688EF26F}">
      <dsp:nvSpPr>
        <dsp:cNvPr id="0" name=""/>
        <dsp:cNvSpPr/>
      </dsp:nvSpPr>
      <dsp:spPr>
        <a:xfrm>
          <a:off x="7353377" y="2881461"/>
          <a:ext cx="907551" cy="308681"/>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lumMod val="50000"/>
                </a:schemeClr>
              </a:solidFill>
            </a:rPr>
            <a:t>Build</a:t>
          </a:r>
        </a:p>
      </dsp:txBody>
      <dsp:txXfrm>
        <a:off x="7362418" y="2890502"/>
        <a:ext cx="889469" cy="290599"/>
      </dsp:txXfrm>
    </dsp:sp>
    <dsp:sp modelId="{DBDEE197-C7AF-4F19-A792-17296AEFE828}">
      <dsp:nvSpPr>
        <dsp:cNvPr id="0" name=""/>
        <dsp:cNvSpPr/>
      </dsp:nvSpPr>
      <dsp:spPr>
        <a:xfrm rot="10735926">
          <a:off x="6739499" y="2939398"/>
          <a:ext cx="515027" cy="223011"/>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6806396" y="2983377"/>
        <a:ext cx="448124" cy="133807"/>
      </dsp:txXfrm>
    </dsp:sp>
    <dsp:sp modelId="{5125F8CA-6B50-4F4D-802B-A1CD97D4F06C}">
      <dsp:nvSpPr>
        <dsp:cNvPr id="0" name=""/>
        <dsp:cNvSpPr/>
      </dsp:nvSpPr>
      <dsp:spPr>
        <a:xfrm>
          <a:off x="5537990" y="2916707"/>
          <a:ext cx="1080615" cy="302643"/>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Packaging</a:t>
          </a:r>
        </a:p>
      </dsp:txBody>
      <dsp:txXfrm>
        <a:off x="5546854" y="2925571"/>
        <a:ext cx="1062887" cy="284915"/>
      </dsp:txXfrm>
    </dsp:sp>
    <dsp:sp modelId="{947FD77F-D02E-409A-A799-6984F43C2EC2}">
      <dsp:nvSpPr>
        <dsp:cNvPr id="0" name=""/>
        <dsp:cNvSpPr/>
      </dsp:nvSpPr>
      <dsp:spPr>
        <a:xfrm rot="10744027" flipV="1">
          <a:off x="5036677" y="2952032"/>
          <a:ext cx="420860" cy="204924"/>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solidFill>
              <a:schemeClr val="tx1"/>
            </a:solidFill>
          </a:endParaRPr>
        </a:p>
      </dsp:txBody>
      <dsp:txXfrm rot="10800000">
        <a:off x="5098150" y="2992517"/>
        <a:ext cx="359383" cy="122954"/>
      </dsp:txXfrm>
    </dsp:sp>
    <dsp:sp modelId="{6B047922-162F-4B6E-A9DA-FA4C2E92B232}">
      <dsp:nvSpPr>
        <dsp:cNvPr id="0" name=""/>
        <dsp:cNvSpPr/>
      </dsp:nvSpPr>
      <dsp:spPr>
        <a:xfrm>
          <a:off x="3987174" y="2883276"/>
          <a:ext cx="951058" cy="316891"/>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Deployment</a:t>
          </a:r>
        </a:p>
      </dsp:txBody>
      <dsp:txXfrm>
        <a:off x="3996455" y="2892557"/>
        <a:ext cx="932496" cy="298329"/>
      </dsp:txXfrm>
    </dsp:sp>
    <dsp:sp modelId="{16DE901F-1592-4E42-B78A-D358DA3DA820}">
      <dsp:nvSpPr>
        <dsp:cNvPr id="0" name=""/>
        <dsp:cNvSpPr/>
      </dsp:nvSpPr>
      <dsp:spPr>
        <a:xfrm rot="10837567">
          <a:off x="3364230" y="2906673"/>
          <a:ext cx="440231" cy="250900"/>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3439498" y="2957264"/>
        <a:ext cx="364961" cy="150540"/>
      </dsp:txXfrm>
    </dsp:sp>
    <dsp:sp modelId="{1C88D81E-920E-46DA-BD72-326FA7CD9A04}">
      <dsp:nvSpPr>
        <dsp:cNvPr id="0" name=""/>
        <dsp:cNvSpPr/>
      </dsp:nvSpPr>
      <dsp:spPr>
        <a:xfrm>
          <a:off x="2118274" y="2885133"/>
          <a:ext cx="1038324" cy="273283"/>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QA Testing </a:t>
          </a:r>
        </a:p>
      </dsp:txBody>
      <dsp:txXfrm>
        <a:off x="2126278" y="2893137"/>
        <a:ext cx="1022316" cy="257275"/>
      </dsp:txXfrm>
    </dsp:sp>
    <dsp:sp modelId="{58FE53D6-98F4-407B-8451-857BFFF87C5C}">
      <dsp:nvSpPr>
        <dsp:cNvPr id="0" name=""/>
        <dsp:cNvSpPr/>
      </dsp:nvSpPr>
      <dsp:spPr>
        <a:xfrm rot="10874666">
          <a:off x="1222422" y="2874122"/>
          <a:ext cx="633165" cy="247584"/>
        </a:xfrm>
        <a:prstGeom prst="rightArrow">
          <a:avLst>
            <a:gd name="adj1" fmla="val 60000"/>
            <a:gd name="adj2" fmla="val 50000"/>
          </a:avLst>
        </a:prstGeom>
        <a:solidFill>
          <a:schemeClr val="accent5"/>
        </a:solidFill>
        <a:ln w="19050" cap="flat" cmpd="sng" algn="ctr">
          <a:solidFill>
            <a:schemeClr val="lt1"/>
          </a:solidFill>
          <a:prstDash val="solid"/>
        </a:ln>
        <a:effectLst/>
      </dsp:spPr>
      <dsp:style>
        <a:lnRef idx="3">
          <a:schemeClr val="lt1"/>
        </a:lnRef>
        <a:fillRef idx="1">
          <a:schemeClr val="accent5"/>
        </a:fillRef>
        <a:effectRef idx="1">
          <a:schemeClr val="accent5"/>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solidFill>
              <a:schemeClr val="tx1"/>
            </a:solidFill>
          </a:endParaRPr>
        </a:p>
      </dsp:txBody>
      <dsp:txXfrm rot="10800000">
        <a:off x="1296688" y="2924446"/>
        <a:ext cx="558890" cy="148550"/>
      </dsp:txXfrm>
    </dsp:sp>
    <dsp:sp modelId="{E422F7D2-586C-40CF-8C61-74A7FA642D2F}">
      <dsp:nvSpPr>
        <dsp:cNvPr id="0" name=""/>
        <dsp:cNvSpPr/>
      </dsp:nvSpPr>
      <dsp:spPr>
        <a:xfrm>
          <a:off x="216299" y="2837274"/>
          <a:ext cx="707604" cy="279185"/>
        </a:xfrm>
        <a:prstGeom prst="roundRect">
          <a:avLst>
            <a:gd name="adj" fmla="val 10000"/>
          </a:avLst>
        </a:prstGeom>
        <a:solidFill>
          <a:schemeClr val="accent6"/>
        </a:solidFill>
        <a:ln w="19050" cap="flat" cmpd="sng" algn="ctr">
          <a:solidFill>
            <a:schemeClr val="lt1"/>
          </a:solidFill>
          <a:prstDash val="solid"/>
        </a:ln>
        <a:effectLst/>
      </dsp:spPr>
      <dsp:style>
        <a:lnRef idx="3">
          <a:schemeClr val="lt1"/>
        </a:lnRef>
        <a:fillRef idx="1">
          <a:schemeClr val="accent6"/>
        </a:fillRef>
        <a:effectRef idx="1">
          <a:schemeClr val="accent6"/>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lumMod val="50000"/>
                </a:schemeClr>
              </a:solidFill>
            </a:rPr>
            <a:t>Release</a:t>
          </a:r>
        </a:p>
      </dsp:txBody>
      <dsp:txXfrm>
        <a:off x="224476" y="2845451"/>
        <a:ext cx="691250" cy="262831"/>
      </dsp:txXfrm>
    </dsp:sp>
  </dsp:spTree>
</dsp:drawing>
</file>

<file path=ppt/diagrams/layout1.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65504ED-601C-9F41-A2BB-A84CD9D575D8}" type="datetimeFigureOut">
              <a:rPr lang="en-US" smtClean="0"/>
              <a:t>3/15/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9185347-B0FD-EF4B-941B-A92CF753AB4E}" type="slidenum">
              <a:rPr lang="en-US" smtClean="0"/>
              <a:t>‹#›</a:t>
            </a:fld>
            <a:endParaRPr lang="en-US" dirty="0"/>
          </a:p>
        </p:txBody>
      </p:sp>
    </p:spTree>
    <p:extLst>
      <p:ext uri="{BB962C8B-B14F-4D97-AF65-F5344CB8AC3E}">
        <p14:creationId xmlns:p14="http://schemas.microsoft.com/office/powerpoint/2010/main" val="40816834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4499A69-9E3B-7C4C-9E3F-523F007A72CB}" type="datetimeFigureOut">
              <a:rPr lang="en-US" smtClean="0"/>
              <a:t>3/15/2018</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02D6E04-3A2F-4B48-A297-666578EDF1B3}" type="slidenum">
              <a:rPr lang="en-US" smtClean="0"/>
              <a:t>‹#›</a:t>
            </a:fld>
            <a:endParaRPr lang="en-US" dirty="0"/>
          </a:p>
        </p:txBody>
      </p:sp>
    </p:spTree>
    <p:extLst>
      <p:ext uri="{BB962C8B-B14F-4D97-AF65-F5344CB8AC3E}">
        <p14:creationId xmlns:p14="http://schemas.microsoft.com/office/powerpoint/2010/main" val="28699140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8FB99C-09C6-4464-BB65-E4E0FA5DEA5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95003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50</a:t>
            </a:fld>
            <a:endParaRPr lang="en-US" dirty="0"/>
          </a:p>
        </p:txBody>
      </p:sp>
    </p:spTree>
    <p:extLst>
      <p:ext uri="{BB962C8B-B14F-4D97-AF65-F5344CB8AC3E}">
        <p14:creationId xmlns:p14="http://schemas.microsoft.com/office/powerpoint/2010/main" val="38945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51</a:t>
            </a:fld>
            <a:endParaRPr lang="en-US" dirty="0"/>
          </a:p>
        </p:txBody>
      </p:sp>
    </p:spTree>
    <p:extLst>
      <p:ext uri="{BB962C8B-B14F-4D97-AF65-F5344CB8AC3E}">
        <p14:creationId xmlns:p14="http://schemas.microsoft.com/office/powerpoint/2010/main" val="3677548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52</a:t>
            </a:fld>
            <a:endParaRPr lang="en-US" dirty="0"/>
          </a:p>
        </p:txBody>
      </p:sp>
    </p:spTree>
    <p:extLst>
      <p:ext uri="{BB962C8B-B14F-4D97-AF65-F5344CB8AC3E}">
        <p14:creationId xmlns:p14="http://schemas.microsoft.com/office/powerpoint/2010/main" val="3262752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55</a:t>
            </a:fld>
            <a:endParaRPr lang="en-US" dirty="0"/>
          </a:p>
        </p:txBody>
      </p:sp>
    </p:spTree>
    <p:extLst>
      <p:ext uri="{BB962C8B-B14F-4D97-AF65-F5344CB8AC3E}">
        <p14:creationId xmlns:p14="http://schemas.microsoft.com/office/powerpoint/2010/main" val="3596945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60</a:t>
            </a:fld>
            <a:endParaRPr lang="en-US" dirty="0"/>
          </a:p>
        </p:txBody>
      </p:sp>
    </p:spTree>
    <p:extLst>
      <p:ext uri="{BB962C8B-B14F-4D97-AF65-F5344CB8AC3E}">
        <p14:creationId xmlns:p14="http://schemas.microsoft.com/office/powerpoint/2010/main" val="4093877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61</a:t>
            </a:fld>
            <a:endParaRPr lang="en-US" dirty="0"/>
          </a:p>
        </p:txBody>
      </p:sp>
    </p:spTree>
    <p:extLst>
      <p:ext uri="{BB962C8B-B14F-4D97-AF65-F5344CB8AC3E}">
        <p14:creationId xmlns:p14="http://schemas.microsoft.com/office/powerpoint/2010/main" val="265755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68</a:t>
            </a:fld>
            <a:endParaRPr lang="en-US" dirty="0"/>
          </a:p>
        </p:txBody>
      </p:sp>
    </p:spTree>
    <p:extLst>
      <p:ext uri="{BB962C8B-B14F-4D97-AF65-F5344CB8AC3E}">
        <p14:creationId xmlns:p14="http://schemas.microsoft.com/office/powerpoint/2010/main" val="2515113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8</a:t>
            </a:fld>
            <a:endParaRPr lang="en-US" dirty="0"/>
          </a:p>
        </p:txBody>
      </p:sp>
    </p:spTree>
    <p:extLst>
      <p:ext uri="{BB962C8B-B14F-4D97-AF65-F5344CB8AC3E}">
        <p14:creationId xmlns:p14="http://schemas.microsoft.com/office/powerpoint/2010/main" val="327235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10</a:t>
            </a:fld>
            <a:endParaRPr lang="en-US" dirty="0"/>
          </a:p>
        </p:txBody>
      </p:sp>
    </p:spTree>
    <p:extLst>
      <p:ext uri="{BB962C8B-B14F-4D97-AF65-F5344CB8AC3E}">
        <p14:creationId xmlns:p14="http://schemas.microsoft.com/office/powerpoint/2010/main" val="3716676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20</a:t>
            </a:fld>
            <a:endParaRPr lang="en-US" dirty="0"/>
          </a:p>
        </p:txBody>
      </p:sp>
    </p:spTree>
    <p:extLst>
      <p:ext uri="{BB962C8B-B14F-4D97-AF65-F5344CB8AC3E}">
        <p14:creationId xmlns:p14="http://schemas.microsoft.com/office/powerpoint/2010/main" val="38758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22</a:t>
            </a:fld>
            <a:endParaRPr lang="en-US" dirty="0"/>
          </a:p>
        </p:txBody>
      </p:sp>
    </p:spTree>
    <p:extLst>
      <p:ext uri="{BB962C8B-B14F-4D97-AF65-F5344CB8AC3E}">
        <p14:creationId xmlns:p14="http://schemas.microsoft.com/office/powerpoint/2010/main" val="3029032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32</a:t>
            </a:fld>
            <a:endParaRPr lang="en-US" dirty="0"/>
          </a:p>
        </p:txBody>
      </p:sp>
    </p:spTree>
    <p:extLst>
      <p:ext uri="{BB962C8B-B14F-4D97-AF65-F5344CB8AC3E}">
        <p14:creationId xmlns:p14="http://schemas.microsoft.com/office/powerpoint/2010/main" val="700701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33</a:t>
            </a:fld>
            <a:endParaRPr lang="en-US" dirty="0"/>
          </a:p>
        </p:txBody>
      </p:sp>
    </p:spTree>
    <p:extLst>
      <p:ext uri="{BB962C8B-B14F-4D97-AF65-F5344CB8AC3E}">
        <p14:creationId xmlns:p14="http://schemas.microsoft.com/office/powerpoint/2010/main" val="648671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40</a:t>
            </a:fld>
            <a:endParaRPr lang="en-US" dirty="0"/>
          </a:p>
        </p:txBody>
      </p:sp>
    </p:spTree>
    <p:extLst>
      <p:ext uri="{BB962C8B-B14F-4D97-AF65-F5344CB8AC3E}">
        <p14:creationId xmlns:p14="http://schemas.microsoft.com/office/powerpoint/2010/main" val="4080976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42</a:t>
            </a:fld>
            <a:endParaRPr lang="en-US" dirty="0"/>
          </a:p>
        </p:txBody>
      </p:sp>
    </p:spTree>
    <p:extLst>
      <p:ext uri="{BB962C8B-B14F-4D97-AF65-F5344CB8AC3E}">
        <p14:creationId xmlns:p14="http://schemas.microsoft.com/office/powerpoint/2010/main" val="9394915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1.png"/><Relationship Id="rId4" Type="http://schemas.openxmlformats.org/officeDocument/2006/relationships/image" Target="../media/image6.png"/><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7263" y="91440"/>
            <a:ext cx="8677275" cy="36576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4232621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defRPr/>
            </a:pPr>
            <a:endParaRPr lang="en-US" sz="1800" dirty="0"/>
          </a:p>
        </p:txBody>
      </p:sp>
      <p:sp>
        <p:nvSpPr>
          <p:cNvPr id="5" name="Rectangle 4"/>
          <p:cNvSpPr/>
          <p:nvPr userDrawn="1"/>
        </p:nvSpPr>
        <p:spPr>
          <a:xfrm>
            <a:off x="960120" y="4901563"/>
            <a:ext cx="960120" cy="140971"/>
          </a:xfrm>
          <a:prstGeom prst="rect">
            <a:avLst/>
          </a:prstGeom>
          <a:solidFill>
            <a:srgbClr val="2C2C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2017   Cognizant</a:t>
            </a:r>
            <a:endParaRPr lang="en-US" sz="700" dirty="0"/>
          </a:p>
        </p:txBody>
      </p:sp>
      <p:sp>
        <p:nvSpPr>
          <p:cNvPr id="6" name="Rectangle 42"/>
          <p:cNvSpPr txBox="1">
            <a:spLocks noChangeArrowheads="1"/>
          </p:cNvSpPr>
          <p:nvPr userDrawn="1"/>
        </p:nvSpPr>
        <p:spPr>
          <a:xfrm>
            <a:off x="22225" y="4831556"/>
            <a:ext cx="457200" cy="342900"/>
          </a:xfrm>
          <a:prstGeom prst="rect">
            <a:avLst/>
          </a:prstGeom>
        </p:spPr>
        <p:txBody>
          <a:bodyPr vert="horz" lIns="91440" tIns="45720" rIns="91440" bIns="45720" rtlCol="0" anchor="ctr"/>
          <a:lstStyle>
            <a:defPPr>
              <a:defRPr lang="en-US"/>
            </a:defPPr>
            <a:lvl1pPr algn="r" defTabSz="457200" rtl="0" fontAlgn="base">
              <a:spcBef>
                <a:spcPct val="0"/>
              </a:spcBef>
              <a:spcAft>
                <a:spcPct val="0"/>
              </a:spcAft>
              <a:defRPr sz="1200" b="1" i="0" kern="1200">
                <a:solidFill>
                  <a:srgbClr val="6DB23F"/>
                </a:solidFill>
                <a:latin typeface="Helvetica Neue"/>
                <a:ea typeface="ＭＳ Ｐゴシック" charset="0"/>
                <a:cs typeface="Helvetica Neue"/>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B983558D-C98C-4013-9F8D-937FCE5853E9}" type="slidenum">
              <a:rPr lang="en-US" smtClean="0"/>
              <a:pPr>
                <a:defRPr/>
              </a:pPr>
              <a:t>‹#›</a:t>
            </a:fld>
            <a:endParaRPr lang="en-US" dirty="0"/>
          </a:p>
        </p:txBody>
      </p:sp>
    </p:spTree>
    <p:extLst>
      <p:ext uri="{BB962C8B-B14F-4D97-AF65-F5344CB8AC3E}">
        <p14:creationId xmlns:p14="http://schemas.microsoft.com/office/powerpoint/2010/main" val="90231042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defRPr/>
            </a:pPr>
            <a:endParaRPr lang="en-US" sz="1800" dirty="0"/>
          </a:p>
        </p:txBody>
      </p:sp>
      <p:sp>
        <p:nvSpPr>
          <p:cNvPr id="5" name="Rectangle 4"/>
          <p:cNvSpPr/>
          <p:nvPr userDrawn="1"/>
        </p:nvSpPr>
        <p:spPr>
          <a:xfrm>
            <a:off x="960120" y="4901563"/>
            <a:ext cx="960120" cy="140971"/>
          </a:xfrm>
          <a:prstGeom prst="rect">
            <a:avLst/>
          </a:prstGeom>
          <a:solidFill>
            <a:srgbClr val="2C2C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2017   Cognizant</a:t>
            </a:r>
            <a:endParaRPr lang="en-US" sz="700" dirty="0"/>
          </a:p>
        </p:txBody>
      </p:sp>
      <p:sp>
        <p:nvSpPr>
          <p:cNvPr id="6" name="Rectangle 42"/>
          <p:cNvSpPr txBox="1">
            <a:spLocks noChangeArrowheads="1"/>
          </p:cNvSpPr>
          <p:nvPr userDrawn="1"/>
        </p:nvSpPr>
        <p:spPr>
          <a:xfrm>
            <a:off x="22225" y="4831556"/>
            <a:ext cx="457200" cy="342900"/>
          </a:xfrm>
          <a:prstGeom prst="rect">
            <a:avLst/>
          </a:prstGeom>
        </p:spPr>
        <p:txBody>
          <a:bodyPr vert="horz" lIns="91440" tIns="45720" rIns="91440" bIns="45720" rtlCol="0" anchor="ctr"/>
          <a:lstStyle>
            <a:defPPr>
              <a:defRPr lang="en-US"/>
            </a:defPPr>
            <a:lvl1pPr algn="r" defTabSz="457200" rtl="0" fontAlgn="base">
              <a:spcBef>
                <a:spcPct val="0"/>
              </a:spcBef>
              <a:spcAft>
                <a:spcPct val="0"/>
              </a:spcAft>
              <a:defRPr sz="1200" b="1" i="0" kern="1200">
                <a:solidFill>
                  <a:srgbClr val="6DB23F"/>
                </a:solidFill>
                <a:latin typeface="Helvetica Neue"/>
                <a:ea typeface="ＭＳ Ｐゴシック" charset="0"/>
                <a:cs typeface="Helvetica Neue"/>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B983558D-C98C-4013-9F8D-937FCE5853E9}" type="slidenum">
              <a:rPr lang="en-US" smtClean="0"/>
              <a:pPr>
                <a:defRPr/>
              </a:pPr>
              <a:t>‹#›</a:t>
            </a:fld>
            <a:endParaRPr lang="en-US" dirty="0"/>
          </a:p>
        </p:txBody>
      </p:sp>
    </p:spTree>
    <p:extLst>
      <p:ext uri="{BB962C8B-B14F-4D97-AF65-F5344CB8AC3E}">
        <p14:creationId xmlns:p14="http://schemas.microsoft.com/office/powerpoint/2010/main" val="409861444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defRPr/>
            </a:pPr>
            <a:endParaRPr lang="en-US" sz="1800" dirty="0"/>
          </a:p>
        </p:txBody>
      </p:sp>
      <p:sp>
        <p:nvSpPr>
          <p:cNvPr id="5" name="Rectangle 4"/>
          <p:cNvSpPr/>
          <p:nvPr userDrawn="1"/>
        </p:nvSpPr>
        <p:spPr>
          <a:xfrm>
            <a:off x="960120" y="4901563"/>
            <a:ext cx="960120" cy="140971"/>
          </a:xfrm>
          <a:prstGeom prst="rect">
            <a:avLst/>
          </a:prstGeom>
          <a:solidFill>
            <a:srgbClr val="2C2C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2017   Cognizant</a:t>
            </a:r>
            <a:endParaRPr lang="en-US" sz="700" dirty="0"/>
          </a:p>
        </p:txBody>
      </p:sp>
      <p:sp>
        <p:nvSpPr>
          <p:cNvPr id="6" name="Rectangle 42"/>
          <p:cNvSpPr txBox="1">
            <a:spLocks noChangeArrowheads="1"/>
          </p:cNvSpPr>
          <p:nvPr userDrawn="1"/>
        </p:nvSpPr>
        <p:spPr>
          <a:xfrm>
            <a:off x="22225" y="4831556"/>
            <a:ext cx="457200" cy="342900"/>
          </a:xfrm>
          <a:prstGeom prst="rect">
            <a:avLst/>
          </a:prstGeom>
        </p:spPr>
        <p:txBody>
          <a:bodyPr vert="horz" lIns="91440" tIns="45720" rIns="91440" bIns="45720" rtlCol="0" anchor="ctr"/>
          <a:lstStyle>
            <a:defPPr>
              <a:defRPr lang="en-US"/>
            </a:defPPr>
            <a:lvl1pPr algn="r" defTabSz="457200" rtl="0" fontAlgn="base">
              <a:spcBef>
                <a:spcPct val="0"/>
              </a:spcBef>
              <a:spcAft>
                <a:spcPct val="0"/>
              </a:spcAft>
              <a:defRPr sz="1200" b="1" i="0" kern="1200">
                <a:solidFill>
                  <a:srgbClr val="6DB23F"/>
                </a:solidFill>
                <a:latin typeface="Helvetica Neue"/>
                <a:ea typeface="ＭＳ Ｐゴシック" charset="0"/>
                <a:cs typeface="Helvetica Neue"/>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B983558D-C98C-4013-9F8D-937FCE5853E9}" type="slidenum">
              <a:rPr lang="en-US" smtClean="0"/>
              <a:pPr>
                <a:defRPr/>
              </a:pPr>
              <a:t>‹#›</a:t>
            </a:fld>
            <a:endParaRPr lang="en-US" dirty="0"/>
          </a:p>
        </p:txBody>
      </p:sp>
    </p:spTree>
    <p:extLst>
      <p:ext uri="{BB962C8B-B14F-4D97-AF65-F5344CB8AC3E}">
        <p14:creationId xmlns:p14="http://schemas.microsoft.com/office/powerpoint/2010/main" val="421819282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defRPr/>
            </a:pPr>
            <a:endParaRPr lang="en-US" sz="1800" dirty="0"/>
          </a:p>
        </p:txBody>
      </p:sp>
      <p:sp>
        <p:nvSpPr>
          <p:cNvPr id="5" name="Rectangle 4"/>
          <p:cNvSpPr/>
          <p:nvPr userDrawn="1"/>
        </p:nvSpPr>
        <p:spPr>
          <a:xfrm>
            <a:off x="960120" y="4901563"/>
            <a:ext cx="960120" cy="140971"/>
          </a:xfrm>
          <a:prstGeom prst="rect">
            <a:avLst/>
          </a:prstGeom>
          <a:solidFill>
            <a:srgbClr val="2C2C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2017   Cognizant</a:t>
            </a:r>
            <a:endParaRPr lang="en-US" sz="700" dirty="0"/>
          </a:p>
        </p:txBody>
      </p:sp>
      <p:sp>
        <p:nvSpPr>
          <p:cNvPr id="6" name="Rectangle 42"/>
          <p:cNvSpPr txBox="1">
            <a:spLocks noChangeArrowheads="1"/>
          </p:cNvSpPr>
          <p:nvPr userDrawn="1"/>
        </p:nvSpPr>
        <p:spPr>
          <a:xfrm>
            <a:off x="22225" y="4831556"/>
            <a:ext cx="457200" cy="342900"/>
          </a:xfrm>
          <a:prstGeom prst="rect">
            <a:avLst/>
          </a:prstGeom>
        </p:spPr>
        <p:txBody>
          <a:bodyPr vert="horz" lIns="91440" tIns="45720" rIns="91440" bIns="45720" rtlCol="0" anchor="ctr"/>
          <a:lstStyle>
            <a:defPPr>
              <a:defRPr lang="en-US"/>
            </a:defPPr>
            <a:lvl1pPr algn="r" defTabSz="457200" rtl="0" fontAlgn="base">
              <a:spcBef>
                <a:spcPct val="0"/>
              </a:spcBef>
              <a:spcAft>
                <a:spcPct val="0"/>
              </a:spcAft>
              <a:defRPr sz="1200" b="1" i="0" kern="1200">
                <a:solidFill>
                  <a:srgbClr val="6DB23F"/>
                </a:solidFill>
                <a:latin typeface="Helvetica Neue"/>
                <a:ea typeface="ＭＳ Ｐゴシック" charset="0"/>
                <a:cs typeface="Helvetica Neue"/>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B983558D-C98C-4013-9F8D-937FCE5853E9}" type="slidenum">
              <a:rPr lang="en-US" smtClean="0"/>
              <a:pPr>
                <a:defRPr/>
              </a:pPr>
              <a:t>‹#›</a:t>
            </a:fld>
            <a:endParaRPr lang="en-US" dirty="0"/>
          </a:p>
        </p:txBody>
      </p:sp>
    </p:spTree>
    <p:extLst>
      <p:ext uri="{BB962C8B-B14F-4D97-AF65-F5344CB8AC3E}">
        <p14:creationId xmlns:p14="http://schemas.microsoft.com/office/powerpoint/2010/main" val="19576197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Blank with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39654" y="4728848"/>
            <a:ext cx="539195" cy="375771"/>
          </a:xfrm>
          <a:prstGeom prst="rect">
            <a:avLst/>
          </a:prstGeom>
        </p:spPr>
        <p:txBody>
          <a:bodyPr/>
          <a:lstStyle/>
          <a:p>
            <a:fld id="{B32AB80A-78BA-6B42-BA0D-B44ACF890F5A}"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hasCustomPrompt="1"/>
          </p:nvPr>
        </p:nvSpPr>
        <p:spPr>
          <a:xfrm>
            <a:off x="304362" y="247696"/>
            <a:ext cx="8458638" cy="455444"/>
          </a:xfrm>
        </p:spPr>
        <p:txBody>
          <a:bodyPr/>
          <a:lstStyle/>
          <a:p>
            <a:r>
              <a:rPr lang="en-US" dirty="0" smtClean="0"/>
              <a:t>Header</a:t>
            </a:r>
            <a:endParaRPr lang="en-US" dirty="0"/>
          </a:p>
        </p:txBody>
      </p:sp>
      <p:cxnSp>
        <p:nvCxnSpPr>
          <p:cNvPr id="9" name="Straight Connector 8"/>
          <p:cNvCxnSpPr/>
          <p:nvPr userDrawn="1"/>
        </p:nvCxnSpPr>
        <p:spPr>
          <a:xfrm>
            <a:off x="408221"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082624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rot="10800000">
            <a:off x="0" y="1"/>
            <a:ext cx="9144000" cy="571500"/>
          </a:xfrm>
          <a:prstGeom prst="rect">
            <a:avLst/>
          </a:prstGeom>
          <a:gradFill flip="none" rotWithShape="1">
            <a:gsLst>
              <a:gs pos="0">
                <a:srgbClr val="4F81BD">
                  <a:lumMod val="40000"/>
                  <a:lumOff val="60000"/>
                  <a:alpha val="50000"/>
                </a:srgbClr>
              </a:gs>
              <a:gs pos="25000">
                <a:srgbClr val="4F81BD">
                  <a:lumMod val="20000"/>
                  <a:lumOff val="80000"/>
                  <a:alpha val="50000"/>
                </a:srgbClr>
              </a:gs>
              <a:gs pos="84000">
                <a:sysClr val="window" lastClr="FFFFFF">
                  <a:alpha val="50000"/>
                </a:sysClr>
              </a:gs>
            </a:gsLst>
            <a:lin ang="16200000" scaled="1"/>
            <a:tileRect/>
          </a:gradFill>
          <a:ln w="9525" cap="flat" cmpd="sng" algn="ctr">
            <a:noFill/>
            <a:prstDash val="solid"/>
            <a:headEnd/>
            <a:tailEnd/>
          </a:ln>
          <a:effectLst/>
        </p:spPr>
        <p:txBody>
          <a:bodyPr wrap="none" anchor="ctr"/>
          <a:lstStyle/>
          <a:p>
            <a:pPr fontAlgn="base">
              <a:spcBef>
                <a:spcPct val="0"/>
              </a:spcBef>
              <a:spcAft>
                <a:spcPct val="0"/>
              </a:spcAft>
            </a:pPr>
            <a:endParaRPr lang="en-US" sz="1846" b="1" kern="0" dirty="0">
              <a:solidFill>
                <a:prstClr val="black"/>
              </a:solidFill>
            </a:endParaRPr>
          </a:p>
        </p:txBody>
      </p:sp>
      <p:cxnSp>
        <p:nvCxnSpPr>
          <p:cNvPr id="7" name="Straight Connector 9"/>
          <p:cNvCxnSpPr>
            <a:cxnSpLocks noChangeShapeType="1"/>
          </p:cNvCxnSpPr>
          <p:nvPr userDrawn="1"/>
        </p:nvCxnSpPr>
        <p:spPr bwMode="auto">
          <a:xfrm>
            <a:off x="152400" y="464344"/>
            <a:ext cx="8763000" cy="0"/>
          </a:xfrm>
          <a:prstGeom prst="line">
            <a:avLst/>
          </a:prstGeom>
          <a:noFill/>
          <a:ln w="9525">
            <a:solidFill>
              <a:srgbClr val="55B738"/>
            </a:solidFill>
            <a:round/>
            <a:headEnd/>
            <a:tailEnd/>
          </a:ln>
          <a:extLst>
            <a:ext uri="{909E8E84-426E-40DD-AFC4-6F175D3DCCD1}">
              <a14:hiddenFill xmlns:a14="http://schemas.microsoft.com/office/drawing/2010/main">
                <a:noFill/>
              </a14:hiddenFill>
            </a:ext>
          </a:extLst>
        </p:spPr>
      </p:cxnSp>
      <p:sp>
        <p:nvSpPr>
          <p:cNvPr id="16" name="Title 1"/>
          <p:cNvSpPr>
            <a:spLocks noGrp="1"/>
          </p:cNvSpPr>
          <p:nvPr>
            <p:ph type="title"/>
          </p:nvPr>
        </p:nvSpPr>
        <p:spPr>
          <a:xfrm>
            <a:off x="152400" y="87476"/>
            <a:ext cx="8763000" cy="376870"/>
          </a:xfrm>
          <a:prstGeom prst="rect">
            <a:avLst/>
          </a:prstGeom>
        </p:spPr>
        <p:txBody>
          <a:bodyPr/>
          <a:lstStyle>
            <a:lvl1pPr>
              <a:defRPr sz="1800" b="1">
                <a:latin typeface="+mj-lt"/>
                <a:cs typeface="Calibr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4690455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with Header">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1">
                <a:solidFill>
                  <a:schemeClr val="tx2"/>
                </a:solidFill>
              </a:defRPr>
            </a:lvl1pPr>
          </a:lstStyle>
          <a:p>
            <a:r>
              <a:rPr lang="en-US" dirty="0" smtClean="0"/>
              <a:t> </a:t>
            </a:r>
            <a:endParaRPr lang="en-US" dirty="0"/>
          </a:p>
        </p:txBody>
      </p:sp>
      <p:sp>
        <p:nvSpPr>
          <p:cNvPr id="2" name="Title 1"/>
          <p:cNvSpPr>
            <a:spLocks noGrp="1"/>
          </p:cNvSpPr>
          <p:nvPr>
            <p:ph type="title" hasCustomPrompt="1"/>
          </p:nvPr>
        </p:nvSpPr>
        <p:spPr>
          <a:xfrm>
            <a:off x="107004" y="77822"/>
            <a:ext cx="8464987" cy="455444"/>
          </a:xfrm>
        </p:spPr>
        <p:txBody>
          <a:bodyPr>
            <a:noAutofit/>
          </a:bodyPr>
          <a:lstStyle>
            <a:lvl1pPr>
              <a:defRPr sz="2000" b="1">
                <a:solidFill>
                  <a:srgbClr val="0099CC"/>
                </a:solidFill>
                <a:latin typeface="Calibri" panose="020F0502020204030204" pitchFamily="34" charset="0"/>
              </a:defRPr>
            </a:lvl1pPr>
          </a:lstStyle>
          <a:p>
            <a:r>
              <a:rPr lang="en-US" dirty="0" smtClean="0"/>
              <a:t>Header</a:t>
            </a:r>
            <a:endParaRPr lang="en-US" dirty="0"/>
          </a:p>
        </p:txBody>
      </p:sp>
    </p:spTree>
    <p:extLst>
      <p:ext uri="{BB962C8B-B14F-4D97-AF65-F5344CB8AC3E}">
        <p14:creationId xmlns:p14="http://schemas.microsoft.com/office/powerpoint/2010/main" val="25096614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5546690" y="4543807"/>
            <a:ext cx="1778558" cy="61169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0571" y="4611903"/>
            <a:ext cx="994677" cy="456210"/>
          </a:xfrm>
          <a:prstGeom prst="rect">
            <a:avLst/>
          </a:prstGeom>
        </p:spPr>
      </p:pic>
    </p:spTree>
    <p:extLst>
      <p:ext uri="{BB962C8B-B14F-4D97-AF65-F5344CB8AC3E}">
        <p14:creationId xmlns:p14="http://schemas.microsoft.com/office/powerpoint/2010/main" val="34111833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15150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7067" y="89154"/>
            <a:ext cx="8677275" cy="365760"/>
          </a:xfrm>
        </p:spPr>
        <p:txBody>
          <a:bodyPr lIns="0" rIns="0"/>
          <a:lstStyle/>
          <a:p>
            <a:r>
              <a:rPr lang="en-US" dirty="0" smtClean="0"/>
              <a:t>Click to edit Master title style</a:t>
            </a:r>
            <a:endParaRPr lang="en-US" dirty="0"/>
          </a:p>
        </p:txBody>
      </p:sp>
    </p:spTree>
    <p:extLst>
      <p:ext uri="{BB962C8B-B14F-4D97-AF65-F5344CB8AC3E}">
        <p14:creationId xmlns:p14="http://schemas.microsoft.com/office/powerpoint/2010/main" val="99761220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15946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3" name="Rectangle 52"/>
          <p:cNvSpPr/>
          <p:nvPr userDrawn="1"/>
        </p:nvSpPr>
        <p:spPr>
          <a:xfrm>
            <a:off x="0" y="3727173"/>
            <a:ext cx="9144000" cy="238066"/>
          </a:xfrm>
          <a:prstGeom prst="rect">
            <a:avLst/>
          </a:prstGeom>
          <a:solidFill>
            <a:srgbClr val="555555"/>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3" name="Rectangle 2"/>
          <p:cNvSpPr/>
          <p:nvPr userDrawn="1"/>
        </p:nvSpPr>
        <p:spPr>
          <a:xfrm>
            <a:off x="0" y="2318184"/>
            <a:ext cx="9144000" cy="1426028"/>
          </a:xfrm>
          <a:prstGeom prst="rect">
            <a:avLst/>
          </a:prstGeom>
          <a:solidFill>
            <a:srgbClr val="444444"/>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64" name="Rectangle 63"/>
          <p:cNvSpPr/>
          <p:nvPr userDrawn="1"/>
        </p:nvSpPr>
        <p:spPr>
          <a:xfrm>
            <a:off x="-1512" y="4313582"/>
            <a:ext cx="9150773" cy="834886"/>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8" name="Text Placeholder 4"/>
          <p:cNvSpPr>
            <a:spLocks noGrp="1"/>
          </p:cNvSpPr>
          <p:nvPr>
            <p:ph type="body" sz="quarter" idx="13" hasCustomPrompt="1"/>
          </p:nvPr>
        </p:nvSpPr>
        <p:spPr>
          <a:xfrm>
            <a:off x="1165701" y="2542879"/>
            <a:ext cx="6812599" cy="798563"/>
          </a:xfrm>
          <a:prstGeom prst="rect">
            <a:avLst/>
          </a:prstGeom>
          <a:noFill/>
        </p:spPr>
        <p:txBody>
          <a:bodyPr lIns="0" rIns="0" anchor="ctr"/>
          <a:lstStyle>
            <a:lvl1pPr marL="0" indent="0" algn="ctr">
              <a:buFontTx/>
              <a:buNone/>
              <a:defRPr sz="2370" b="0">
                <a:solidFill>
                  <a:schemeClr val="bg1"/>
                </a:solidFill>
                <a:latin typeface="+mn-lt"/>
                <a:cs typeface="Segoe UI" panose="020B0502040204020203" pitchFamily="34" charset="0"/>
              </a:defRPr>
            </a:lvl1pPr>
          </a:lstStyle>
          <a:p>
            <a:r>
              <a:rPr lang="en-US" dirty="0" smtClean="0"/>
              <a:t>Divider slide</a:t>
            </a:r>
          </a:p>
        </p:txBody>
      </p:sp>
      <p:sp>
        <p:nvSpPr>
          <p:cNvPr id="2" name="Rectangle 1"/>
          <p:cNvSpPr/>
          <p:nvPr userDrawn="1"/>
        </p:nvSpPr>
        <p:spPr>
          <a:xfrm>
            <a:off x="0" y="0"/>
            <a:ext cx="9157547" cy="685800"/>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45" name="Rectangle 44"/>
          <p:cNvSpPr/>
          <p:nvPr userDrawn="1"/>
        </p:nvSpPr>
        <p:spPr>
          <a:xfrm>
            <a:off x="225778" y="1789043"/>
            <a:ext cx="880533"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46" name="Rectangle 45"/>
          <p:cNvSpPr/>
          <p:nvPr userDrawn="1"/>
        </p:nvSpPr>
        <p:spPr>
          <a:xfrm>
            <a:off x="1532467" y="1789043"/>
            <a:ext cx="880533"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47" name="Rectangle 46"/>
          <p:cNvSpPr/>
          <p:nvPr userDrawn="1"/>
        </p:nvSpPr>
        <p:spPr>
          <a:xfrm>
            <a:off x="2839156" y="1789043"/>
            <a:ext cx="880533"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48" name="Rectangle 47"/>
          <p:cNvSpPr/>
          <p:nvPr userDrawn="1"/>
        </p:nvSpPr>
        <p:spPr>
          <a:xfrm>
            <a:off x="4145845" y="1789043"/>
            <a:ext cx="880533"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49" name="Rectangle 48"/>
          <p:cNvSpPr/>
          <p:nvPr userDrawn="1"/>
        </p:nvSpPr>
        <p:spPr>
          <a:xfrm>
            <a:off x="5452534" y="1789043"/>
            <a:ext cx="880533"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50" name="Rectangle 49"/>
          <p:cNvSpPr/>
          <p:nvPr userDrawn="1"/>
        </p:nvSpPr>
        <p:spPr>
          <a:xfrm>
            <a:off x="6759222" y="1789043"/>
            <a:ext cx="880533"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51" name="Rectangle 50"/>
          <p:cNvSpPr/>
          <p:nvPr userDrawn="1"/>
        </p:nvSpPr>
        <p:spPr>
          <a:xfrm>
            <a:off x="8065911" y="1789043"/>
            <a:ext cx="880533"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pic>
        <p:nvPicPr>
          <p:cNvPr id="4" name="Picture 3"/>
          <p:cNvPicPr>
            <a:picLocks noChangeAspect="1"/>
          </p:cNvPicPr>
          <p:nvPr userDrawn="1"/>
        </p:nvPicPr>
        <p:blipFill>
          <a:blip r:embed="rId2"/>
          <a:stretch>
            <a:fillRect/>
          </a:stretch>
        </p:blipFill>
        <p:spPr>
          <a:xfrm>
            <a:off x="225778" y="896082"/>
            <a:ext cx="846262" cy="847619"/>
          </a:xfrm>
          <a:prstGeom prst="rect">
            <a:avLst/>
          </a:prstGeom>
        </p:spPr>
      </p:pic>
      <p:pic>
        <p:nvPicPr>
          <p:cNvPr id="5" name="Picture 4"/>
          <p:cNvPicPr>
            <a:picLocks noChangeAspect="1"/>
          </p:cNvPicPr>
          <p:nvPr userDrawn="1"/>
        </p:nvPicPr>
        <p:blipFill>
          <a:blip r:embed="rId3"/>
          <a:stretch>
            <a:fillRect/>
          </a:stretch>
        </p:blipFill>
        <p:spPr>
          <a:xfrm>
            <a:off x="1536299" y="885197"/>
            <a:ext cx="846262" cy="847619"/>
          </a:xfrm>
          <a:prstGeom prst="rect">
            <a:avLst/>
          </a:prstGeom>
        </p:spPr>
      </p:pic>
      <p:pic>
        <p:nvPicPr>
          <p:cNvPr id="6" name="Picture 5"/>
          <p:cNvPicPr>
            <a:picLocks noChangeAspect="1"/>
          </p:cNvPicPr>
          <p:nvPr userDrawn="1"/>
        </p:nvPicPr>
        <p:blipFill>
          <a:blip r:embed="rId4"/>
          <a:stretch>
            <a:fillRect/>
          </a:stretch>
        </p:blipFill>
        <p:spPr>
          <a:xfrm>
            <a:off x="2847957" y="892629"/>
            <a:ext cx="846262" cy="847619"/>
          </a:xfrm>
          <a:prstGeom prst="rect">
            <a:avLst/>
          </a:prstGeom>
        </p:spPr>
      </p:pic>
      <p:pic>
        <p:nvPicPr>
          <p:cNvPr id="7" name="Picture 6"/>
          <p:cNvPicPr>
            <a:picLocks noChangeAspect="1"/>
          </p:cNvPicPr>
          <p:nvPr userDrawn="1"/>
        </p:nvPicPr>
        <p:blipFill>
          <a:blip r:embed="rId5"/>
          <a:stretch>
            <a:fillRect/>
          </a:stretch>
        </p:blipFill>
        <p:spPr>
          <a:xfrm>
            <a:off x="5460528" y="874315"/>
            <a:ext cx="846262" cy="847619"/>
          </a:xfrm>
          <a:prstGeom prst="rect">
            <a:avLst/>
          </a:prstGeom>
        </p:spPr>
      </p:pic>
      <p:pic>
        <p:nvPicPr>
          <p:cNvPr id="9" name="Picture 8"/>
          <p:cNvPicPr>
            <a:picLocks noChangeAspect="1"/>
          </p:cNvPicPr>
          <p:nvPr userDrawn="1"/>
        </p:nvPicPr>
        <p:blipFill>
          <a:blip r:embed="rId6"/>
          <a:stretch>
            <a:fillRect/>
          </a:stretch>
        </p:blipFill>
        <p:spPr>
          <a:xfrm>
            <a:off x="4159621" y="881744"/>
            <a:ext cx="846262" cy="847619"/>
          </a:xfrm>
          <a:prstGeom prst="rect">
            <a:avLst/>
          </a:prstGeom>
        </p:spPr>
      </p:pic>
      <p:pic>
        <p:nvPicPr>
          <p:cNvPr id="10" name="Picture 9"/>
          <p:cNvPicPr>
            <a:picLocks noChangeAspect="1"/>
          </p:cNvPicPr>
          <p:nvPr userDrawn="1"/>
        </p:nvPicPr>
        <p:blipFill>
          <a:blip r:embed="rId7"/>
          <a:stretch>
            <a:fillRect/>
          </a:stretch>
        </p:blipFill>
        <p:spPr>
          <a:xfrm>
            <a:off x="8100182" y="892734"/>
            <a:ext cx="846262" cy="847619"/>
          </a:xfrm>
          <a:prstGeom prst="rect">
            <a:avLst/>
          </a:prstGeom>
        </p:spPr>
      </p:pic>
      <p:pic>
        <p:nvPicPr>
          <p:cNvPr id="12" name="Picture 11"/>
          <p:cNvPicPr>
            <a:picLocks noChangeAspect="1"/>
          </p:cNvPicPr>
          <p:nvPr userDrawn="1"/>
        </p:nvPicPr>
        <p:blipFill>
          <a:blip r:embed="rId8"/>
          <a:stretch>
            <a:fillRect/>
          </a:stretch>
        </p:blipFill>
        <p:spPr>
          <a:xfrm>
            <a:off x="6772193" y="914401"/>
            <a:ext cx="846262" cy="847619"/>
          </a:xfrm>
          <a:prstGeom prst="rect">
            <a:avLst/>
          </a:prstGeom>
        </p:spPr>
      </p:pic>
      <p:grpSp>
        <p:nvGrpSpPr>
          <p:cNvPr id="22" name="Group 21"/>
          <p:cNvGrpSpPr/>
          <p:nvPr userDrawn="1"/>
        </p:nvGrpSpPr>
        <p:grpSpPr>
          <a:xfrm>
            <a:off x="3719687" y="4092555"/>
            <a:ext cx="1051820" cy="338031"/>
            <a:chOff x="7027951" y="4508022"/>
            <a:chExt cx="1064459" cy="306832"/>
          </a:xfrm>
        </p:grpSpPr>
        <p:pic>
          <p:nvPicPr>
            <p:cNvPr id="23" name="Picture 22"/>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7027951" y="4508022"/>
              <a:ext cx="961039" cy="306832"/>
            </a:xfrm>
            <a:prstGeom prst="rect">
              <a:avLst/>
            </a:prstGeom>
          </p:spPr>
        </p:pic>
        <p:cxnSp>
          <p:nvCxnSpPr>
            <p:cNvPr id="24" name="Straight Connector 23"/>
            <p:cNvCxnSpPr/>
            <p:nvPr userDrawn="1"/>
          </p:nvCxnSpPr>
          <p:spPr>
            <a:xfrm>
              <a:off x="8092410" y="4546543"/>
              <a:ext cx="0" cy="240243"/>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873700" y="4070966"/>
            <a:ext cx="920470" cy="308761"/>
          </a:xfrm>
          <a:prstGeom prst="rect">
            <a:avLst/>
          </a:prstGeom>
        </p:spPr>
      </p:pic>
    </p:spTree>
    <p:extLst>
      <p:ext uri="{BB962C8B-B14F-4D97-AF65-F5344CB8AC3E}">
        <p14:creationId xmlns:p14="http://schemas.microsoft.com/office/powerpoint/2010/main" val="371181195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9400" y="121222"/>
            <a:ext cx="8583613" cy="370094"/>
          </a:xfrm>
        </p:spPr>
        <p:txBody>
          <a:bodyPr/>
          <a:lstStyle>
            <a:lvl1pPr>
              <a:defRPr sz="2400" b="0">
                <a:solidFill>
                  <a:srgbClr val="024E8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038605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3D023DB4-6325-4093-9BB7-F4F924986391}" type="datetimeFigureOut">
              <a:rPr lang="en-US" smtClean="0"/>
              <a:t>3/15/2018</a:t>
            </a:fld>
            <a:endParaRPr lang="en-US" dirty="0"/>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46FCE768-D2F9-47A4-AC06-3EB5B7730C4E}" type="slidenum">
              <a:rPr lang="en-US" smtClean="0"/>
              <a:t>‹#›</a:t>
            </a:fld>
            <a:endParaRPr lang="en-US" dirty="0"/>
          </a:p>
        </p:txBody>
      </p:sp>
    </p:spTree>
    <p:extLst>
      <p:ext uri="{BB962C8B-B14F-4D97-AF65-F5344CB8AC3E}">
        <p14:creationId xmlns:p14="http://schemas.microsoft.com/office/powerpoint/2010/main" val="105780009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a:defRPr/>
            </a:pPr>
            <a:endParaRPr lang="en-US" sz="1800" dirty="0"/>
          </a:p>
        </p:txBody>
      </p:sp>
      <p:sp>
        <p:nvSpPr>
          <p:cNvPr id="5" name="Rectangle 4"/>
          <p:cNvSpPr/>
          <p:nvPr userDrawn="1"/>
        </p:nvSpPr>
        <p:spPr>
          <a:xfrm>
            <a:off x="960120" y="4901563"/>
            <a:ext cx="960120" cy="140971"/>
          </a:xfrm>
          <a:prstGeom prst="rect">
            <a:avLst/>
          </a:prstGeom>
          <a:solidFill>
            <a:srgbClr val="2C2C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2017   Cognizant</a:t>
            </a:r>
            <a:endParaRPr lang="en-US" sz="700" dirty="0"/>
          </a:p>
        </p:txBody>
      </p:sp>
      <p:sp>
        <p:nvSpPr>
          <p:cNvPr id="6" name="Rectangle 42"/>
          <p:cNvSpPr txBox="1">
            <a:spLocks noChangeArrowheads="1"/>
          </p:cNvSpPr>
          <p:nvPr userDrawn="1"/>
        </p:nvSpPr>
        <p:spPr>
          <a:xfrm>
            <a:off x="22225" y="4831556"/>
            <a:ext cx="457200" cy="342900"/>
          </a:xfrm>
          <a:prstGeom prst="rect">
            <a:avLst/>
          </a:prstGeom>
        </p:spPr>
        <p:txBody>
          <a:bodyPr vert="horz" lIns="91440" tIns="45720" rIns="91440" bIns="45720" rtlCol="0" anchor="ctr"/>
          <a:lstStyle>
            <a:defPPr>
              <a:defRPr lang="en-US"/>
            </a:defPPr>
            <a:lvl1pPr algn="r" defTabSz="457200" rtl="0" fontAlgn="base">
              <a:spcBef>
                <a:spcPct val="0"/>
              </a:spcBef>
              <a:spcAft>
                <a:spcPct val="0"/>
              </a:spcAft>
              <a:defRPr sz="1200" b="1" i="0" kern="1200">
                <a:solidFill>
                  <a:srgbClr val="6DB23F"/>
                </a:solidFill>
                <a:latin typeface="Helvetica Neue"/>
                <a:ea typeface="ＭＳ Ｐゴシック" charset="0"/>
                <a:cs typeface="Helvetica Neue"/>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B983558D-C98C-4013-9F8D-937FCE5853E9}" type="slidenum">
              <a:rPr lang="en-US" smtClean="0"/>
              <a:pPr>
                <a:defRPr/>
              </a:pPr>
              <a:t>‹#›</a:t>
            </a:fld>
            <a:endParaRPr lang="en-US" dirty="0"/>
          </a:p>
        </p:txBody>
      </p:sp>
    </p:spTree>
    <p:extLst>
      <p:ext uri="{BB962C8B-B14F-4D97-AF65-F5344CB8AC3E}">
        <p14:creationId xmlns:p14="http://schemas.microsoft.com/office/powerpoint/2010/main" val="188779525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9_Title Only">
    <p:spTree>
      <p:nvGrpSpPr>
        <p:cNvPr id="1" name=""/>
        <p:cNvGrpSpPr/>
        <p:nvPr/>
      </p:nvGrpSpPr>
      <p:grpSpPr>
        <a:xfrm>
          <a:off x="0" y="0"/>
          <a:ext cx="0" cy="0"/>
          <a:chOff x="0" y="0"/>
          <a:chExt cx="0" cy="0"/>
        </a:xfrm>
      </p:grpSpPr>
      <p:cxnSp>
        <p:nvCxnSpPr>
          <p:cNvPr id="7" name="Straight Connector 9"/>
          <p:cNvCxnSpPr>
            <a:cxnSpLocks noChangeShapeType="1"/>
          </p:cNvCxnSpPr>
          <p:nvPr userDrawn="1"/>
        </p:nvCxnSpPr>
        <p:spPr bwMode="auto">
          <a:xfrm>
            <a:off x="152400" y="490392"/>
            <a:ext cx="8763000" cy="1191"/>
          </a:xfrm>
          <a:prstGeom prst="line">
            <a:avLst/>
          </a:prstGeom>
          <a:noFill/>
          <a:ln w="9525">
            <a:solidFill>
              <a:srgbClr val="55B738"/>
            </a:solidFill>
            <a:round/>
            <a:headEnd/>
            <a:tailEnd/>
          </a:ln>
        </p:spPr>
      </p:cxnSp>
      <p:sp>
        <p:nvSpPr>
          <p:cNvPr id="2" name="Title 1"/>
          <p:cNvSpPr>
            <a:spLocks noGrp="1"/>
          </p:cNvSpPr>
          <p:nvPr>
            <p:ph type="title"/>
          </p:nvPr>
        </p:nvSpPr>
        <p:spPr>
          <a:xfrm>
            <a:off x="152400" y="12238"/>
            <a:ext cx="8610600" cy="742950"/>
          </a:xfrm>
        </p:spPr>
        <p:txBody>
          <a:bodyPr/>
          <a:lstStyle>
            <a:lvl1pPr>
              <a:defRPr sz="2400"/>
            </a:lvl1pPr>
          </a:lstStyle>
          <a:p>
            <a:r>
              <a:rPr lang="en-US" dirty="0" smtClean="0"/>
              <a:t>Click to edit Master title style</a:t>
            </a:r>
            <a:endParaRPr lang="en-US" dirty="0"/>
          </a:p>
        </p:txBody>
      </p:sp>
      <p:sp>
        <p:nvSpPr>
          <p:cNvPr id="10" name="Rectangle 42"/>
          <p:cNvSpPr>
            <a:spLocks noGrp="1" noChangeArrowheads="1"/>
          </p:cNvSpPr>
          <p:nvPr>
            <p:ph type="sldNum" sz="quarter" idx="10"/>
          </p:nvPr>
        </p:nvSpPr>
        <p:spPr>
          <a:xfrm>
            <a:off x="22225" y="4831556"/>
            <a:ext cx="457200" cy="342900"/>
          </a:xfrm>
          <a:prstGeom prst="rect">
            <a:avLst/>
          </a:prstGeom>
        </p:spPr>
        <p:txBody>
          <a:bodyPr/>
          <a:lstStyle>
            <a:lvl1pPr>
              <a:defRPr sz="1200" b="1" i="0">
                <a:solidFill>
                  <a:srgbClr val="6DB23F"/>
                </a:solidFill>
                <a:latin typeface="Helvetica Neue"/>
                <a:cs typeface="Helvetica Neue"/>
              </a:defRPr>
            </a:lvl1pPr>
          </a:lstStyle>
          <a:p>
            <a:pPr>
              <a:defRPr/>
            </a:pPr>
            <a:fld id="{B983558D-C98C-4013-9F8D-937FCE5853E9}" type="slidenum">
              <a:rPr lang="en-US"/>
              <a:pPr>
                <a:defRPr/>
              </a:pPr>
              <a:t>‹#›</a:t>
            </a:fld>
            <a:endParaRPr lang="en-US" dirty="0"/>
          </a:p>
        </p:txBody>
      </p:sp>
      <p:sp>
        <p:nvSpPr>
          <p:cNvPr id="4" name="Rectangle 3"/>
          <p:cNvSpPr/>
          <p:nvPr userDrawn="1"/>
        </p:nvSpPr>
        <p:spPr>
          <a:xfrm>
            <a:off x="960120" y="4901563"/>
            <a:ext cx="960120" cy="140971"/>
          </a:xfrm>
          <a:prstGeom prst="rect">
            <a:avLst/>
          </a:prstGeom>
          <a:solidFill>
            <a:srgbClr val="2C2C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2017   Cognizant</a:t>
            </a:r>
            <a:endParaRPr lang="en-US" sz="700" dirty="0"/>
          </a:p>
        </p:txBody>
      </p:sp>
    </p:spTree>
    <p:extLst>
      <p:ext uri="{BB962C8B-B14F-4D97-AF65-F5344CB8AC3E}">
        <p14:creationId xmlns:p14="http://schemas.microsoft.com/office/powerpoint/2010/main" val="383531580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er, text, subtext &amp; pictur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2256" y="854100"/>
            <a:ext cx="8376303" cy="747218"/>
          </a:xfrm>
          <a:prstGeom prst="rect">
            <a:avLst/>
          </a:prstGeom>
        </p:spPr>
        <p:txBody>
          <a:bodyPr>
            <a:normAutofit/>
          </a:bodyPr>
          <a:lstStyle>
            <a:lvl1pPr marL="0" indent="0">
              <a:buNone/>
              <a:defRPr sz="1650">
                <a:solidFill>
                  <a:schemeClr val="tx2"/>
                </a:solidFill>
              </a:defRPr>
            </a:lvl1pPr>
            <a:lvl2pPr marL="342900" indent="0">
              <a:buNone/>
              <a:defRPr>
                <a:solidFill>
                  <a:schemeClr val="tx2"/>
                </a:solidFill>
              </a:defRPr>
            </a:lvl2pPr>
            <a:lvl3pPr marL="685800" indent="0">
              <a:buNone/>
              <a:defRPr>
                <a:solidFill>
                  <a:schemeClr val="tx2"/>
                </a:solidFill>
              </a:defRPr>
            </a:lvl3pPr>
            <a:lvl4pPr marL="1028700" indent="0">
              <a:buNone/>
              <a:defRPr>
                <a:solidFill>
                  <a:schemeClr val="tx2"/>
                </a:solidFill>
              </a:defRPr>
            </a:lvl4pPr>
            <a:lvl5pPr marL="1371600" indent="0">
              <a:buNone/>
              <a:defRPr>
                <a:solidFill>
                  <a:schemeClr val="tx2"/>
                </a:solidFill>
              </a:defRPr>
            </a:lvl5pPr>
          </a:lstStyle>
          <a:p>
            <a:pPr lvl="0"/>
            <a:r>
              <a:rPr lang="en-US" dirty="0" smtClean="0"/>
              <a:t>Text</a:t>
            </a:r>
            <a:endParaRPr lang="en-US" dirty="0"/>
          </a:p>
        </p:txBody>
      </p:sp>
      <p:sp>
        <p:nvSpPr>
          <p:cNvPr id="8" name="Picture Placeholder 7"/>
          <p:cNvSpPr>
            <a:spLocks noGrp="1"/>
          </p:cNvSpPr>
          <p:nvPr>
            <p:ph type="pic" sz="quarter" idx="13"/>
          </p:nvPr>
        </p:nvSpPr>
        <p:spPr>
          <a:xfrm>
            <a:off x="403225" y="1868617"/>
            <a:ext cx="4072450" cy="2271584"/>
          </a:xfrm>
          <a:prstGeom prst="rect">
            <a:avLst/>
          </a:prstGeom>
        </p:spPr>
        <p:txBody>
          <a:bodyPr anchor="ctr">
            <a:normAutofit/>
          </a:bodyPr>
          <a:lstStyle>
            <a:lvl1pPr marL="0" indent="0" algn="ctr">
              <a:buNone/>
              <a:defRPr>
                <a:solidFill>
                  <a:srgbClr val="0099CC"/>
                </a:solidFill>
              </a:defRPr>
            </a:lvl1pPr>
          </a:lstStyle>
          <a:p>
            <a:r>
              <a:rPr lang="en-US" dirty="0" smtClean="0"/>
              <a:t>Click icon to add picture</a:t>
            </a:r>
            <a:endParaRPr lang="en-US" dirty="0"/>
          </a:p>
        </p:txBody>
      </p:sp>
      <p:sp>
        <p:nvSpPr>
          <p:cNvPr id="14" name="Text Placeholder 13"/>
          <p:cNvSpPr>
            <a:spLocks noGrp="1"/>
          </p:cNvSpPr>
          <p:nvPr>
            <p:ph type="body" sz="quarter" idx="14" hasCustomPrompt="1"/>
          </p:nvPr>
        </p:nvSpPr>
        <p:spPr>
          <a:xfrm>
            <a:off x="4762500" y="1872369"/>
            <a:ext cx="3924301" cy="2252539"/>
          </a:xfrm>
          <a:prstGeom prst="rect">
            <a:avLst/>
          </a:prstGeom>
        </p:spPr>
        <p:txBody>
          <a:bodyPr>
            <a:normAutofit/>
          </a:bodyPr>
          <a:lstStyle>
            <a:lvl1pPr marL="0" indent="0">
              <a:buNone/>
              <a:defRPr sz="1350">
                <a:solidFill>
                  <a:srgbClr val="141414"/>
                </a:solidFill>
              </a:defRPr>
            </a:lvl1pPr>
            <a:lvl2pPr marL="342900" indent="0">
              <a:buNone/>
              <a:defRPr sz="1350">
                <a:solidFill>
                  <a:srgbClr val="141414"/>
                </a:solidFill>
              </a:defRPr>
            </a:lvl2pPr>
            <a:lvl3pPr marL="685800" indent="0">
              <a:buNone/>
              <a:defRPr sz="1350">
                <a:solidFill>
                  <a:srgbClr val="141414"/>
                </a:solidFill>
              </a:defRPr>
            </a:lvl3pPr>
            <a:lvl4pPr marL="1028700" indent="0">
              <a:buNone/>
              <a:defRPr sz="1350">
                <a:solidFill>
                  <a:srgbClr val="141414"/>
                </a:solidFill>
              </a:defRPr>
            </a:lvl4pPr>
            <a:lvl5pPr marL="1371600" indent="0">
              <a:buNone/>
              <a:defRPr sz="1350">
                <a:solidFill>
                  <a:srgbClr val="141414"/>
                </a:solidFill>
              </a:defRPr>
            </a:lvl5pPr>
          </a:lstStyle>
          <a:p>
            <a:pPr lvl="0"/>
            <a:r>
              <a:rPr lang="en-US" dirty="0" smtClean="0"/>
              <a:t>Supporting text</a:t>
            </a:r>
            <a:endParaRPr lang="en-US" dirty="0"/>
          </a:p>
        </p:txBody>
      </p:sp>
      <p:sp>
        <p:nvSpPr>
          <p:cNvPr id="15" name="Title 14"/>
          <p:cNvSpPr>
            <a:spLocks noGrp="1"/>
          </p:cNvSpPr>
          <p:nvPr>
            <p:ph type="title" hasCustomPrompt="1"/>
          </p:nvPr>
        </p:nvSpPr>
        <p:spPr>
          <a:xfrm>
            <a:off x="304364" y="247696"/>
            <a:ext cx="8458637" cy="455444"/>
          </a:xfrm>
        </p:spPr>
        <p:txBody>
          <a:bodyPr/>
          <a:lstStyle/>
          <a:p>
            <a:r>
              <a:rPr lang="en-US" dirty="0" smtClean="0"/>
              <a:t>Header</a:t>
            </a:r>
            <a:endParaRPr lang="en-US" dirty="0"/>
          </a:p>
        </p:txBody>
      </p:sp>
      <p:cxnSp>
        <p:nvCxnSpPr>
          <p:cNvPr id="16" name="Straight Connector 15"/>
          <p:cNvCxnSpPr/>
          <p:nvPr userDrawn="1"/>
        </p:nvCxnSpPr>
        <p:spPr>
          <a:xfrm>
            <a:off x="408216"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
        <p:nvSpPr>
          <p:cNvPr id="9" name="Rectangle 8"/>
          <p:cNvSpPr/>
          <p:nvPr userDrawn="1"/>
        </p:nvSpPr>
        <p:spPr>
          <a:xfrm>
            <a:off x="960120" y="4901563"/>
            <a:ext cx="960120" cy="140971"/>
          </a:xfrm>
          <a:prstGeom prst="rect">
            <a:avLst/>
          </a:prstGeom>
          <a:solidFill>
            <a:srgbClr val="2C2C2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t>2017   Cognizant</a:t>
            </a:r>
            <a:endParaRPr lang="en-US" sz="700" dirty="0"/>
          </a:p>
        </p:txBody>
      </p:sp>
      <p:sp>
        <p:nvSpPr>
          <p:cNvPr id="10" name="Rectangle 42"/>
          <p:cNvSpPr txBox="1">
            <a:spLocks noChangeArrowheads="1"/>
          </p:cNvSpPr>
          <p:nvPr userDrawn="1"/>
        </p:nvSpPr>
        <p:spPr>
          <a:xfrm>
            <a:off x="22225" y="4831556"/>
            <a:ext cx="457200" cy="342900"/>
          </a:xfrm>
          <a:prstGeom prst="rect">
            <a:avLst/>
          </a:prstGeom>
        </p:spPr>
        <p:txBody>
          <a:bodyPr vert="horz" lIns="91440" tIns="45720" rIns="91440" bIns="45720" rtlCol="0" anchor="ctr"/>
          <a:lstStyle>
            <a:defPPr>
              <a:defRPr lang="en-US"/>
            </a:defPPr>
            <a:lvl1pPr algn="r" defTabSz="457200" rtl="0" fontAlgn="base">
              <a:spcBef>
                <a:spcPct val="0"/>
              </a:spcBef>
              <a:spcAft>
                <a:spcPct val="0"/>
              </a:spcAft>
              <a:defRPr sz="1200" b="1" i="0" kern="1200">
                <a:solidFill>
                  <a:srgbClr val="6DB23F"/>
                </a:solidFill>
                <a:latin typeface="Helvetica Neue"/>
                <a:ea typeface="ＭＳ Ｐゴシック" charset="0"/>
                <a:cs typeface="Helvetica Neue"/>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B983558D-C98C-4013-9F8D-937FCE5853E9}" type="slidenum">
              <a:rPr lang="en-US" smtClean="0"/>
              <a:pPr>
                <a:defRPr/>
              </a:pPr>
              <a:t>‹#›</a:t>
            </a:fld>
            <a:endParaRPr lang="en-US" dirty="0"/>
          </a:p>
        </p:txBody>
      </p:sp>
    </p:spTree>
    <p:extLst>
      <p:ext uri="{BB962C8B-B14F-4D97-AF65-F5344CB8AC3E}">
        <p14:creationId xmlns:p14="http://schemas.microsoft.com/office/powerpoint/2010/main" val="38561122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3.xml"/><Relationship Id="rId1" Type="http://schemas.openxmlformats.org/officeDocument/2006/relationships/slideLayout" Target="../slideLayouts/slideLayout18.xml"/><Relationship Id="rId4"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8" name="Rectangle 37"/>
          <p:cNvSpPr/>
          <p:nvPr userDrawn="1"/>
        </p:nvSpPr>
        <p:spPr>
          <a:xfrm>
            <a:off x="8536550" y="4887685"/>
            <a:ext cx="609600" cy="171450"/>
          </a:xfrm>
          <a:prstGeom prst="rect">
            <a:avLst/>
          </a:prstGeom>
          <a:solidFill>
            <a:srgbClr val="444444"/>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37" name="Rectangle 36"/>
          <p:cNvSpPr/>
          <p:nvPr userDrawn="1"/>
        </p:nvSpPr>
        <p:spPr>
          <a:xfrm>
            <a:off x="2652765" y="4887685"/>
            <a:ext cx="5859479" cy="171450"/>
          </a:xfrm>
          <a:prstGeom prst="rect">
            <a:avLst/>
          </a:prstGeom>
          <a:solidFill>
            <a:srgbClr val="555555"/>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14" name="Rectangle 13"/>
          <p:cNvSpPr/>
          <p:nvPr userDrawn="1"/>
        </p:nvSpPr>
        <p:spPr>
          <a:xfrm>
            <a:off x="-505" y="0"/>
            <a:ext cx="9157547" cy="548640"/>
          </a:xfrm>
          <a:prstGeom prst="rect">
            <a:avLst/>
          </a:prstGeom>
          <a:solidFill>
            <a:srgbClr val="44444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286"/>
            <a:endParaRPr lang="en-US" sz="1778" dirty="0">
              <a:solidFill>
                <a:srgbClr val="FFFFFF"/>
              </a:solidFill>
            </a:endParaRPr>
          </a:p>
        </p:txBody>
      </p:sp>
      <p:sp>
        <p:nvSpPr>
          <p:cNvPr id="1033" name="Rectangle 4"/>
          <p:cNvSpPr>
            <a:spLocks noGrp="1" noChangeArrowheads="1"/>
          </p:cNvSpPr>
          <p:nvPr>
            <p:ph type="body" idx="1"/>
          </p:nvPr>
        </p:nvSpPr>
        <p:spPr bwMode="auto">
          <a:xfrm>
            <a:off x="225779" y="685800"/>
            <a:ext cx="8710260" cy="4000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2895" tIns="61448" rIns="122895" bIns="61448"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36" name="Slide Number Placeholder 96"/>
          <p:cNvSpPr txBox="1">
            <a:spLocks/>
          </p:cNvSpPr>
          <p:nvPr userDrawn="1"/>
        </p:nvSpPr>
        <p:spPr bwMode="auto">
          <a:xfrm>
            <a:off x="8638216" y="4879073"/>
            <a:ext cx="406400" cy="205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33" tIns="45517" rIns="91033" bIns="45517"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910286" fontAlgn="base">
              <a:spcBef>
                <a:spcPct val="0"/>
              </a:spcBef>
              <a:spcAft>
                <a:spcPct val="0"/>
              </a:spcAft>
              <a:defRPr/>
            </a:pPr>
            <a:fld id="{8A2364C8-0B3C-4F67-B26B-2543C333AEA5}" type="slidenum">
              <a:rPr lang="en-US" sz="889" b="1" smtClean="0">
                <a:solidFill>
                  <a:srgbClr val="BCD730"/>
                </a:solidFill>
                <a:latin typeface="Arial" panose="020B0604020202020204"/>
                <a:ea typeface="ＭＳ Ｐゴシック" pitchFamily="34" charset="-128"/>
              </a:rPr>
              <a:pPr algn="ctr" defTabSz="910286" fontAlgn="base">
                <a:spcBef>
                  <a:spcPct val="0"/>
                </a:spcBef>
                <a:spcAft>
                  <a:spcPct val="0"/>
                </a:spcAft>
                <a:defRPr/>
              </a:pPr>
              <a:t>‹#›</a:t>
            </a:fld>
            <a:endParaRPr lang="en-US" sz="889" b="1" dirty="0" smtClean="0">
              <a:solidFill>
                <a:srgbClr val="BCD730"/>
              </a:solidFill>
              <a:latin typeface="Arial" panose="020B0604020202020204"/>
              <a:ea typeface="ＭＳ Ｐゴシック" pitchFamily="34" charset="-128"/>
            </a:endParaRPr>
          </a:p>
        </p:txBody>
      </p:sp>
      <p:sp>
        <p:nvSpPr>
          <p:cNvPr id="1032" name="Rectangle 3"/>
          <p:cNvSpPr>
            <a:spLocks noGrp="1" noChangeArrowheads="1"/>
          </p:cNvSpPr>
          <p:nvPr>
            <p:ph type="title"/>
          </p:nvPr>
        </p:nvSpPr>
        <p:spPr bwMode="auto">
          <a:xfrm>
            <a:off x="237262" y="109032"/>
            <a:ext cx="8709182" cy="342900"/>
          </a:xfrm>
          <a:prstGeom prst="rect">
            <a:avLst/>
          </a:prstGeom>
          <a:noFill/>
          <a:ln>
            <a:noFill/>
          </a:ln>
          <a:effectLst/>
          <a:extLst/>
        </p:spPr>
        <p:txBody>
          <a:bodyPr vert="horz" wrap="square" lIns="0" tIns="61448" rIns="0" bIns="61448" numCol="1" anchor="ctr" anchorCtr="0" compatLnSpc="1">
            <a:prstTxWarp prst="textNoShape">
              <a:avLst/>
            </a:prstTxWarp>
          </a:bodyPr>
          <a:lstStyle/>
          <a:p>
            <a:pPr marL="0" lvl="0" defTabSz="910286" latinLnBrk="0"/>
            <a:r>
              <a:rPr lang="en-US" dirty="0" smtClean="0"/>
              <a:t>Click to edit Master title style</a:t>
            </a:r>
          </a:p>
        </p:txBody>
      </p:sp>
      <p:sp>
        <p:nvSpPr>
          <p:cNvPr id="20" name="Footer Placeholder 97"/>
          <p:cNvSpPr txBox="1">
            <a:spLocks/>
          </p:cNvSpPr>
          <p:nvPr userDrawn="1"/>
        </p:nvSpPr>
        <p:spPr bwMode="auto">
          <a:xfrm>
            <a:off x="5565914" y="4896946"/>
            <a:ext cx="2799806" cy="162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33" tIns="45517" rIns="91033" bIns="45517"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0286" fontAlgn="base">
              <a:spcBef>
                <a:spcPct val="0"/>
              </a:spcBef>
              <a:spcAft>
                <a:spcPct val="0"/>
              </a:spcAft>
              <a:defRPr/>
            </a:pPr>
            <a:r>
              <a:rPr lang="en-US" sz="667" dirty="0" smtClean="0">
                <a:solidFill>
                  <a:srgbClr val="FFFFFF">
                    <a:lumMod val="65000"/>
                  </a:srgbClr>
                </a:solidFill>
                <a:latin typeface="Arial" panose="020B0604020202020204"/>
                <a:ea typeface="ＭＳ Ｐゴシック" pitchFamily="34" charset="-128"/>
              </a:rPr>
              <a:t>© 2017, Cognizant  Technology Solutions, Confidential &amp; Proprietary</a:t>
            </a:r>
          </a:p>
        </p:txBody>
      </p:sp>
      <p:sp>
        <p:nvSpPr>
          <p:cNvPr id="2" name="Rectangle 1"/>
          <p:cNvSpPr/>
          <p:nvPr userDrawn="1"/>
        </p:nvSpPr>
        <p:spPr>
          <a:xfrm>
            <a:off x="0" y="4887685"/>
            <a:ext cx="483810" cy="171450"/>
          </a:xfrm>
          <a:prstGeom prst="rect">
            <a:avLst/>
          </a:prstGeom>
          <a:solidFill>
            <a:srgbClr val="555555"/>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sp>
        <p:nvSpPr>
          <p:cNvPr id="4" name="Rectangle 3"/>
          <p:cNvSpPr/>
          <p:nvPr userDrawn="1"/>
        </p:nvSpPr>
        <p:spPr>
          <a:xfrm>
            <a:off x="0" y="536714"/>
            <a:ext cx="9157547" cy="48006"/>
          </a:xfrm>
          <a:prstGeom prst="rect">
            <a:avLst/>
          </a:prstGeom>
          <a:solidFill>
            <a:srgbClr val="BCD730"/>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0286"/>
            <a:endParaRPr lang="en-US" sz="1037" dirty="0">
              <a:solidFill>
                <a:srgbClr val="000000"/>
              </a:solidFill>
            </a:endParaRPr>
          </a:p>
        </p:txBody>
      </p:sp>
      <p:grpSp>
        <p:nvGrpSpPr>
          <p:cNvPr id="12" name="Group 11"/>
          <p:cNvGrpSpPr/>
          <p:nvPr userDrawn="1"/>
        </p:nvGrpSpPr>
        <p:grpSpPr>
          <a:xfrm>
            <a:off x="506349" y="4746782"/>
            <a:ext cx="1051820" cy="338031"/>
            <a:chOff x="7027951" y="4508022"/>
            <a:chExt cx="1064459" cy="306832"/>
          </a:xfrm>
        </p:grpSpPr>
        <p:pic>
          <p:nvPicPr>
            <p:cNvPr id="13" name="Picture 12"/>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7027951" y="4508022"/>
              <a:ext cx="961039" cy="306832"/>
            </a:xfrm>
            <a:prstGeom prst="rect">
              <a:avLst/>
            </a:prstGeom>
          </p:spPr>
        </p:pic>
        <p:cxnSp>
          <p:nvCxnSpPr>
            <p:cNvPr id="15" name="Straight Connector 14"/>
            <p:cNvCxnSpPr/>
            <p:nvPr userDrawn="1"/>
          </p:nvCxnSpPr>
          <p:spPr>
            <a:xfrm>
              <a:off x="8092410" y="4546543"/>
              <a:ext cx="0" cy="240243"/>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5" name="Rectangle 4"/>
          <p:cNvSpPr/>
          <p:nvPr userDrawn="1"/>
        </p:nvSpPr>
        <p:spPr>
          <a:xfrm>
            <a:off x="1558171" y="4746782"/>
            <a:ext cx="1094594" cy="338031"/>
          </a:xfrm>
          <a:prstGeom prst="rect">
            <a:avLst/>
          </a:prstGeom>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pic>
        <p:nvPicPr>
          <p:cNvPr id="16" name="Picture 15"/>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604154" y="4773008"/>
            <a:ext cx="545659" cy="312845"/>
          </a:xfrm>
          <a:prstGeom prst="rect">
            <a:avLst/>
          </a:prstGeom>
        </p:spPr>
      </p:pic>
    </p:spTree>
    <p:extLst>
      <p:ext uri="{BB962C8B-B14F-4D97-AF65-F5344CB8AC3E}">
        <p14:creationId xmlns:p14="http://schemas.microsoft.com/office/powerpoint/2010/main" val="54322578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6" r:id="rId3"/>
    <p:sldLayoutId id="2147483717" r:id="rId4"/>
    <p:sldLayoutId id="2147483719" r:id="rId5"/>
    <p:sldLayoutId id="2147483723" r:id="rId6"/>
    <p:sldLayoutId id="2147483734" r:id="rId7"/>
    <p:sldLayoutId id="2147483736" r:id="rId8"/>
    <p:sldLayoutId id="2147483737" r:id="rId9"/>
    <p:sldLayoutId id="2147483738" r:id="rId10"/>
    <p:sldLayoutId id="2147483739" r:id="rId11"/>
    <p:sldLayoutId id="2147483740" r:id="rId12"/>
    <p:sldLayoutId id="2147483741" r:id="rId13"/>
    <p:sldLayoutId id="2147483743" r:id="rId14"/>
    <p:sldLayoutId id="2147483748" r:id="rId15"/>
    <p:sldLayoutId id="2147483749" r:id="rId16"/>
  </p:sldLayoutIdLst>
  <p:timing>
    <p:tnLst>
      <p:par>
        <p:cTn id="1" dur="indefinite" restart="never" nodeType="tmRoot"/>
      </p:par>
    </p:tnLst>
  </p:timing>
  <p:hf hdr="0" dt="0"/>
  <p:txStyles>
    <p:titleStyle>
      <a:lvl1pPr algn="l" rtl="0" eaLnBrk="0" fontAlgn="base" hangingPunct="0">
        <a:spcBef>
          <a:spcPct val="0"/>
        </a:spcBef>
        <a:spcAft>
          <a:spcPct val="0"/>
        </a:spcAft>
        <a:defRPr lang="en-US" sz="2000" b="0" kern="0" dirty="0" smtClean="0">
          <a:solidFill>
            <a:schemeClr val="bg1"/>
          </a:solidFill>
          <a:latin typeface="+mj-lt"/>
          <a:ea typeface="+mj-ea"/>
          <a:cs typeface="Segoe UI" panose="020B0502040204020203" pitchFamily="34" charset="0"/>
        </a:defRPr>
      </a:lvl1pPr>
      <a:lvl2pPr algn="l" rtl="0" eaLnBrk="0" fontAlgn="base" hangingPunct="0">
        <a:spcBef>
          <a:spcPct val="0"/>
        </a:spcBef>
        <a:spcAft>
          <a:spcPct val="0"/>
        </a:spcAft>
        <a:defRPr sz="2370">
          <a:solidFill>
            <a:srgbClr val="3D97BB"/>
          </a:solidFill>
          <a:latin typeface="Arial" charset="0"/>
          <a:cs typeface="Arial" pitchFamily="34" charset="0"/>
        </a:defRPr>
      </a:lvl2pPr>
      <a:lvl3pPr algn="l" rtl="0" eaLnBrk="0" fontAlgn="base" hangingPunct="0">
        <a:spcBef>
          <a:spcPct val="0"/>
        </a:spcBef>
        <a:spcAft>
          <a:spcPct val="0"/>
        </a:spcAft>
        <a:defRPr sz="2370">
          <a:solidFill>
            <a:srgbClr val="3D97BB"/>
          </a:solidFill>
          <a:latin typeface="Arial" charset="0"/>
          <a:cs typeface="Arial" pitchFamily="34" charset="0"/>
        </a:defRPr>
      </a:lvl3pPr>
      <a:lvl4pPr algn="l" rtl="0" eaLnBrk="0" fontAlgn="base" hangingPunct="0">
        <a:spcBef>
          <a:spcPct val="0"/>
        </a:spcBef>
        <a:spcAft>
          <a:spcPct val="0"/>
        </a:spcAft>
        <a:defRPr sz="2370">
          <a:solidFill>
            <a:srgbClr val="3D97BB"/>
          </a:solidFill>
          <a:latin typeface="Arial" charset="0"/>
          <a:cs typeface="Arial" pitchFamily="34" charset="0"/>
        </a:defRPr>
      </a:lvl4pPr>
      <a:lvl5pPr algn="l" rtl="0" eaLnBrk="0" fontAlgn="base" hangingPunct="0">
        <a:spcBef>
          <a:spcPct val="0"/>
        </a:spcBef>
        <a:spcAft>
          <a:spcPct val="0"/>
        </a:spcAft>
        <a:defRPr sz="2370">
          <a:solidFill>
            <a:srgbClr val="3D97BB"/>
          </a:solidFill>
          <a:latin typeface="Arial" charset="0"/>
          <a:cs typeface="Arial" pitchFamily="34" charset="0"/>
        </a:defRPr>
      </a:lvl5pPr>
      <a:lvl6pPr marL="455143" algn="l" rtl="0" fontAlgn="base">
        <a:spcBef>
          <a:spcPct val="0"/>
        </a:spcBef>
        <a:spcAft>
          <a:spcPct val="0"/>
        </a:spcAft>
        <a:defRPr sz="2370">
          <a:solidFill>
            <a:srgbClr val="008BBC"/>
          </a:solidFill>
          <a:latin typeface="Verdana" pitchFamily="34" charset="0"/>
        </a:defRPr>
      </a:lvl6pPr>
      <a:lvl7pPr marL="910286" algn="l" rtl="0" fontAlgn="base">
        <a:spcBef>
          <a:spcPct val="0"/>
        </a:spcBef>
        <a:spcAft>
          <a:spcPct val="0"/>
        </a:spcAft>
        <a:defRPr sz="2370">
          <a:solidFill>
            <a:srgbClr val="008BBC"/>
          </a:solidFill>
          <a:latin typeface="Verdana" pitchFamily="34" charset="0"/>
        </a:defRPr>
      </a:lvl7pPr>
      <a:lvl8pPr marL="1365429" algn="l" rtl="0" fontAlgn="base">
        <a:spcBef>
          <a:spcPct val="0"/>
        </a:spcBef>
        <a:spcAft>
          <a:spcPct val="0"/>
        </a:spcAft>
        <a:defRPr sz="2370">
          <a:solidFill>
            <a:srgbClr val="008BBC"/>
          </a:solidFill>
          <a:latin typeface="Verdana" pitchFamily="34" charset="0"/>
        </a:defRPr>
      </a:lvl8pPr>
      <a:lvl9pPr marL="1820572" algn="l" rtl="0" fontAlgn="base">
        <a:spcBef>
          <a:spcPct val="0"/>
        </a:spcBef>
        <a:spcAft>
          <a:spcPct val="0"/>
        </a:spcAft>
        <a:defRPr sz="2370">
          <a:solidFill>
            <a:srgbClr val="008BBC"/>
          </a:solidFill>
          <a:latin typeface="Verdana" pitchFamily="34" charset="0"/>
        </a:defRPr>
      </a:lvl9pPr>
    </p:titleStyle>
    <p:bodyStyle>
      <a:lvl1pPr marL="224411" indent="-224411" algn="l" rtl="0" eaLnBrk="0" fontAlgn="base" hangingPunct="0">
        <a:spcBef>
          <a:spcPct val="20000"/>
        </a:spcBef>
        <a:spcAft>
          <a:spcPct val="0"/>
        </a:spcAft>
        <a:buClr>
          <a:srgbClr val="0071CF"/>
        </a:buClr>
        <a:buFont typeface="Wingdings" pitchFamily="2" charset="2"/>
        <a:buChar char="§"/>
        <a:defRPr sz="2222">
          <a:solidFill>
            <a:schemeClr val="tx1"/>
          </a:solidFill>
          <a:latin typeface="+mj-lt"/>
          <a:ea typeface="+mn-ea"/>
          <a:cs typeface="Verdana" pitchFamily="34" charset="0"/>
        </a:defRPr>
      </a:lvl1pPr>
      <a:lvl2pPr marL="739607" indent="-284464" algn="l" rtl="0" eaLnBrk="0" fontAlgn="base" hangingPunct="0">
        <a:spcBef>
          <a:spcPct val="20000"/>
        </a:spcBef>
        <a:spcAft>
          <a:spcPct val="0"/>
        </a:spcAft>
        <a:buClr>
          <a:srgbClr val="0071CF"/>
        </a:buClr>
        <a:buFont typeface="Wingdings" pitchFamily="2" charset="2"/>
        <a:buChar char="§"/>
        <a:defRPr sz="2000">
          <a:solidFill>
            <a:schemeClr val="tx1"/>
          </a:solidFill>
          <a:latin typeface="+mj-lt"/>
          <a:cs typeface="Verdana" pitchFamily="34" charset="0"/>
        </a:defRPr>
      </a:lvl2pPr>
      <a:lvl3pPr marL="1137857" indent="-227571" algn="l" rtl="0" eaLnBrk="0" fontAlgn="base" hangingPunct="0">
        <a:spcBef>
          <a:spcPct val="20000"/>
        </a:spcBef>
        <a:spcAft>
          <a:spcPct val="0"/>
        </a:spcAft>
        <a:buClr>
          <a:srgbClr val="0071CF"/>
        </a:buClr>
        <a:buFont typeface="Wingdings" pitchFamily="2" charset="2"/>
        <a:buChar char="§"/>
        <a:defRPr sz="1630">
          <a:solidFill>
            <a:schemeClr val="tx1"/>
          </a:solidFill>
          <a:latin typeface="+mj-lt"/>
          <a:cs typeface="Verdana" pitchFamily="34" charset="0"/>
        </a:defRPr>
      </a:lvl3pPr>
      <a:lvl4pPr marL="1593001" indent="-227571" algn="l" rtl="0" eaLnBrk="0" fontAlgn="base" hangingPunct="0">
        <a:spcBef>
          <a:spcPct val="20000"/>
        </a:spcBef>
        <a:spcAft>
          <a:spcPct val="0"/>
        </a:spcAft>
        <a:buClr>
          <a:srgbClr val="0071CF"/>
        </a:buClr>
        <a:buFont typeface="Wingdings" pitchFamily="2" charset="2"/>
        <a:buChar char="§"/>
        <a:defRPr sz="1407">
          <a:solidFill>
            <a:schemeClr val="tx1"/>
          </a:solidFill>
          <a:latin typeface="+mj-lt"/>
          <a:cs typeface="Verdana" pitchFamily="34" charset="0"/>
        </a:defRPr>
      </a:lvl4pPr>
      <a:lvl5pPr marL="2048144" indent="-227571" algn="l" rtl="0" eaLnBrk="0" fontAlgn="base" hangingPunct="0">
        <a:spcBef>
          <a:spcPct val="20000"/>
        </a:spcBef>
        <a:spcAft>
          <a:spcPct val="0"/>
        </a:spcAft>
        <a:buClr>
          <a:srgbClr val="0071CF"/>
        </a:buClr>
        <a:buFont typeface="Wingdings" pitchFamily="2" charset="2"/>
        <a:buChar char="§"/>
        <a:defRPr sz="1407">
          <a:solidFill>
            <a:schemeClr val="tx1"/>
          </a:solidFill>
          <a:latin typeface="+mj-lt"/>
          <a:cs typeface="Verdana" pitchFamily="34" charset="0"/>
        </a:defRPr>
      </a:lvl5pPr>
      <a:lvl6pPr marL="2503286" indent="-227571" algn="l" rtl="0" fontAlgn="base">
        <a:spcBef>
          <a:spcPct val="20000"/>
        </a:spcBef>
        <a:spcAft>
          <a:spcPct val="0"/>
        </a:spcAft>
        <a:buChar char="»"/>
        <a:defRPr sz="1407">
          <a:solidFill>
            <a:schemeClr val="tx1"/>
          </a:solidFill>
          <a:latin typeface="+mn-lt"/>
        </a:defRPr>
      </a:lvl6pPr>
      <a:lvl7pPr marL="2958429" indent="-227571" algn="l" rtl="0" fontAlgn="base">
        <a:spcBef>
          <a:spcPct val="20000"/>
        </a:spcBef>
        <a:spcAft>
          <a:spcPct val="0"/>
        </a:spcAft>
        <a:buChar char="»"/>
        <a:defRPr sz="1407">
          <a:solidFill>
            <a:schemeClr val="tx1"/>
          </a:solidFill>
          <a:latin typeface="+mn-lt"/>
        </a:defRPr>
      </a:lvl7pPr>
      <a:lvl8pPr marL="3413572" indent="-227571" algn="l" rtl="0" fontAlgn="base">
        <a:spcBef>
          <a:spcPct val="20000"/>
        </a:spcBef>
        <a:spcAft>
          <a:spcPct val="0"/>
        </a:spcAft>
        <a:buChar char="»"/>
        <a:defRPr sz="1407">
          <a:solidFill>
            <a:schemeClr val="tx1"/>
          </a:solidFill>
          <a:latin typeface="+mn-lt"/>
        </a:defRPr>
      </a:lvl8pPr>
      <a:lvl9pPr marL="3868715" indent="-227571" algn="l" rtl="0" fontAlgn="base">
        <a:spcBef>
          <a:spcPct val="20000"/>
        </a:spcBef>
        <a:spcAft>
          <a:spcPct val="0"/>
        </a:spcAft>
        <a:buChar char="»"/>
        <a:defRPr sz="1407">
          <a:solidFill>
            <a:schemeClr val="tx1"/>
          </a:solidFill>
          <a:latin typeface="+mn-lt"/>
        </a:defRPr>
      </a:lvl9pPr>
    </p:bodyStyle>
    <p:otherStyle>
      <a:defPPr>
        <a:defRPr lang="en-US"/>
      </a:defPPr>
      <a:lvl1pPr marL="0" algn="l" defTabSz="910286" rtl="0" eaLnBrk="1" latinLnBrk="0" hangingPunct="1">
        <a:defRPr sz="1778" kern="1200">
          <a:solidFill>
            <a:schemeClr val="tx1"/>
          </a:solidFill>
          <a:latin typeface="+mn-lt"/>
          <a:ea typeface="+mn-ea"/>
          <a:cs typeface="+mn-cs"/>
        </a:defRPr>
      </a:lvl1pPr>
      <a:lvl2pPr marL="455143" algn="l" defTabSz="910286" rtl="0" eaLnBrk="1" latinLnBrk="0" hangingPunct="1">
        <a:defRPr sz="1778" kern="1200">
          <a:solidFill>
            <a:schemeClr val="tx1"/>
          </a:solidFill>
          <a:latin typeface="+mn-lt"/>
          <a:ea typeface="+mn-ea"/>
          <a:cs typeface="+mn-cs"/>
        </a:defRPr>
      </a:lvl2pPr>
      <a:lvl3pPr marL="910286" algn="l" defTabSz="910286" rtl="0" eaLnBrk="1" latinLnBrk="0" hangingPunct="1">
        <a:defRPr sz="1778" kern="1200">
          <a:solidFill>
            <a:schemeClr val="tx1"/>
          </a:solidFill>
          <a:latin typeface="+mn-lt"/>
          <a:ea typeface="+mn-ea"/>
          <a:cs typeface="+mn-cs"/>
        </a:defRPr>
      </a:lvl3pPr>
      <a:lvl4pPr marL="1365429" algn="l" defTabSz="910286" rtl="0" eaLnBrk="1" latinLnBrk="0" hangingPunct="1">
        <a:defRPr sz="1778" kern="1200">
          <a:solidFill>
            <a:schemeClr val="tx1"/>
          </a:solidFill>
          <a:latin typeface="+mn-lt"/>
          <a:ea typeface="+mn-ea"/>
          <a:cs typeface="+mn-cs"/>
        </a:defRPr>
      </a:lvl4pPr>
      <a:lvl5pPr marL="1820572" algn="l" defTabSz="910286" rtl="0" eaLnBrk="1" latinLnBrk="0" hangingPunct="1">
        <a:defRPr sz="1778" kern="1200">
          <a:solidFill>
            <a:schemeClr val="tx1"/>
          </a:solidFill>
          <a:latin typeface="+mn-lt"/>
          <a:ea typeface="+mn-ea"/>
          <a:cs typeface="+mn-cs"/>
        </a:defRPr>
      </a:lvl5pPr>
      <a:lvl6pPr marL="2275715" algn="l" defTabSz="910286" rtl="0" eaLnBrk="1" latinLnBrk="0" hangingPunct="1">
        <a:defRPr sz="1778" kern="1200">
          <a:solidFill>
            <a:schemeClr val="tx1"/>
          </a:solidFill>
          <a:latin typeface="+mn-lt"/>
          <a:ea typeface="+mn-ea"/>
          <a:cs typeface="+mn-cs"/>
        </a:defRPr>
      </a:lvl6pPr>
      <a:lvl7pPr marL="2730858" algn="l" defTabSz="910286" rtl="0" eaLnBrk="1" latinLnBrk="0" hangingPunct="1">
        <a:defRPr sz="1778" kern="1200">
          <a:solidFill>
            <a:schemeClr val="tx1"/>
          </a:solidFill>
          <a:latin typeface="+mn-lt"/>
          <a:ea typeface="+mn-ea"/>
          <a:cs typeface="+mn-cs"/>
        </a:defRPr>
      </a:lvl7pPr>
      <a:lvl8pPr marL="3186001" algn="l" defTabSz="910286" rtl="0" eaLnBrk="1" latinLnBrk="0" hangingPunct="1">
        <a:defRPr sz="1778" kern="1200">
          <a:solidFill>
            <a:schemeClr val="tx1"/>
          </a:solidFill>
          <a:latin typeface="+mn-lt"/>
          <a:ea typeface="+mn-ea"/>
          <a:cs typeface="+mn-cs"/>
        </a:defRPr>
      </a:lvl8pPr>
      <a:lvl9pPr marL="3641143" algn="l" defTabSz="910286" rtl="0" eaLnBrk="1" latinLnBrk="0" hangingPunct="1">
        <a:defRPr sz="177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0" userDrawn="1">
          <p15:clr>
            <a:srgbClr val="F26B43"/>
          </p15:clr>
        </p15:guide>
        <p15:guide id="2" orient="horz" pos="3936">
          <p15:clr>
            <a:srgbClr val="F26B43"/>
          </p15:clr>
        </p15:guide>
        <p15:guide id="3" pos="7608">
          <p15:clr>
            <a:srgbClr val="F26B43"/>
          </p15:clr>
        </p15:guide>
        <p15:guide id="4" pos="144" userDrawn="1">
          <p15:clr>
            <a:srgbClr val="F26B43"/>
          </p15:clr>
        </p15:guide>
        <p15:guide id="0" orient="horz" pos="2964" userDrawn="1">
          <p15:clr>
            <a:srgbClr val="F26B43"/>
          </p15:clr>
        </p15:guide>
        <p15:guide id="5" pos="5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6" y="915"/>
            <a:ext cx="9145619" cy="5150813"/>
          </a:xfrm>
          <a:prstGeom prst="rect">
            <a:avLst/>
          </a:prstGeom>
        </p:spPr>
      </p:pic>
    </p:spTree>
    <p:extLst>
      <p:ext uri="{BB962C8B-B14F-4D97-AF65-F5344CB8AC3E}">
        <p14:creationId xmlns:p14="http://schemas.microsoft.com/office/powerpoint/2010/main" val="2843229949"/>
      </p:ext>
    </p:extLst>
  </p:cSld>
  <p:clrMap bg1="lt1" tx1="dk1" bg2="lt2" tx2="dk2" accent1="accent1" accent2="accent2" accent3="accent3" accent4="accent4" accent5="accent5" accent6="accent6" hlink="hlink" folHlink="folHlink"/>
  <p:sldLayoutIdLst>
    <p:sldLayoutId id="2147483745"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5" y="915"/>
            <a:ext cx="9145619" cy="5150812"/>
          </a:xfrm>
          <a:prstGeom prst="rect">
            <a:avLst/>
          </a:prstGeom>
        </p:spPr>
      </p:pic>
      <p:sp>
        <p:nvSpPr>
          <p:cNvPr id="2" name="Rectangle 1"/>
          <p:cNvSpPr/>
          <p:nvPr userDrawn="1"/>
        </p:nvSpPr>
        <p:spPr>
          <a:xfrm>
            <a:off x="5546690" y="4572000"/>
            <a:ext cx="1768510" cy="4622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97753" y="4592464"/>
            <a:ext cx="1316964" cy="441760"/>
          </a:xfrm>
          <a:prstGeom prst="rect">
            <a:avLst/>
          </a:prstGeom>
        </p:spPr>
      </p:pic>
    </p:spTree>
    <p:extLst>
      <p:ext uri="{BB962C8B-B14F-4D97-AF65-F5344CB8AC3E}">
        <p14:creationId xmlns:p14="http://schemas.microsoft.com/office/powerpoint/2010/main" val="2472485805"/>
      </p:ext>
    </p:extLst>
  </p:cSld>
  <p:clrMap bg1="lt1" tx1="dk1" bg2="lt2" tx2="dk2" accent1="accent1" accent2="accent2" accent3="accent3" accent4="accent4" accent5="accent5" accent6="accent6" hlink="hlink" folHlink="folHlink"/>
  <p:sldLayoutIdLst>
    <p:sldLayoutId id="2147483747"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2.png"/><Relationship Id="rId17" Type="http://schemas.openxmlformats.org/officeDocument/2006/relationships/image" Target="../media/image32.jpeg"/><Relationship Id="rId2" Type="http://schemas.openxmlformats.org/officeDocument/2006/relationships/notesSlide" Target="../notesSlides/notesSlide4.xml"/><Relationship Id="rId16" Type="http://schemas.openxmlformats.org/officeDocument/2006/relationships/image" Target="../media/image15.png"/><Relationship Id="rId1" Type="http://schemas.openxmlformats.org/officeDocument/2006/relationships/slideLayout" Target="../slideLayouts/slideLayout16.xml"/><Relationship Id="rId6" Type="http://schemas.openxmlformats.org/officeDocument/2006/relationships/diagramColors" Target="../diagrams/colors2.xml"/><Relationship Id="rId11" Type="http://schemas.openxmlformats.org/officeDocument/2006/relationships/image" Target="../media/image30.jpg"/><Relationship Id="rId5" Type="http://schemas.openxmlformats.org/officeDocument/2006/relationships/diagramQuickStyle" Target="../diagrams/quickStyle2.xml"/><Relationship Id="rId15" Type="http://schemas.openxmlformats.org/officeDocument/2006/relationships/image" Target="../media/image26.png"/><Relationship Id="rId10" Type="http://schemas.openxmlformats.org/officeDocument/2006/relationships/image" Target="../media/image29.png"/><Relationship Id="rId4" Type="http://schemas.openxmlformats.org/officeDocument/2006/relationships/diagramLayout" Target="../diagrams/layout2.xml"/><Relationship Id="rId9" Type="http://schemas.openxmlformats.org/officeDocument/2006/relationships/image" Target="../media/image28.png"/><Relationship Id="rId1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chart" Target="../charts/chart15.xml"/></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7.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8.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2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chart" Target="../charts/chart23.xml"/></Relationships>
</file>

<file path=ppt/slides/_rels/slide3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3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6.png"/><Relationship Id="rId18" Type="http://schemas.openxmlformats.org/officeDocument/2006/relationships/image" Target="../media/image37.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34.png"/><Relationship Id="rId17" Type="http://schemas.openxmlformats.org/officeDocument/2006/relationships/image" Target="../media/image36.png"/><Relationship Id="rId2" Type="http://schemas.openxmlformats.org/officeDocument/2006/relationships/notesSlide" Target="../notesSlides/notesSlide6.xml"/><Relationship Id="rId16" Type="http://schemas.openxmlformats.org/officeDocument/2006/relationships/image" Target="../media/image15.png"/><Relationship Id="rId1" Type="http://schemas.openxmlformats.org/officeDocument/2006/relationships/slideLayout" Target="../slideLayouts/slideLayout16.xml"/><Relationship Id="rId6" Type="http://schemas.openxmlformats.org/officeDocument/2006/relationships/diagramColors" Target="../diagrams/colors3.xml"/><Relationship Id="rId11" Type="http://schemas.openxmlformats.org/officeDocument/2006/relationships/image" Target="../media/image22.png"/><Relationship Id="rId5" Type="http://schemas.openxmlformats.org/officeDocument/2006/relationships/diagramQuickStyle" Target="../diagrams/quickStyle3.xml"/><Relationship Id="rId15" Type="http://schemas.openxmlformats.org/officeDocument/2006/relationships/image" Target="../media/image30.jpg"/><Relationship Id="rId10" Type="http://schemas.openxmlformats.org/officeDocument/2006/relationships/image" Target="../media/image21.png"/><Relationship Id="rId4" Type="http://schemas.openxmlformats.org/officeDocument/2006/relationships/diagramLayout" Target="../diagrams/layout3.xml"/><Relationship Id="rId9" Type="http://schemas.openxmlformats.org/officeDocument/2006/relationships/image" Target="../media/image33.png"/><Relationship Id="rId1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chart" Target="../charts/chart26.xml"/></Relationships>
</file>

<file path=ppt/slides/_rels/slide34.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35.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3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3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3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chart" Target="../charts/char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3.png"/><Relationship Id="rId18" Type="http://schemas.openxmlformats.org/officeDocument/2006/relationships/image" Target="../media/image38.jpe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22.png"/><Relationship Id="rId17" Type="http://schemas.openxmlformats.org/officeDocument/2006/relationships/image" Target="../media/image15.png"/><Relationship Id="rId2" Type="http://schemas.openxmlformats.org/officeDocument/2006/relationships/notesSlide" Target="../notesSlides/notesSlide8.xml"/><Relationship Id="rId16" Type="http://schemas.openxmlformats.org/officeDocument/2006/relationships/image" Target="../media/image29.png"/><Relationship Id="rId1" Type="http://schemas.openxmlformats.org/officeDocument/2006/relationships/slideLayout" Target="../slideLayouts/slideLayout16.xml"/><Relationship Id="rId6" Type="http://schemas.openxmlformats.org/officeDocument/2006/relationships/diagramColors" Target="../diagrams/colors4.xml"/><Relationship Id="rId11" Type="http://schemas.openxmlformats.org/officeDocument/2006/relationships/image" Target="../media/image30.jpg"/><Relationship Id="rId5" Type="http://schemas.openxmlformats.org/officeDocument/2006/relationships/diagramQuickStyle" Target="../diagrams/quickStyle4.xml"/><Relationship Id="rId15" Type="http://schemas.openxmlformats.org/officeDocument/2006/relationships/image" Target="../media/image26.png"/><Relationship Id="rId10" Type="http://schemas.openxmlformats.org/officeDocument/2006/relationships/image" Target="../media/image28.png"/><Relationship Id="rId4" Type="http://schemas.openxmlformats.org/officeDocument/2006/relationships/diagramLayout" Target="../diagrams/layout4.xml"/><Relationship Id="rId9" Type="http://schemas.openxmlformats.org/officeDocument/2006/relationships/image" Target="../media/image18.png"/><Relationship Id="rId14" Type="http://schemas.openxmlformats.org/officeDocument/2006/relationships/image" Target="../media/image31.png"/></Relationships>
</file>

<file path=ppt/slides/_rels/slide4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chart" Target="../charts/chart35.xml"/></Relationships>
</file>

<file path=ppt/slides/_rels/slide43.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37.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39.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8.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chart" Target="../charts/chart4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6.xml"/><Relationship Id="rId1" Type="http://schemas.openxmlformats.org/officeDocument/2006/relationships/tags" Target="../tags/tag1.xml"/></Relationships>
</file>

<file path=ppt/slides/_rels/slide5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39.jpe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30.jpg"/><Relationship Id="rId17" Type="http://schemas.openxmlformats.org/officeDocument/2006/relationships/image" Target="../media/image15.png"/><Relationship Id="rId2" Type="http://schemas.openxmlformats.org/officeDocument/2006/relationships/notesSlide" Target="../notesSlides/notesSlide10.xml"/><Relationship Id="rId16" Type="http://schemas.openxmlformats.org/officeDocument/2006/relationships/image" Target="../media/image26.png"/><Relationship Id="rId20" Type="http://schemas.openxmlformats.org/officeDocument/2006/relationships/image" Target="../media/image41.png"/><Relationship Id="rId1" Type="http://schemas.openxmlformats.org/officeDocument/2006/relationships/slideLayout" Target="../slideLayouts/slideLayout16.xml"/><Relationship Id="rId6" Type="http://schemas.openxmlformats.org/officeDocument/2006/relationships/diagramColors" Target="../diagrams/colors5.xml"/><Relationship Id="rId11" Type="http://schemas.openxmlformats.org/officeDocument/2006/relationships/image" Target="../media/image29.png"/><Relationship Id="rId5" Type="http://schemas.openxmlformats.org/officeDocument/2006/relationships/diagramQuickStyle" Target="../diagrams/quickStyle5.xml"/><Relationship Id="rId15" Type="http://schemas.openxmlformats.org/officeDocument/2006/relationships/image" Target="../media/image31.png"/><Relationship Id="rId10" Type="http://schemas.openxmlformats.org/officeDocument/2006/relationships/image" Target="../media/image28.png"/><Relationship Id="rId19" Type="http://schemas.openxmlformats.org/officeDocument/2006/relationships/image" Target="../media/image40.jpeg"/><Relationship Id="rId4" Type="http://schemas.openxmlformats.org/officeDocument/2006/relationships/diagramLayout" Target="../diagrams/layout5.xml"/><Relationship Id="rId9" Type="http://schemas.openxmlformats.org/officeDocument/2006/relationships/image" Target="../media/image18.png"/><Relationship Id="rId14" Type="http://schemas.openxmlformats.org/officeDocument/2006/relationships/image" Target="../media/image23.png"/></Relationships>
</file>

<file path=ppt/slides/_rels/slide5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11.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chart" Target="../charts/chart44.xml"/></Relationships>
</file>

<file path=ppt/slides/_rels/slide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chart" Target="../charts/chart45.xml"/></Relationships>
</file>

<file path=ppt/slides/_rels/slide53.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47.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chart" Target="../charts/chart48.xml"/></Relationships>
</file>

<file path=ppt/slides/_rels/slide56.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5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51.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0.png"/><Relationship Id="rId18" Type="http://schemas.openxmlformats.org/officeDocument/2006/relationships/image" Target="../media/image36.png"/><Relationship Id="rId3" Type="http://schemas.openxmlformats.org/officeDocument/2006/relationships/image" Target="../media/image42.png"/><Relationship Id="rId21" Type="http://schemas.openxmlformats.org/officeDocument/2006/relationships/image" Target="../media/image53.jpg"/><Relationship Id="rId7" Type="http://schemas.openxmlformats.org/officeDocument/2006/relationships/image" Target="../media/image46.png"/><Relationship Id="rId12" Type="http://schemas.openxmlformats.org/officeDocument/2006/relationships/image" Target="../media/image35.png"/><Relationship Id="rId17" Type="http://schemas.openxmlformats.org/officeDocument/2006/relationships/image" Target="../media/image51.gif"/><Relationship Id="rId2" Type="http://schemas.openxmlformats.org/officeDocument/2006/relationships/notesSlide" Target="../notesSlides/notesSlide14.xml"/><Relationship Id="rId16" Type="http://schemas.openxmlformats.org/officeDocument/2006/relationships/image" Target="../media/image23.png"/><Relationship Id="rId20" Type="http://schemas.openxmlformats.org/officeDocument/2006/relationships/image" Target="../media/image15.png"/><Relationship Id="rId1" Type="http://schemas.openxmlformats.org/officeDocument/2006/relationships/slideLayout" Target="../slideLayouts/slideLayout16.xml"/><Relationship Id="rId6" Type="http://schemas.openxmlformats.org/officeDocument/2006/relationships/image" Target="../media/image45.png"/><Relationship Id="rId11" Type="http://schemas.openxmlformats.org/officeDocument/2006/relationships/image" Target="../media/image30.jpg"/><Relationship Id="rId5" Type="http://schemas.openxmlformats.org/officeDocument/2006/relationships/image" Target="../media/image44.png"/><Relationship Id="rId15" Type="http://schemas.openxmlformats.org/officeDocument/2006/relationships/image" Target="../media/image31.png"/><Relationship Id="rId10" Type="http://schemas.openxmlformats.org/officeDocument/2006/relationships/image" Target="../media/image49.png"/><Relationship Id="rId19" Type="http://schemas.openxmlformats.org/officeDocument/2006/relationships/image" Target="../media/image52.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20.jpeg"/><Relationship Id="rId22" Type="http://schemas.openxmlformats.org/officeDocument/2006/relationships/image" Target="../media/image54.png"/></Relationships>
</file>

<file path=ppt/slides/_rels/slide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8" Type="http://schemas.openxmlformats.org/officeDocument/2006/relationships/diagramQuickStyle" Target="../diagrams/quickStyle6.xml"/><Relationship Id="rId13" Type="http://schemas.openxmlformats.org/officeDocument/2006/relationships/image" Target="../media/image62.png"/><Relationship Id="rId18" Type="http://schemas.openxmlformats.org/officeDocument/2006/relationships/image" Target="../media/image64.png"/><Relationship Id="rId3" Type="http://schemas.openxmlformats.org/officeDocument/2006/relationships/image" Target="../media/image57.png"/><Relationship Id="rId21" Type="http://schemas.openxmlformats.org/officeDocument/2006/relationships/image" Target="../media/image52.png"/><Relationship Id="rId7" Type="http://schemas.openxmlformats.org/officeDocument/2006/relationships/diagramLayout" Target="../diagrams/layout6.xml"/><Relationship Id="rId12" Type="http://schemas.openxmlformats.org/officeDocument/2006/relationships/image" Target="../media/image61.png"/><Relationship Id="rId17" Type="http://schemas.openxmlformats.org/officeDocument/2006/relationships/image" Target="../media/image63.png"/><Relationship Id="rId2" Type="http://schemas.openxmlformats.org/officeDocument/2006/relationships/image" Target="../media/image56.png"/><Relationship Id="rId16" Type="http://schemas.openxmlformats.org/officeDocument/2006/relationships/image" Target="../media/image48.png"/><Relationship Id="rId20" Type="http://schemas.openxmlformats.org/officeDocument/2006/relationships/image" Target="../media/image66.png"/><Relationship Id="rId1" Type="http://schemas.openxmlformats.org/officeDocument/2006/relationships/slideLayout" Target="../slideLayouts/slideLayout16.xml"/><Relationship Id="rId6" Type="http://schemas.openxmlformats.org/officeDocument/2006/relationships/diagramData" Target="../diagrams/data6.xml"/><Relationship Id="rId11" Type="http://schemas.openxmlformats.org/officeDocument/2006/relationships/image" Target="../media/image60.png"/><Relationship Id="rId5" Type="http://schemas.openxmlformats.org/officeDocument/2006/relationships/image" Target="../media/image59.png"/><Relationship Id="rId15" Type="http://schemas.openxmlformats.org/officeDocument/2006/relationships/image" Target="../media/image36.png"/><Relationship Id="rId10" Type="http://schemas.microsoft.com/office/2007/relationships/diagramDrawing" Target="../diagrams/drawing6.xml"/><Relationship Id="rId19" Type="http://schemas.openxmlformats.org/officeDocument/2006/relationships/image" Target="../media/image65.png"/><Relationship Id="rId4" Type="http://schemas.openxmlformats.org/officeDocument/2006/relationships/image" Target="../media/image58.emf"/><Relationship Id="rId9" Type="http://schemas.openxmlformats.org/officeDocument/2006/relationships/diagramColors" Target="../diagrams/colors6.xml"/><Relationship Id="rId14" Type="http://schemas.openxmlformats.org/officeDocument/2006/relationships/image" Target="../media/image15.png"/></Relationships>
</file>

<file path=ppt/slides/_rels/slide64.xml.rels><?xml version="1.0" encoding="UTF-8" standalone="yes"?>
<Relationships xmlns="http://schemas.openxmlformats.org/package/2006/relationships"><Relationship Id="rId8" Type="http://schemas.openxmlformats.org/officeDocument/2006/relationships/image" Target="../media/image68.png"/><Relationship Id="rId13" Type="http://schemas.microsoft.com/office/2007/relationships/diagramDrawing" Target="../diagrams/drawing7.xml"/><Relationship Id="rId18" Type="http://schemas.openxmlformats.org/officeDocument/2006/relationships/image" Target="../media/image15.png"/><Relationship Id="rId3" Type="http://schemas.openxmlformats.org/officeDocument/2006/relationships/image" Target="../media/image67.png"/><Relationship Id="rId21" Type="http://schemas.openxmlformats.org/officeDocument/2006/relationships/image" Target="../media/image71.png"/><Relationship Id="rId7" Type="http://schemas.openxmlformats.org/officeDocument/2006/relationships/image" Target="../media/image59.png"/><Relationship Id="rId12" Type="http://schemas.openxmlformats.org/officeDocument/2006/relationships/diagramColors" Target="../diagrams/colors7.xml"/><Relationship Id="rId17" Type="http://schemas.openxmlformats.org/officeDocument/2006/relationships/image" Target="../media/image62.png"/><Relationship Id="rId2" Type="http://schemas.openxmlformats.org/officeDocument/2006/relationships/image" Target="../media/image50.png"/><Relationship Id="rId16" Type="http://schemas.openxmlformats.org/officeDocument/2006/relationships/image" Target="../media/image70.png"/><Relationship Id="rId20" Type="http://schemas.openxmlformats.org/officeDocument/2006/relationships/image" Target="../media/image48.png"/><Relationship Id="rId1" Type="http://schemas.openxmlformats.org/officeDocument/2006/relationships/slideLayout" Target="../slideLayouts/slideLayout16.xml"/><Relationship Id="rId6" Type="http://schemas.openxmlformats.org/officeDocument/2006/relationships/image" Target="../media/image58.emf"/><Relationship Id="rId11" Type="http://schemas.openxmlformats.org/officeDocument/2006/relationships/diagramQuickStyle" Target="../diagrams/quickStyle7.xml"/><Relationship Id="rId5" Type="http://schemas.openxmlformats.org/officeDocument/2006/relationships/image" Target="../media/image57.png"/><Relationship Id="rId15" Type="http://schemas.openxmlformats.org/officeDocument/2006/relationships/image" Target="../media/image69.png"/><Relationship Id="rId10" Type="http://schemas.openxmlformats.org/officeDocument/2006/relationships/diagramLayout" Target="../diagrams/layout7.xml"/><Relationship Id="rId19" Type="http://schemas.openxmlformats.org/officeDocument/2006/relationships/image" Target="../media/image36.png"/><Relationship Id="rId4" Type="http://schemas.openxmlformats.org/officeDocument/2006/relationships/image" Target="../media/image56.png"/><Relationship Id="rId9" Type="http://schemas.openxmlformats.org/officeDocument/2006/relationships/diagramData" Target="../diagrams/data7.xml"/><Relationship Id="rId14" Type="http://schemas.openxmlformats.org/officeDocument/2006/relationships/image" Target="../media/image60.png"/><Relationship Id="rId22" Type="http://schemas.openxmlformats.org/officeDocument/2006/relationships/image" Target="../media/image52.png"/></Relationships>
</file>

<file path=ppt/slides/_rels/slide6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73.png"/><Relationship Id="rId18" Type="http://schemas.openxmlformats.org/officeDocument/2006/relationships/image" Target="../media/image69.png"/><Relationship Id="rId3" Type="http://schemas.openxmlformats.org/officeDocument/2006/relationships/diagramLayout" Target="../diagrams/layout8.xml"/><Relationship Id="rId21" Type="http://schemas.openxmlformats.org/officeDocument/2006/relationships/image" Target="../media/image48.png"/><Relationship Id="rId7" Type="http://schemas.openxmlformats.org/officeDocument/2006/relationships/image" Target="../media/image72.png"/><Relationship Id="rId12" Type="http://schemas.openxmlformats.org/officeDocument/2006/relationships/image" Target="../media/image60.png"/><Relationship Id="rId17" Type="http://schemas.openxmlformats.org/officeDocument/2006/relationships/image" Target="../media/image47.png"/><Relationship Id="rId2" Type="http://schemas.openxmlformats.org/officeDocument/2006/relationships/diagramData" Target="../diagrams/data8.xml"/><Relationship Id="rId16" Type="http://schemas.openxmlformats.org/officeDocument/2006/relationships/image" Target="../media/image36.png"/><Relationship Id="rId20" Type="http://schemas.openxmlformats.org/officeDocument/2006/relationships/image" Target="../media/image71.png"/><Relationship Id="rId1" Type="http://schemas.openxmlformats.org/officeDocument/2006/relationships/slideLayout" Target="../slideLayouts/slideLayout16.xml"/><Relationship Id="rId6" Type="http://schemas.microsoft.com/office/2007/relationships/diagramDrawing" Target="../diagrams/drawing8.xml"/><Relationship Id="rId11" Type="http://schemas.openxmlformats.org/officeDocument/2006/relationships/image" Target="../media/image59.png"/><Relationship Id="rId5" Type="http://schemas.openxmlformats.org/officeDocument/2006/relationships/diagramColors" Target="../diagrams/colors8.xml"/><Relationship Id="rId15" Type="http://schemas.openxmlformats.org/officeDocument/2006/relationships/image" Target="../media/image15.png"/><Relationship Id="rId10" Type="http://schemas.openxmlformats.org/officeDocument/2006/relationships/image" Target="../media/image58.emf"/><Relationship Id="rId19" Type="http://schemas.openxmlformats.org/officeDocument/2006/relationships/image" Target="../media/image75.jpeg"/><Relationship Id="rId4" Type="http://schemas.openxmlformats.org/officeDocument/2006/relationships/diagramQuickStyle" Target="../diagrams/quickStyle8.xml"/><Relationship Id="rId9" Type="http://schemas.openxmlformats.org/officeDocument/2006/relationships/image" Target="../media/image57.png"/><Relationship Id="rId14" Type="http://schemas.openxmlformats.org/officeDocument/2006/relationships/image" Target="../media/image74.png"/><Relationship Id="rId22" Type="http://schemas.openxmlformats.org/officeDocument/2006/relationships/image" Target="../media/image52.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notesSlide" Target="../notesSlides/notesSlide2.xml"/><Relationship Id="rId16" Type="http://schemas.openxmlformats.org/officeDocument/2006/relationships/image" Target="../media/image25.png"/><Relationship Id="rId1" Type="http://schemas.openxmlformats.org/officeDocument/2006/relationships/slideLayout" Target="../slideLayouts/slideLayout16.xml"/><Relationship Id="rId6" Type="http://schemas.openxmlformats.org/officeDocument/2006/relationships/diagramColors" Target="../diagrams/colors1.xml"/><Relationship Id="rId11" Type="http://schemas.openxmlformats.org/officeDocument/2006/relationships/image" Target="../media/image20.jpeg"/><Relationship Id="rId5" Type="http://schemas.openxmlformats.org/officeDocument/2006/relationships/diagramQuickStyle" Target="../diagrams/quickStyle1.xml"/><Relationship Id="rId15" Type="http://schemas.openxmlformats.org/officeDocument/2006/relationships/image" Target="../media/image24.png"/><Relationship Id="rId10" Type="http://schemas.openxmlformats.org/officeDocument/2006/relationships/image" Target="../media/image19.jpg"/><Relationship Id="rId4" Type="http://schemas.openxmlformats.org/officeDocument/2006/relationships/diagramLayout" Target="../diagrams/layout1.xml"/><Relationship Id="rId9" Type="http://schemas.openxmlformats.org/officeDocument/2006/relationships/image" Target="../media/image18.png"/><Relationship Id="rId1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6.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2" name="Title 2"/>
          <p:cNvSpPr txBox="1">
            <a:spLocks/>
          </p:cNvSpPr>
          <p:nvPr/>
        </p:nvSpPr>
        <p:spPr>
          <a:xfrm>
            <a:off x="181428" y="2782184"/>
            <a:ext cx="6447972" cy="650444"/>
          </a:xfrm>
          <a:prstGeom prst="rect">
            <a:avLst/>
          </a:prstGeom>
          <a:noFill/>
          <a:ln>
            <a:noFill/>
          </a:ln>
          <a:effectLst/>
        </p:spPr>
        <p:txBody>
          <a:bodyPr anchor="ctr"/>
          <a:lstStyle>
            <a:lvl1pPr algn="l" rtl="0" eaLnBrk="1" fontAlgn="base" hangingPunct="1">
              <a:spcBef>
                <a:spcPct val="0"/>
              </a:spcBef>
              <a:spcAft>
                <a:spcPct val="0"/>
              </a:spcAft>
              <a:defRPr sz="2800">
                <a:solidFill>
                  <a:schemeClr val="tx1"/>
                </a:solidFill>
                <a:latin typeface="Arial"/>
                <a:ea typeface="ＭＳ Ｐゴシック" pitchFamily="-28" charset="-128"/>
                <a:cs typeface="Arial"/>
              </a:defRPr>
            </a:lvl1pPr>
            <a:lvl2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2pPr>
            <a:lvl3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3pPr>
            <a:lvl4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4pPr>
            <a:lvl5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5pPr>
            <a:lvl6pPr marL="457200" algn="l" rtl="0" eaLnBrk="1" fontAlgn="base" hangingPunct="1">
              <a:spcBef>
                <a:spcPct val="0"/>
              </a:spcBef>
              <a:spcAft>
                <a:spcPct val="0"/>
              </a:spcAft>
              <a:defRPr sz="2400">
                <a:solidFill>
                  <a:srgbClr val="3D97BB"/>
                </a:solidFill>
                <a:latin typeface="Arial" pitchFamily="34" charset="0"/>
              </a:defRPr>
            </a:lvl6pPr>
            <a:lvl7pPr marL="914400" algn="l" rtl="0" eaLnBrk="1" fontAlgn="base" hangingPunct="1">
              <a:spcBef>
                <a:spcPct val="0"/>
              </a:spcBef>
              <a:spcAft>
                <a:spcPct val="0"/>
              </a:spcAft>
              <a:defRPr sz="2400">
                <a:solidFill>
                  <a:srgbClr val="3D97BB"/>
                </a:solidFill>
                <a:latin typeface="Arial" pitchFamily="34" charset="0"/>
              </a:defRPr>
            </a:lvl7pPr>
            <a:lvl8pPr marL="1371600" algn="l" rtl="0" eaLnBrk="1" fontAlgn="base" hangingPunct="1">
              <a:spcBef>
                <a:spcPct val="0"/>
              </a:spcBef>
              <a:spcAft>
                <a:spcPct val="0"/>
              </a:spcAft>
              <a:defRPr sz="2400">
                <a:solidFill>
                  <a:srgbClr val="3D97BB"/>
                </a:solidFill>
                <a:latin typeface="Arial" pitchFamily="34" charset="0"/>
              </a:defRPr>
            </a:lvl8pPr>
            <a:lvl9pPr marL="1828800" algn="l" rtl="0" eaLnBrk="1" fontAlgn="base" hangingPunct="1">
              <a:spcBef>
                <a:spcPct val="0"/>
              </a:spcBef>
              <a:spcAft>
                <a:spcPct val="0"/>
              </a:spcAft>
              <a:defRPr sz="2400">
                <a:solidFill>
                  <a:srgbClr val="3D97BB"/>
                </a:solidFill>
                <a:latin typeface="Arial" pitchFamily="34" charset="0"/>
              </a:defRPr>
            </a:lvl9pPr>
          </a:lstStyle>
          <a:p>
            <a:pPr>
              <a:spcAft>
                <a:spcPts val="0"/>
              </a:spcAft>
            </a:pPr>
            <a:r>
              <a:rPr lang="en-US" sz="2400" spc="300" dirty="0" smtClean="0">
                <a:solidFill>
                  <a:prstClr val="white"/>
                </a:solidFill>
                <a:latin typeface="Interstate-Light Normal" charset="0"/>
                <a:ea typeface="Interstate-Light Normal" charset="0"/>
                <a:cs typeface="Interstate-Light Normal" charset="0"/>
              </a:rPr>
              <a:t>DevOps Assessment for </a:t>
            </a:r>
            <a:r>
              <a:rPr lang="en-US" sz="2400" spc="300" dirty="0" err="1" smtClean="0">
                <a:solidFill>
                  <a:prstClr val="white"/>
                </a:solidFill>
                <a:latin typeface="Interstate-Light Normal" charset="0"/>
                <a:ea typeface="Interstate-Light Normal" charset="0"/>
                <a:cs typeface="Interstate-Light Normal" charset="0"/>
              </a:rPr>
              <a:t>Naranja</a:t>
            </a:r>
            <a:endParaRPr lang="en-US" sz="1200" kern="0" spc="110" dirty="0">
              <a:solidFill>
                <a:prstClr val="white"/>
              </a:solidFill>
              <a:latin typeface="Interstate-Light Normal" charset="0"/>
              <a:ea typeface="Interstate-Light Normal" charset="0"/>
              <a:cs typeface="Interstate-Light Normal" charset="0"/>
            </a:endParaRPr>
          </a:p>
        </p:txBody>
      </p:sp>
      <p:sp>
        <p:nvSpPr>
          <p:cNvPr id="3" name="Title 2"/>
          <p:cNvSpPr txBox="1">
            <a:spLocks/>
          </p:cNvSpPr>
          <p:nvPr/>
        </p:nvSpPr>
        <p:spPr>
          <a:xfrm>
            <a:off x="6738257" y="2930956"/>
            <a:ext cx="2129518" cy="352901"/>
          </a:xfrm>
          <a:prstGeom prst="rect">
            <a:avLst/>
          </a:prstGeom>
          <a:noFill/>
          <a:ln>
            <a:noFill/>
          </a:ln>
          <a:effectLst/>
        </p:spPr>
        <p:txBody>
          <a:bodyPr anchor="ctr"/>
          <a:lstStyle>
            <a:lvl1pPr algn="l" rtl="0" eaLnBrk="1" fontAlgn="base" hangingPunct="1">
              <a:spcBef>
                <a:spcPct val="0"/>
              </a:spcBef>
              <a:spcAft>
                <a:spcPct val="0"/>
              </a:spcAft>
              <a:defRPr sz="2800">
                <a:solidFill>
                  <a:schemeClr val="tx1"/>
                </a:solidFill>
                <a:latin typeface="Arial"/>
                <a:ea typeface="ＭＳ Ｐゴシック" pitchFamily="-28" charset="-128"/>
                <a:cs typeface="Arial"/>
              </a:defRPr>
            </a:lvl1pPr>
            <a:lvl2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2pPr>
            <a:lvl3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3pPr>
            <a:lvl4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4pPr>
            <a:lvl5pPr algn="l" rtl="0" eaLnBrk="1" fontAlgn="base" hangingPunct="1">
              <a:spcBef>
                <a:spcPct val="0"/>
              </a:spcBef>
              <a:spcAft>
                <a:spcPct val="0"/>
              </a:spcAft>
              <a:defRPr sz="2800">
                <a:solidFill>
                  <a:schemeClr val="tx1"/>
                </a:solidFill>
                <a:latin typeface="Arial" pitchFamily="34" charset="0"/>
                <a:ea typeface="ＭＳ Ｐゴシック" pitchFamily="-28" charset="-128"/>
                <a:cs typeface="ＭＳ Ｐゴシック" pitchFamily="-28" charset="-128"/>
              </a:defRPr>
            </a:lvl5pPr>
            <a:lvl6pPr marL="457200" algn="l" rtl="0" eaLnBrk="1" fontAlgn="base" hangingPunct="1">
              <a:spcBef>
                <a:spcPct val="0"/>
              </a:spcBef>
              <a:spcAft>
                <a:spcPct val="0"/>
              </a:spcAft>
              <a:defRPr sz="2400">
                <a:solidFill>
                  <a:srgbClr val="3D97BB"/>
                </a:solidFill>
                <a:latin typeface="Arial" pitchFamily="34" charset="0"/>
              </a:defRPr>
            </a:lvl6pPr>
            <a:lvl7pPr marL="914400" algn="l" rtl="0" eaLnBrk="1" fontAlgn="base" hangingPunct="1">
              <a:spcBef>
                <a:spcPct val="0"/>
              </a:spcBef>
              <a:spcAft>
                <a:spcPct val="0"/>
              </a:spcAft>
              <a:defRPr sz="2400">
                <a:solidFill>
                  <a:srgbClr val="3D97BB"/>
                </a:solidFill>
                <a:latin typeface="Arial" pitchFamily="34" charset="0"/>
              </a:defRPr>
            </a:lvl7pPr>
            <a:lvl8pPr marL="1371600" algn="l" rtl="0" eaLnBrk="1" fontAlgn="base" hangingPunct="1">
              <a:spcBef>
                <a:spcPct val="0"/>
              </a:spcBef>
              <a:spcAft>
                <a:spcPct val="0"/>
              </a:spcAft>
              <a:defRPr sz="2400">
                <a:solidFill>
                  <a:srgbClr val="3D97BB"/>
                </a:solidFill>
                <a:latin typeface="Arial" pitchFamily="34" charset="0"/>
              </a:defRPr>
            </a:lvl8pPr>
            <a:lvl9pPr marL="1828800" algn="l" rtl="0" eaLnBrk="1" fontAlgn="base" hangingPunct="1">
              <a:spcBef>
                <a:spcPct val="0"/>
              </a:spcBef>
              <a:spcAft>
                <a:spcPct val="0"/>
              </a:spcAft>
              <a:defRPr sz="2400">
                <a:solidFill>
                  <a:srgbClr val="3D97BB"/>
                </a:solidFill>
                <a:latin typeface="Arial" pitchFamily="34" charset="0"/>
              </a:defRPr>
            </a:lvl9pPr>
          </a:lstStyle>
          <a:p>
            <a:pPr>
              <a:spcAft>
                <a:spcPts val="0"/>
              </a:spcAft>
            </a:pPr>
            <a:endParaRPr lang="en-US" sz="1400" kern="0" spc="110" dirty="0">
              <a:solidFill>
                <a:prstClr val="white"/>
              </a:solidFill>
              <a:latin typeface="Interstate-Light Normal" charset="0"/>
              <a:ea typeface="Interstate-Light Normal" charset="0"/>
              <a:cs typeface="Interstate-Light Normal" charset="0"/>
            </a:endParaRPr>
          </a:p>
        </p:txBody>
      </p:sp>
      <p:sp>
        <p:nvSpPr>
          <p:cNvPr id="4" name="Rectangle 3"/>
          <p:cNvSpPr/>
          <p:nvPr/>
        </p:nvSpPr>
        <p:spPr>
          <a:xfrm>
            <a:off x="6313336" y="4650880"/>
            <a:ext cx="97075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2497" y="4650880"/>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66138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777278" y="593517"/>
            <a:ext cx="2231864" cy="20375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a:t>
            </a:r>
            <a:r>
              <a:rPr lang="en-US" dirty="0">
                <a:latin typeface="Segoe UI Light" panose="020B0502040204020203" pitchFamily="34" charset="0"/>
              </a:rPr>
              <a:t>Build</a:t>
            </a:r>
            <a:endParaRPr lang="en-US" dirty="0"/>
          </a:p>
        </p:txBody>
      </p:sp>
      <p:sp>
        <p:nvSpPr>
          <p:cNvPr id="4" name="Rectangle 3"/>
          <p:cNvSpPr/>
          <p:nvPr/>
        </p:nvSpPr>
        <p:spPr>
          <a:xfrm>
            <a:off x="3817088" y="816169"/>
            <a:ext cx="5231219" cy="4021646"/>
          </a:xfrm>
          <a:prstGeom prst="rect">
            <a:avLst/>
          </a:prstGeom>
          <a:solidFill>
            <a:schemeClr val="bg1"/>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Strategy</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an, Processes &amp; Operational activitie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No document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vailable</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to refer however Vendor is having all the documents. </a:t>
            </a: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SCM </a:t>
            </a: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Tool (GIT) is owned and operated by the Vendor.</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 reference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dentified to improve planning efficienc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Metrics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g. LOC, Check-in frequency and # Check-in policie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available to monitor the effectiveness of SCM processe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llowed 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erging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appens on Scrum Master / PM’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cision mainly over mails.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ccess restrictions to be implement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 Merging and Tagging is not automated.</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failure based on Code Quality is not automat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tatic code analysis is done using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tyleCop</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however it is not performed on each code commi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Review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a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oes not track the code review effectiveness through defect leakag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etric.</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review is not performed before the Buil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rucible is used for code review however it is not integrated with SCM which leads to improper control.</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Unit Tests &amp; Code Coverage</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utomated unit test suites are available. Hence, the team does not describe the degree to which the source code of a program has been tested.</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re is no tool available to track the code coverage since team follows manual unit testing.</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uto scripts are available to create/cleanup test data since team follows manual unit testing.</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it Test suites are not integrated with CI since team follows manual unit testing</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extBox 4"/>
          <p:cNvSpPr txBox="1"/>
          <p:nvPr/>
        </p:nvSpPr>
        <p:spPr>
          <a:xfrm>
            <a:off x="3753291" y="562800"/>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7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345989" y="4210213"/>
            <a:ext cx="3396670" cy="476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Tool for SCM – </a:t>
            </a:r>
            <a:r>
              <a:rPr lang="en-US" sz="900" dirty="0" err="1"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GitLab</a:t>
            </a: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indent="-171450">
              <a:buFont typeface="Wingdings" panose="05000000000000000000" pitchFamily="2" charset="2"/>
              <a:buChar char="q"/>
            </a:pPr>
            <a:r>
              <a:rPr lang="en-US" sz="900" dirty="0" err="1"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SonarQube</a:t>
            </a: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used for Code Quality</a:t>
            </a:r>
          </a:p>
          <a:p>
            <a:pPr marL="171450" indent="-171450">
              <a:buFont typeface="Wingdings" panose="05000000000000000000" pitchFamily="2" charset="2"/>
              <a:buChar char="q"/>
            </a:pP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rucible used for code review</a:t>
            </a:r>
          </a:p>
          <a:p>
            <a:endParaRPr lang="en-US" sz="900" dirty="0" smtClean="0">
              <a:solidFill>
                <a:srgbClr val="141414"/>
              </a:solidFill>
            </a:endParaRPr>
          </a:p>
          <a:p>
            <a:r>
              <a:rPr lang="en-US" sz="900" dirty="0" smtClean="0">
                <a:solidFill>
                  <a:srgbClr val="141414"/>
                </a:solidFill>
              </a:rPr>
              <a:t>  	</a:t>
            </a:r>
          </a:p>
          <a:p>
            <a:endParaRPr lang="en-US" sz="900" dirty="0">
              <a:solidFill>
                <a:srgbClr val="141414"/>
              </a:solidFill>
            </a:endParaRPr>
          </a:p>
        </p:txBody>
      </p:sp>
      <p:sp>
        <p:nvSpPr>
          <p:cNvPr id="9" name="TextBox 8"/>
          <p:cNvSpPr txBox="1"/>
          <p:nvPr/>
        </p:nvSpPr>
        <p:spPr>
          <a:xfrm>
            <a:off x="82395" y="3891100"/>
            <a:ext cx="3660264" cy="276999"/>
          </a:xfrm>
          <a:prstGeom prst="rect">
            <a:avLst/>
          </a:prstGeom>
          <a:solidFill>
            <a:schemeClr val="tx2">
              <a:lumMod val="7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p:nvPicPr>
        <p:blipFill>
          <a:blip r:embed="rId3"/>
          <a:stretch>
            <a:fillRect/>
          </a:stretch>
        </p:blipFill>
        <p:spPr>
          <a:xfrm>
            <a:off x="57689" y="4305967"/>
            <a:ext cx="288300" cy="285194"/>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2145031741"/>
              </p:ext>
            </p:extLst>
          </p:nvPr>
        </p:nvGraphicFramePr>
        <p:xfrm>
          <a:off x="57690" y="605330"/>
          <a:ext cx="3684969" cy="3190016"/>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5" name="Picture 2" descr="https://www.naranj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1394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806456" y="658495"/>
            <a:ext cx="2192054" cy="213205"/>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a:t>NOL </a:t>
            </a:r>
            <a:r>
              <a:rPr lang="en-US" dirty="0" smtClean="0"/>
              <a:t>– </a:t>
            </a:r>
            <a:r>
              <a:rPr lang="en-US" dirty="0" smtClean="0">
                <a:latin typeface="Segoe UI Light" panose="020B0502040204020203" pitchFamily="34" charset="0"/>
              </a:rPr>
              <a:t>Build continues</a:t>
            </a:r>
            <a:endParaRPr lang="en-US" dirty="0"/>
          </a:p>
        </p:txBody>
      </p:sp>
      <p:sp>
        <p:nvSpPr>
          <p:cNvPr id="4" name="Rectangle 3"/>
          <p:cNvSpPr/>
          <p:nvPr/>
        </p:nvSpPr>
        <p:spPr>
          <a:xfrm>
            <a:off x="3817088" y="922862"/>
            <a:ext cx="5109831" cy="2011724"/>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Build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artifact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heck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one Manually.</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tegr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ith third party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ackages/libraries is not embedded.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s are scheduled however using batch processing.</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hird party Integration</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pendency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agement in the build scrip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re is no versioning mechanism for third party librarie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t they are stored in the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aranja</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SCM system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learCase</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Integr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I is not defined and implemented.</a:t>
            </a:r>
            <a:endParaRPr lang="en-US" sz="900" b="1"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6" name="TextBox 5"/>
          <p:cNvSpPr txBox="1"/>
          <p:nvPr/>
        </p:nvSpPr>
        <p:spPr>
          <a:xfrm>
            <a:off x="3827722" y="62659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313136" y="4210213"/>
            <a:ext cx="3429524" cy="505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MS Build to compile the code and </a:t>
            </a:r>
            <a:r>
              <a:rPr lang="en-US" sz="900" dirty="0" err="1"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Nuget</a:t>
            </a: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for dependency management.  </a:t>
            </a:r>
          </a:p>
          <a:p>
            <a:endParaRPr lang="en-US" sz="900" dirty="0" smtClean="0">
              <a:solidFill>
                <a:srgbClr val="141414"/>
              </a:solidFill>
            </a:endParaRPr>
          </a:p>
          <a:p>
            <a:r>
              <a:rPr lang="en-US" sz="900" dirty="0" smtClean="0">
                <a:solidFill>
                  <a:srgbClr val="141414"/>
                </a:solidFill>
              </a:rPr>
              <a:t>  	</a:t>
            </a:r>
          </a:p>
          <a:p>
            <a:endParaRPr lang="en-US" sz="900" dirty="0">
              <a:solidFill>
                <a:srgbClr val="141414"/>
              </a:solidFill>
            </a:endParaRPr>
          </a:p>
        </p:txBody>
      </p:sp>
      <p:sp>
        <p:nvSpPr>
          <p:cNvPr id="8" name="TextBox 7"/>
          <p:cNvSpPr txBox="1"/>
          <p:nvPr/>
        </p:nvSpPr>
        <p:spPr>
          <a:xfrm>
            <a:off x="107004" y="3933214"/>
            <a:ext cx="3635656"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p:cNvPicPr>
            <a:picLocks noChangeAspect="1"/>
          </p:cNvPicPr>
          <p:nvPr/>
        </p:nvPicPr>
        <p:blipFill>
          <a:blip r:embed="rId2"/>
          <a:stretch>
            <a:fillRect/>
          </a:stretch>
        </p:blipFill>
        <p:spPr>
          <a:xfrm>
            <a:off x="65920" y="4210213"/>
            <a:ext cx="288300" cy="285194"/>
          </a:xfrm>
          <a:prstGeom prst="rect">
            <a:avLst/>
          </a:prstGeom>
        </p:spPr>
      </p:pic>
      <p:sp>
        <p:nvSpPr>
          <p:cNvPr id="10" name="Rectangle 9"/>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7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val="2967634588"/>
              </p:ext>
            </p:extLst>
          </p:nvPr>
        </p:nvGraphicFramePr>
        <p:xfrm>
          <a:off x="57690" y="605330"/>
          <a:ext cx="3684969" cy="3190016"/>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5"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827722" y="2985747"/>
            <a:ext cx="3519376" cy="264367"/>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9" name="Rectangle 18"/>
          <p:cNvSpPr/>
          <p:nvPr/>
        </p:nvSpPr>
        <p:spPr>
          <a:xfrm>
            <a:off x="3838355" y="3250115"/>
            <a:ext cx="5109831" cy="1608964"/>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Strateg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ocumentation of all SOPs and Guidelines (SCM Strategy, Branching/Merging Strategies, Continuous Integration Process &amp; Techniques) need to be made available in a common repository for team’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ference irrespective of Vendor or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Tea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hich helps the team to improve planning efficienc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branching and merging activity thorough organized way to avoid repetitive activities. Master copy to hold production corresponding code base.</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ke use of consolidated build scripts’ references to improve planning efficienc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figure and Track Metrics like LOC, Check-in frequency and # Check-in policies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tc</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through SCM tool to monitor the effectiveness of SCM processe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p:cNvSpPr txBox="1"/>
          <p:nvPr/>
        </p:nvSpPr>
        <p:spPr>
          <a:xfrm>
            <a:off x="3848988" y="2953851"/>
            <a:ext cx="3498109"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33779280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4" name="Title 2"/>
          <p:cNvSpPr>
            <a:spLocks noGrp="1"/>
          </p:cNvSpPr>
          <p:nvPr>
            <p:ph type="title"/>
          </p:nvPr>
        </p:nvSpPr>
        <p:spPr>
          <a:xfrm>
            <a:off x="107004" y="77822"/>
            <a:ext cx="8464987" cy="455444"/>
          </a:xfrm>
        </p:spPr>
        <p:txBody>
          <a:bodyPr/>
          <a:lstStyle/>
          <a:p>
            <a:r>
              <a:rPr lang="en-US" dirty="0"/>
              <a:t>NOL </a:t>
            </a:r>
            <a:r>
              <a:rPr lang="en-US" dirty="0" smtClean="0"/>
              <a:t>– </a:t>
            </a:r>
            <a:r>
              <a:rPr lang="en-US" dirty="0" smtClean="0">
                <a:latin typeface="Segoe UI Light" panose="020B0502040204020203" pitchFamily="34" charset="0"/>
              </a:rPr>
              <a:t>Build continues</a:t>
            </a:r>
            <a:endParaRPr lang="en-US" dirty="0"/>
          </a:p>
        </p:txBody>
      </p:sp>
      <p:sp>
        <p:nvSpPr>
          <p:cNvPr id="5" name="Rectangle 4"/>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7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3806455" y="658494"/>
            <a:ext cx="3636336" cy="264367"/>
          </a:xfrm>
          <a:prstGeom prst="rect">
            <a:avLst/>
          </a:prstGeom>
          <a:solidFill>
            <a:schemeClr val="bg2"/>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8" name="Rectangle 7"/>
          <p:cNvSpPr/>
          <p:nvPr/>
        </p:nvSpPr>
        <p:spPr>
          <a:xfrm>
            <a:off x="3817088" y="922862"/>
            <a:ext cx="5109831" cy="3914952"/>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 best practices for architecture &amp; secure coding for team’s reference to improve th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project teams on common coding conventions to avoid code quality and maintainability issues.</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tatic Code analysis using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o be enabled with every single commit for current development process and also to be integrated with Jenkins. This could significantly reduce the peer review effort and helps to identify and track the dead code in the app repositor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Build failure to be enforced if critical code violations increase. The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baselining</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of violation details to be determined and to be agreed with the Customer.</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ystematic Code refactoring strategy / process to be defined in order to address the duplicate/ dead code, circular dependencies and Technical debt., It is recommended to allocate adequate bandwidth ( 10-20%) in each Iteration to handle the technical debt of the code to keep the code base maintainable. </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view</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de review tool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like Crucible or similar feature available with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GitLab</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o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mprove the planning efficiency</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rack Defect leakage metric Sprint wise to monitor the code review effectivenes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Unit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s &amp; Cod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automated Unit test suites, which helps project team to describe the degree to which the source code of a program has been tested.</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Code Coverage tool to monitor th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ntegrate Unit test suites with Jenkin tool to improve the testing effectiveness.</a:t>
            </a: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9" name="TextBox 8"/>
          <p:cNvSpPr txBox="1"/>
          <p:nvPr/>
        </p:nvSpPr>
        <p:spPr>
          <a:xfrm>
            <a:off x="3827722" y="626598"/>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graphicFrame>
        <p:nvGraphicFramePr>
          <p:cNvPr id="12" name="Chart 11"/>
          <p:cNvGraphicFramePr>
            <a:graphicFrameLocks/>
          </p:cNvGraphicFramePr>
          <p:nvPr>
            <p:extLst>
              <p:ext uri="{D42A27DB-BD31-4B8C-83A1-F6EECF244321}">
                <p14:modId xmlns:p14="http://schemas.microsoft.com/office/powerpoint/2010/main" val="4217387839"/>
              </p:ext>
            </p:extLst>
          </p:nvPr>
        </p:nvGraphicFramePr>
        <p:xfrm>
          <a:off x="57690" y="605330"/>
          <a:ext cx="3684969" cy="31900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41296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4" name="Title 2"/>
          <p:cNvSpPr>
            <a:spLocks noGrp="1"/>
          </p:cNvSpPr>
          <p:nvPr>
            <p:ph type="title"/>
          </p:nvPr>
        </p:nvSpPr>
        <p:spPr>
          <a:xfrm>
            <a:off x="107004" y="77822"/>
            <a:ext cx="8464987" cy="455444"/>
          </a:xfrm>
        </p:spPr>
        <p:txBody>
          <a:bodyPr/>
          <a:lstStyle/>
          <a:p>
            <a:r>
              <a:rPr lang="en-US" dirty="0"/>
              <a:t>NOL </a:t>
            </a:r>
            <a:r>
              <a:rPr lang="en-US" dirty="0" smtClean="0"/>
              <a:t>– </a:t>
            </a:r>
            <a:r>
              <a:rPr lang="en-US" dirty="0" smtClean="0">
                <a:latin typeface="Segoe UI Light" panose="020B0502040204020203" pitchFamily="34" charset="0"/>
              </a:rPr>
              <a:t>Build continues</a:t>
            </a:r>
            <a:endParaRPr lang="en-US" dirty="0"/>
          </a:p>
        </p:txBody>
      </p:sp>
      <p:sp>
        <p:nvSpPr>
          <p:cNvPr id="5" name="Rectangle 4"/>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7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3806454" y="658494"/>
            <a:ext cx="3657601" cy="264367"/>
          </a:xfrm>
          <a:prstGeom prst="rect">
            <a:avLst/>
          </a:prstGeom>
          <a:solidFill>
            <a:schemeClr val="bg2"/>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8" name="Rectangle 7"/>
          <p:cNvSpPr/>
          <p:nvPr/>
        </p:nvSpPr>
        <p:spPr>
          <a:xfrm>
            <a:off x="3817088" y="922862"/>
            <a:ext cx="5109831" cy="2872484"/>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Build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Automation</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MS-build to compile the code which helps the team to improve th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automation scripts for validating the final build artifact.</a:t>
            </a: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hird party Integration &amp; Continuous Integration</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mplement End to End automation of CI-CD in a single pipeline for seamless delivery with required set of tool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MSBuild</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Jenkins</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Nexu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Junit,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Ncover</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CD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ool,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Selenium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and Code Review tool).</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CI dashboard to monitor the status of the latest build, latest deployment etc</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8"/>
          <p:cNvSpPr txBox="1"/>
          <p:nvPr/>
        </p:nvSpPr>
        <p:spPr>
          <a:xfrm>
            <a:off x="3827722" y="626598"/>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graphicFrame>
        <p:nvGraphicFramePr>
          <p:cNvPr id="12" name="Chart 11"/>
          <p:cNvGraphicFramePr>
            <a:graphicFrameLocks/>
          </p:cNvGraphicFramePr>
          <p:nvPr>
            <p:extLst/>
          </p:nvPr>
        </p:nvGraphicFramePr>
        <p:xfrm>
          <a:off x="57690" y="605330"/>
          <a:ext cx="3684969" cy="31900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761302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Deploy</a:t>
            </a:r>
            <a:endParaRPr lang="en-US" dirty="0"/>
          </a:p>
        </p:txBody>
      </p:sp>
      <p:sp>
        <p:nvSpPr>
          <p:cNvPr id="4" name="Rectangle 3"/>
          <p:cNvSpPr/>
          <p:nvPr/>
        </p:nvSpPr>
        <p:spPr>
          <a:xfrm>
            <a:off x="4060192" y="890611"/>
            <a:ext cx="4972693" cy="23492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rtifact Management</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s are generated and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aged via clear c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t is not integrated with other tools.</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Deployment (CD</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dicated SIT environments are not available. Integration testing is performed on the shared environment.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erson-dependent deployments on NPE leads to increased cycle tim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omotion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o production environment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fter gett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s through  change and release management proces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promotion to NPE does not require approval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get triggered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ly however no tracking of deployments done in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mmunication of deployment fo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are not done continuously ove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promotions in lower environment (Dev/QA) is managed manuall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ack of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utomation tool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 deploying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Bscripts</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p:cNvPicPr>
            <a:picLocks noChangeAspect="1"/>
          </p:cNvPicPr>
          <p:nvPr/>
        </p:nvPicPr>
        <p:blipFill>
          <a:blip r:embed="rId2"/>
          <a:stretch>
            <a:fillRect/>
          </a:stretch>
        </p:blipFill>
        <p:spPr>
          <a:xfrm>
            <a:off x="58228" y="4248728"/>
            <a:ext cx="288300" cy="285194"/>
          </a:xfrm>
          <a:prstGeom prst="rect">
            <a:avLst/>
          </a:prstGeom>
        </p:spPr>
      </p:pic>
      <p:sp>
        <p:nvSpPr>
          <p:cNvPr id="6" name="Rectangle 5"/>
          <p:cNvSpPr/>
          <p:nvPr/>
        </p:nvSpPr>
        <p:spPr>
          <a:xfrm>
            <a:off x="345987" y="3613733"/>
            <a:ext cx="3619956" cy="9201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Semi-automated scripts </a:t>
            </a: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re executed using </a:t>
            </a:r>
            <a:r>
              <a:rPr lang="en-US" sz="900" dirty="0" err="1"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mp; CTRL-M.</a:t>
            </a:r>
          </a:p>
          <a:p>
            <a:pPr marL="171450" indent="-171450">
              <a:buFont typeface="Wingdings" panose="05000000000000000000" pitchFamily="2" charset="2"/>
              <a:buChar char="q"/>
            </a:pP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roduction deployments are controlled using Release and change management process using CA Service Desk</a:t>
            </a:r>
          </a:p>
          <a:p>
            <a:pPr marL="171450" indent="-171450">
              <a:buFont typeface="Wingdings" panose="05000000000000000000" pitchFamily="2" charset="2"/>
              <a:buChar char="q"/>
            </a:pPr>
            <a:r>
              <a:rPr lang="en-US" sz="9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Operation Team does all the </a:t>
            </a:r>
            <a:r>
              <a:rPr lang="en-US" sz="9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deployments</a:t>
            </a:r>
            <a:endParaRPr lang="en-US" sz="9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p:cNvSpPr txBox="1"/>
          <p:nvPr/>
        </p:nvSpPr>
        <p:spPr>
          <a:xfrm>
            <a:off x="58228" y="3297128"/>
            <a:ext cx="390771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7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060192" y="622267"/>
            <a:ext cx="2510729" cy="236993"/>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2" name="TextBox 11"/>
          <p:cNvSpPr txBox="1"/>
          <p:nvPr/>
        </p:nvSpPr>
        <p:spPr>
          <a:xfrm>
            <a:off x="4081459" y="590370"/>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val="3798131733"/>
              </p:ext>
            </p:extLst>
          </p:nvPr>
        </p:nvGraphicFramePr>
        <p:xfrm>
          <a:off x="58228" y="611075"/>
          <a:ext cx="3907715" cy="2642216"/>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5"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4081460" y="3303143"/>
            <a:ext cx="3616512" cy="270984"/>
          </a:xfrm>
          <a:prstGeom prst="rect">
            <a:avLst/>
          </a:prstGeom>
          <a:solidFill>
            <a:schemeClr val="bg2"/>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7" name="TextBox 16"/>
          <p:cNvSpPr txBox="1"/>
          <p:nvPr/>
        </p:nvSpPr>
        <p:spPr>
          <a:xfrm>
            <a:off x="4102726" y="3271246"/>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18" name="Rectangle 17"/>
          <p:cNvSpPr/>
          <p:nvPr/>
        </p:nvSpPr>
        <p:spPr>
          <a:xfrm>
            <a:off x="4117758" y="3598774"/>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exu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 management – to store deployable artifac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Pre and Post Install checks via automa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s/plug-in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timize deployment cycle by collaborating tools lik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enkins, and Deployment tool. This will help to reduce further dependencies on approvals. Enable continuous deployment across the environments in an automated way.</a:t>
            </a:r>
          </a:p>
          <a:p>
            <a:pPr algn="ctr"/>
            <a:endParaRPr lang="en-US"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557863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Verify</a:t>
            </a:r>
            <a:endParaRPr lang="en-US" dirty="0"/>
          </a:p>
        </p:txBody>
      </p:sp>
      <p:sp>
        <p:nvSpPr>
          <p:cNvPr id="5" name="Rectangle 4"/>
          <p:cNvSpPr/>
          <p:nvPr/>
        </p:nvSpPr>
        <p:spPr>
          <a:xfrm>
            <a:off x="3932602" y="874860"/>
            <a:ext cx="4972693" cy="1591893"/>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est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utom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st suites are defined.</a:t>
            </a:r>
          </a:p>
          <a:p>
            <a:pPr marL="285750" indent="-2857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ools are us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measuring tes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verage.</a:t>
            </a:r>
          </a:p>
          <a:p>
            <a:pPr marL="285750" indent="-2857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Performance Testing in plac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285750" indent="-2857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enetration and Security Testing performed manually and done externally.</a:t>
            </a:r>
          </a:p>
          <a:p>
            <a:pPr marL="285750" indent="-2857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100% regression test coverage</a:t>
            </a:r>
          </a:p>
          <a:p>
            <a:pPr marL="285750" indent="-2857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dedicated testing team</a:t>
            </a:r>
          </a:p>
          <a:p>
            <a:pPr marL="285750" indent="-285750">
              <a:buFont typeface="Arial" panose="020B0604020202020204" pitchFamily="34" charset="0"/>
              <a:buChar char="•"/>
            </a:pPr>
            <a:endPar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p:cNvPicPr>
            <a:picLocks noChangeAspect="1"/>
          </p:cNvPicPr>
          <p:nvPr/>
        </p:nvPicPr>
        <p:blipFill>
          <a:blip r:embed="rId2"/>
          <a:stretch>
            <a:fillRect/>
          </a:stretch>
        </p:blipFill>
        <p:spPr>
          <a:xfrm>
            <a:off x="107004" y="3379842"/>
            <a:ext cx="288300" cy="285194"/>
          </a:xfrm>
          <a:prstGeom prst="rect">
            <a:avLst/>
          </a:prstGeom>
        </p:spPr>
      </p:pic>
      <p:sp>
        <p:nvSpPr>
          <p:cNvPr id="7" name="Rectangle 6"/>
          <p:cNvSpPr/>
          <p:nvPr/>
        </p:nvSpPr>
        <p:spPr>
          <a:xfrm>
            <a:off x="345988" y="3379842"/>
            <a:ext cx="3523395" cy="8838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enium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everaged for test automation</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gression Test suites are updated for each production bugs</a:t>
            </a:r>
          </a:p>
          <a:p>
            <a:pPr marL="171450" indent="-171450">
              <a:buFont typeface="Wingdings" panose="05000000000000000000" pitchFamily="2" charset="2"/>
              <a:buChar char="q"/>
            </a:pP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cunetix</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tool is used by the Security Vendor.</a:t>
            </a:r>
          </a:p>
          <a:p>
            <a:pPr marL="171450" indent="-171450">
              <a:buFont typeface="Wingdings" panose="05000000000000000000" pitchFamily="2" charset="2"/>
              <a:buChar char="q"/>
            </a:pPr>
            <a:endPar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endParaRPr>
          </a:p>
          <a:p>
            <a:endParaRPr lang="en-US" sz="900" dirty="0">
              <a:solidFill>
                <a:srgbClr val="141414"/>
              </a:solidFill>
            </a:endParaRPr>
          </a:p>
        </p:txBody>
      </p:sp>
      <p:sp>
        <p:nvSpPr>
          <p:cNvPr id="8" name="TextBox 7"/>
          <p:cNvSpPr txBox="1"/>
          <p:nvPr/>
        </p:nvSpPr>
        <p:spPr>
          <a:xfrm>
            <a:off x="55405" y="3076780"/>
            <a:ext cx="3813978"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graphicFrame>
        <p:nvGraphicFramePr>
          <p:cNvPr id="9" name="Chart 8"/>
          <p:cNvGraphicFramePr>
            <a:graphicFrameLocks/>
          </p:cNvGraphicFramePr>
          <p:nvPr>
            <p:extLst>
              <p:ext uri="{D42A27DB-BD31-4B8C-83A1-F6EECF244321}">
                <p14:modId xmlns:p14="http://schemas.microsoft.com/office/powerpoint/2010/main" val="928922099"/>
              </p:ext>
            </p:extLst>
          </p:nvPr>
        </p:nvGraphicFramePr>
        <p:xfrm>
          <a:off x="55404" y="631535"/>
          <a:ext cx="3813979" cy="2346975"/>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3.0 / Establishe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3932602" y="610774"/>
            <a:ext cx="2372505" cy="213557"/>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3" name="TextBox 12"/>
          <p:cNvSpPr txBox="1"/>
          <p:nvPr/>
        </p:nvSpPr>
        <p:spPr>
          <a:xfrm>
            <a:off x="3953869" y="578877"/>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5"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3953869" y="2516323"/>
            <a:ext cx="3882325" cy="292024"/>
          </a:xfrm>
          <a:prstGeom prst="rect">
            <a:avLst/>
          </a:prstGeom>
          <a:solidFill>
            <a:schemeClr val="bg2"/>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7" name="TextBox 16"/>
          <p:cNvSpPr txBox="1"/>
          <p:nvPr/>
        </p:nvSpPr>
        <p:spPr>
          <a:xfrm>
            <a:off x="3975136" y="2484426"/>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18" name="Rectangle 17"/>
          <p:cNvSpPr/>
          <p:nvPr/>
        </p:nvSpPr>
        <p:spPr>
          <a:xfrm>
            <a:off x="3990168" y="2811954"/>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a:defRPr/>
            </a:pP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 Automation (CD)</a:t>
            </a:r>
          </a:p>
          <a:p>
            <a:pPr marL="171450" indent="-171450" defTabSz="914400">
              <a:buFont typeface="Wingdings" panose="05000000000000000000" pitchFamily="2" charset="2"/>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automa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 NOL applic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sing existing too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eniu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eeds to be integrated with CI/CD pipeline as well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100% integration of test automation suite within CI Lifecycle).</a:t>
            </a:r>
          </a:p>
          <a:p>
            <a:pPr marL="171450" indent="-171450" defTabSz="914400">
              <a:buFont typeface="Arial" panose="020B0604020202020204" pitchFamily="34" charset="0"/>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test automation coverage is enabled via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defTabSz="914400">
              <a:defRPr/>
            </a:pP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194217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Release</a:t>
            </a:r>
            <a:endParaRPr lang="en-US" dirty="0"/>
          </a:p>
        </p:txBody>
      </p:sp>
      <p:sp>
        <p:nvSpPr>
          <p:cNvPr id="5" name="Rectangle 4"/>
          <p:cNvSpPr/>
          <p:nvPr/>
        </p:nvSpPr>
        <p:spPr>
          <a:xfrm>
            <a:off x="3788535" y="877334"/>
            <a:ext cx="5259772" cy="1821676"/>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raceability</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Traceability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is enabled partially from User Stories to deployments by traversing through existing </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tools, JIRA. However</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 these are not configured in a single workflow</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Existing tools are not integrated with JIRA in order to provide traceability in a automated fashion. </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JIRA is owned and operated by the Vendor</a:t>
            </a: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t>
            </a:r>
            <a:endPar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orchestration tool is available. </a:t>
            </a:r>
          </a:p>
          <a:p>
            <a:pPr marL="171450" indent="-171450">
              <a:buFont typeface="Arial" panose="020B0604020202020204" pitchFamily="34" charset="0"/>
              <a:buChar char="•"/>
            </a:pP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Stage Gate &amp; Approval Criteria – Manual approval process is followed for deployments rather than automated workflow based approvals.</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Only Change Management is in place.</a:t>
            </a:r>
            <a:endPar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ctr"/>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p:cNvPicPr>
            <a:picLocks noChangeAspect="1"/>
          </p:cNvPicPr>
          <p:nvPr/>
        </p:nvPicPr>
        <p:blipFill>
          <a:blip r:embed="rId2"/>
          <a:stretch>
            <a:fillRect/>
          </a:stretch>
        </p:blipFill>
        <p:spPr>
          <a:xfrm>
            <a:off x="86417" y="3685702"/>
            <a:ext cx="288300" cy="285194"/>
          </a:xfrm>
          <a:prstGeom prst="rect">
            <a:avLst/>
          </a:prstGeom>
        </p:spPr>
      </p:pic>
      <p:sp>
        <p:nvSpPr>
          <p:cNvPr id="7" name="Rectangle 6"/>
          <p:cNvSpPr/>
          <p:nvPr/>
        </p:nvSpPr>
        <p:spPr>
          <a:xfrm>
            <a:off x="345989" y="3497389"/>
            <a:ext cx="3364774" cy="11277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is used for release and change management</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lease calendar is available but not widely published.</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dicated Release Management team is available</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performs Release and Chang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agemen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ctions.</a:t>
            </a:r>
          </a:p>
        </p:txBody>
      </p:sp>
      <p:sp>
        <p:nvSpPr>
          <p:cNvPr id="8" name="TextBox 7"/>
          <p:cNvSpPr txBox="1"/>
          <p:nvPr/>
        </p:nvSpPr>
        <p:spPr>
          <a:xfrm>
            <a:off x="107005" y="3211034"/>
            <a:ext cx="3603758"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0" name="Rectangle 9"/>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5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3788535" y="637679"/>
            <a:ext cx="2388981" cy="189126"/>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3" name="TextBox 12"/>
          <p:cNvSpPr txBox="1"/>
          <p:nvPr/>
        </p:nvSpPr>
        <p:spPr>
          <a:xfrm>
            <a:off x="3831058" y="597791"/>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4" name="Chart 13"/>
          <p:cNvGraphicFramePr>
            <a:graphicFrameLocks/>
          </p:cNvGraphicFramePr>
          <p:nvPr>
            <p:extLst>
              <p:ext uri="{D42A27DB-BD31-4B8C-83A1-F6EECF244321}">
                <p14:modId xmlns:p14="http://schemas.microsoft.com/office/powerpoint/2010/main" val="789457710"/>
              </p:ext>
            </p:extLst>
          </p:nvPr>
        </p:nvGraphicFramePr>
        <p:xfrm>
          <a:off x="107006" y="632286"/>
          <a:ext cx="3603757" cy="251495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6"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3788535" y="2807906"/>
            <a:ext cx="3441605" cy="245102"/>
          </a:xfrm>
          <a:prstGeom prst="rect">
            <a:avLst/>
          </a:prstGeom>
          <a:solidFill>
            <a:schemeClr val="bg2"/>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8" name="TextBox 17"/>
          <p:cNvSpPr txBox="1"/>
          <p:nvPr/>
        </p:nvSpPr>
        <p:spPr>
          <a:xfrm>
            <a:off x="3809801" y="2776009"/>
            <a:ext cx="3771213"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19" name="Rectangle 18"/>
          <p:cNvSpPr/>
          <p:nvPr/>
        </p:nvSpPr>
        <p:spPr>
          <a:xfrm>
            <a:off x="3824834" y="3103537"/>
            <a:ext cx="5223473" cy="1755542"/>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traceability and approvals us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utora</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dashboards with Phase wise data analysis in order to track / Monitor the metrics for release management.</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Traceabilit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ke use of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Sight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for end-to-end traceability and Ensure DevOps adoption by integrating it with all the existing DevOps tools(ALM, CI, SCM, Deployment tool, Code Review, Artifact management, Environment, ITSM, CMDB, Feedback and Monitoring ) seamless release in a single work flow.</a:t>
            </a:r>
          </a:p>
        </p:txBody>
      </p:sp>
    </p:spTree>
    <p:extLst>
      <p:ext uri="{BB962C8B-B14F-4D97-AF65-F5344CB8AC3E}">
        <p14:creationId xmlns:p14="http://schemas.microsoft.com/office/powerpoint/2010/main" val="26188971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Measure and Monitor</a:t>
            </a:r>
            <a:endParaRPr lang="en-US" dirty="0"/>
          </a:p>
        </p:txBody>
      </p:sp>
      <p:sp>
        <p:nvSpPr>
          <p:cNvPr id="6" name="Rectangle 5"/>
          <p:cNvSpPr/>
          <p:nvPr/>
        </p:nvSpPr>
        <p:spPr>
          <a:xfrm>
            <a:off x="4025769" y="918003"/>
            <a:ext cx="4972693" cy="1761402"/>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ging strategy is not defin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e/Produc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t collected centrall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dashboards or alerts set up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vailable to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 key application metrics or key business metric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y tools being used by different team to monitor different server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service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tools are not integrated with ITIL Tools or ALM Tools.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 monitoring system is NOT linked to defect management system to automatically create defects for every new exception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f healing and remediation's not available.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 monitoring system is NOT linked with Source Control to find out the immediate reason for the exception/error occurred in production/non-produc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a:blip r:embed="rId2"/>
          <a:stretch>
            <a:fillRect/>
          </a:stretch>
        </p:blipFill>
        <p:spPr>
          <a:xfrm>
            <a:off x="107004" y="3686478"/>
            <a:ext cx="288300" cy="285194"/>
          </a:xfrm>
          <a:prstGeom prst="rect">
            <a:avLst/>
          </a:prstGeom>
        </p:spPr>
      </p:pic>
      <p:sp>
        <p:nvSpPr>
          <p:cNvPr id="9" name="Rectangle 8"/>
          <p:cNvSpPr/>
          <p:nvPr/>
        </p:nvSpPr>
        <p:spPr>
          <a:xfrm>
            <a:off x="495561" y="3671472"/>
            <a:ext cx="3449118" cy="7942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tools like Nagios is being used to perform infrastructure monitoring.</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lication Monitoring is done using CA APM and CA Service Operations Insight.</a:t>
            </a:r>
          </a:p>
          <a:p>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9"/>
          <p:cNvSpPr/>
          <p:nvPr/>
        </p:nvSpPr>
        <p:spPr>
          <a:xfrm>
            <a:off x="7004557" y="32082"/>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6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92266" y="33902"/>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p:cNvSpPr txBox="1"/>
          <p:nvPr/>
        </p:nvSpPr>
        <p:spPr>
          <a:xfrm>
            <a:off x="75104" y="3360446"/>
            <a:ext cx="386957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4" name="Rectangle 13"/>
          <p:cNvSpPr/>
          <p:nvPr/>
        </p:nvSpPr>
        <p:spPr>
          <a:xfrm>
            <a:off x="4025769" y="662165"/>
            <a:ext cx="2300603" cy="255838"/>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TextBox 14"/>
          <p:cNvSpPr txBox="1"/>
          <p:nvPr/>
        </p:nvSpPr>
        <p:spPr>
          <a:xfrm>
            <a:off x="4078929" y="643544"/>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 name="Chart 15"/>
          <p:cNvGraphicFramePr>
            <a:graphicFrameLocks/>
          </p:cNvGraphicFramePr>
          <p:nvPr>
            <p:extLst>
              <p:ext uri="{D42A27DB-BD31-4B8C-83A1-F6EECF244321}">
                <p14:modId xmlns:p14="http://schemas.microsoft.com/office/powerpoint/2010/main" val="2374335121"/>
              </p:ext>
            </p:extLst>
          </p:nvPr>
        </p:nvGraphicFramePr>
        <p:xfrm>
          <a:off x="72205" y="663226"/>
          <a:ext cx="3872474" cy="2665321"/>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7"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4025769" y="2711301"/>
            <a:ext cx="3374491" cy="295631"/>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9" name="TextBox 18"/>
          <p:cNvSpPr txBox="1"/>
          <p:nvPr/>
        </p:nvSpPr>
        <p:spPr>
          <a:xfrm>
            <a:off x="4047035" y="2679405"/>
            <a:ext cx="3470614"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0" name="Rectangle 19"/>
          <p:cNvSpPr/>
          <p:nvPr/>
        </p:nvSpPr>
        <p:spPr>
          <a:xfrm>
            <a:off x="4062068" y="3006933"/>
            <a:ext cx="5017484" cy="810155"/>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system/tools to be linked with defect management system –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 and ITIL Ticketing Tools like CA-</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rviceDesk</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hich can automatically create defects for every new exceptions for quicker resolution.</a:t>
            </a:r>
          </a:p>
          <a:p>
            <a:pPr marL="285750" indent="-285750">
              <a:buFont typeface="Arial" panose="020B0604020202020204" pitchFamily="34" charset="0"/>
              <a:buChar char="•"/>
            </a:pPr>
            <a:endParaRPr lang="en-US" sz="900" dirty="0">
              <a:solidFill>
                <a:schemeClr val="tx2">
                  <a:lumMod val="75000"/>
                </a:schemeClr>
              </a:solidFill>
            </a:endParaRPr>
          </a:p>
        </p:txBody>
      </p:sp>
    </p:spTree>
    <p:extLst>
      <p:ext uri="{BB962C8B-B14F-4D97-AF65-F5344CB8AC3E}">
        <p14:creationId xmlns:p14="http://schemas.microsoft.com/office/powerpoint/2010/main" val="12858968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Environment Management</a:t>
            </a:r>
            <a:endParaRPr lang="en-US" dirty="0"/>
          </a:p>
        </p:txBody>
      </p:sp>
      <p:sp>
        <p:nvSpPr>
          <p:cNvPr id="5" name="Rectangle 4"/>
          <p:cNvSpPr/>
          <p:nvPr/>
        </p:nvSpPr>
        <p:spPr>
          <a:xfrm>
            <a:off x="4699949" y="969220"/>
            <a:ext cx="4258867" cy="2719545"/>
          </a:xfrm>
          <a:prstGeom prst="rect">
            <a:avLst/>
          </a:prstGeom>
          <a:noFill/>
          <a:ln w="19050">
            <a:solidFill>
              <a:schemeClr val="tx2">
                <a:lumMod val="75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Environment Management</a:t>
            </a:r>
            <a:endParaRPr lang="en-US" sz="9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troll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managed environments through defined process and manua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orkflows.</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No maintenance/decommissioning  alerts configured and acted upon</a:t>
            </a: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Infrastructure configurations (Production, UAT, SIT) are not stored in SCM system</a:t>
            </a: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figuration, Self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rvice, Service Virtualization, Containeriz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emplate for  environment requirement gathering from Users/Test Team.</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No automated validations are done post environment provisioning.</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Cloud is not used as Non-Production environment (NPE) for (Development, Testing, UAT, Stage etc.)</a:t>
            </a:r>
          </a:p>
          <a:p>
            <a:pPr marL="171450" indent="-171450">
              <a:buFont typeface="Arial" panose="020B0604020202020204" pitchFamily="34" charset="0"/>
              <a:buChar char="•"/>
            </a:pP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No Containers used in SDLC.</a:t>
            </a:r>
          </a:p>
          <a:p>
            <a:pPr marL="171450" indent="-171450">
              <a:buFont typeface="Arial" panose="020B0604020202020204" pitchFamily="34" charset="0"/>
              <a:buChar char="•"/>
            </a:pP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CMDB </a:t>
            </a: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is not updated automatically and is outdated.</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Capacity Management not done using the CMDB</a:t>
            </a: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est Data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Data is created manual during the test design ph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p:cNvPicPr>
            <a:picLocks noChangeAspect="1"/>
          </p:cNvPicPr>
          <p:nvPr/>
        </p:nvPicPr>
        <p:blipFill>
          <a:blip r:embed="rId2"/>
          <a:stretch>
            <a:fillRect/>
          </a:stretch>
        </p:blipFill>
        <p:spPr>
          <a:xfrm>
            <a:off x="27738" y="4061713"/>
            <a:ext cx="288300" cy="285194"/>
          </a:xfrm>
          <a:prstGeom prst="rect">
            <a:avLst/>
          </a:prstGeom>
        </p:spPr>
      </p:pic>
      <p:sp>
        <p:nvSpPr>
          <p:cNvPr id="7" name="Rectangle 6"/>
          <p:cNvSpPr/>
          <p:nvPr/>
        </p:nvSpPr>
        <p:spPr>
          <a:xfrm>
            <a:off x="316037" y="4009559"/>
            <a:ext cx="4342557" cy="60496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used for ITIL Configurations Items.</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Management is performed by Operations.</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anned to use Orchestrator or VMWare Scripting for Virtual Environments Provisioning.</a:t>
            </a:r>
          </a:p>
          <a:p>
            <a:pPr marL="171450" indent="-171450">
              <a:buFont typeface="Wingdings" panose="05000000000000000000" pitchFamily="2" charset="2"/>
              <a:buChar char="q"/>
            </a:pP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latin typeface="Verdana" panose="020B0604030504040204" pitchFamily="34" charset="0"/>
                <a:ea typeface="Verdana" panose="020B0604030504040204" pitchFamily="34" charset="0"/>
                <a:cs typeface="Verdana" panose="020B0604030504040204" pitchFamily="34" charset="0"/>
              </a:rPr>
              <a:t>1</a:t>
            </a:r>
            <a:r>
              <a:rPr lang="en-US" sz="1400" b="1" dirty="0" smtClean="0">
                <a:latin typeface="Verdana" panose="020B0604030504040204" pitchFamily="34" charset="0"/>
                <a:ea typeface="Verdana" panose="020B0604030504040204" pitchFamily="34" charset="0"/>
                <a:cs typeface="Verdana" panose="020B0604030504040204" pitchFamily="34" charset="0"/>
              </a:rPr>
              <a:t>.5 / Embrac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0" name="TextBox 9"/>
          <p:cNvSpPr txBox="1"/>
          <p:nvPr/>
        </p:nvSpPr>
        <p:spPr>
          <a:xfrm>
            <a:off x="107002" y="3688765"/>
            <a:ext cx="4551591"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2" name="Rectangle 11"/>
          <p:cNvSpPr/>
          <p:nvPr/>
        </p:nvSpPr>
        <p:spPr>
          <a:xfrm>
            <a:off x="4687877" y="669008"/>
            <a:ext cx="2192047" cy="278170"/>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3" name="TextBox 12"/>
          <p:cNvSpPr txBox="1"/>
          <p:nvPr/>
        </p:nvSpPr>
        <p:spPr>
          <a:xfrm>
            <a:off x="4709137" y="661020"/>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4" name="Chart 13"/>
          <p:cNvGraphicFramePr>
            <a:graphicFrameLocks/>
          </p:cNvGraphicFramePr>
          <p:nvPr>
            <p:extLst>
              <p:ext uri="{D42A27DB-BD31-4B8C-83A1-F6EECF244321}">
                <p14:modId xmlns:p14="http://schemas.microsoft.com/office/powerpoint/2010/main" val="201139085"/>
              </p:ext>
            </p:extLst>
          </p:nvPr>
        </p:nvGraphicFramePr>
        <p:xfrm>
          <a:off x="107003" y="669009"/>
          <a:ext cx="4551591" cy="2976975"/>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6"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4673286" y="3740333"/>
            <a:ext cx="3375561" cy="269226"/>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8" name="TextBox 17"/>
          <p:cNvSpPr txBox="1"/>
          <p:nvPr/>
        </p:nvSpPr>
        <p:spPr>
          <a:xfrm>
            <a:off x="4694892" y="3754602"/>
            <a:ext cx="3236996"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19" name="Rectangle 18"/>
          <p:cNvSpPr/>
          <p:nvPr/>
        </p:nvSpPr>
        <p:spPr>
          <a:xfrm>
            <a:off x="4706617" y="4034968"/>
            <a:ext cx="4374680" cy="810155"/>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sibl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Environment configuration and provisioning.</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self service enablement towards booking and scheduling – Leverag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harePoint/Confluence and similar other tool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Recip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as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provisioning and build for quicker turnaround</a:t>
            </a:r>
          </a:p>
        </p:txBody>
      </p:sp>
    </p:spTree>
    <p:extLst>
      <p:ext uri="{BB962C8B-B14F-4D97-AF65-F5344CB8AC3E}">
        <p14:creationId xmlns:p14="http://schemas.microsoft.com/office/powerpoint/2010/main" val="5366433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a:latin typeface="Segoe UI Light" panose="020B0502040204020203" pitchFamily="34" charset="0"/>
              </a:rPr>
              <a:t>DevOps </a:t>
            </a:r>
            <a:r>
              <a:rPr lang="en-US" dirty="0" smtClean="0">
                <a:latin typeface="Segoe UI Light" panose="020B0502040204020203" pitchFamily="34" charset="0"/>
              </a:rPr>
              <a:t>Metric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56773652"/>
              </p:ext>
            </p:extLst>
          </p:nvPr>
        </p:nvGraphicFramePr>
        <p:xfrm>
          <a:off x="199460" y="703554"/>
          <a:ext cx="8720803" cy="3926814"/>
        </p:xfrm>
        <a:graphic>
          <a:graphicData uri="http://schemas.openxmlformats.org/drawingml/2006/table">
            <a:tbl>
              <a:tblPr firstRow="1" bandRow="1">
                <a:tableStyleId>{5C22544A-7EE6-4342-B048-85BDC9FD1C3A}</a:tableStyleId>
              </a:tblPr>
              <a:tblGrid>
                <a:gridCol w="887076"/>
                <a:gridCol w="4398024"/>
                <a:gridCol w="1755588"/>
                <a:gridCol w="1680115"/>
              </a:tblGrid>
              <a:tr h="386244">
                <a:tc>
                  <a:txBody>
                    <a:bodyPr/>
                    <a:lstStyle/>
                    <a:p>
                      <a:pPr marL="0" algn="ctr" defTabSz="457200" rtl="0" eaLnBrk="1" latinLnBrk="0" hangingPunct="1"/>
                      <a:r>
                        <a:rPr lang="en-US" sz="12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S.No</a:t>
                      </a:r>
                      <a:endParaRPr lang="en-US" sz="1200" b="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ctr"/>
                      <a:r>
                        <a:rPr lang="en-US"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Metrics</a:t>
                      </a:r>
                      <a:endParaRPr lang="en-US"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Current Values</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Future Values</a:t>
                      </a: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1.</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Reduced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Lead time to Release (Cycle Time) or Deploy Code</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2.</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Automation or Reusability % </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3.</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Percentage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of Failed Deployments</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4.</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Improved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Environment or Application or Service Availability</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i="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5.</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Reduced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Incident Rate</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i="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6.</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Mean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Time to Resolve</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i="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7.</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Tickets Reopened (Level 1)</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i="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i="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8.</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Reduction in INFRA Cost </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i="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i="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9.</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Wait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time @ each </a:t>
                      </a:r>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Step</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i="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r h="354057">
                <a:tc>
                  <a:txBody>
                    <a:bodyPr/>
                    <a:lstStyle/>
                    <a:p>
                      <a:pPr marL="0" algn="ctr" defTabSz="457200" rtl="0" eaLnBrk="1" latinLnBrk="0" hangingPunct="1"/>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10.</a:t>
                      </a:r>
                      <a:endParaRPr lang="en-US" sz="1000" i="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pPr algn="l" fontAlgn="t"/>
                      <a:r>
                        <a:rPr lang="en-US" sz="1000" kern="1200" spc="20" baseline="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Environment </a:t>
                      </a:r>
                      <a:r>
                        <a:rPr lang="en-US" sz="100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rPr>
                        <a:t>Provisioning Time</a:t>
                      </a:r>
                      <a:endParaRPr lang="en-US" sz="1000" i="0" kern="1200" spc="20" baseline="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tc>
                <a:tc>
                  <a:txBody>
                    <a:bodyPr/>
                    <a:lstStyle/>
                    <a:p>
                      <a:r>
                        <a:rPr lang="en-US" sz="1000"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Not Tracked</a:t>
                      </a:r>
                      <a:endParaRPr lang="en-US" sz="1000"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c>
                  <a:txBody>
                    <a:bodyPr/>
                    <a:lstStyle/>
                    <a:p>
                      <a:endParaRPr lang="en-US" sz="1000" i="1"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txBody>
                  <a:tcPr anchor="ctr"/>
                </a:tc>
              </a:tr>
            </a:tbl>
          </a:graphicData>
        </a:graphic>
      </p:graphicFrame>
    </p:spTree>
    <p:extLst>
      <p:ext uri="{BB962C8B-B14F-4D97-AF65-F5344CB8AC3E}">
        <p14:creationId xmlns:p14="http://schemas.microsoft.com/office/powerpoint/2010/main" val="30140147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Context and background</a:t>
            </a:r>
            <a:endParaRPr lang="en-US" dirty="0"/>
          </a:p>
        </p:txBody>
      </p:sp>
      <p:sp>
        <p:nvSpPr>
          <p:cNvPr id="7" name="TextBox 6"/>
          <p:cNvSpPr txBox="1"/>
          <p:nvPr/>
        </p:nvSpPr>
        <p:spPr>
          <a:xfrm>
            <a:off x="244887" y="641281"/>
            <a:ext cx="8601740" cy="769441"/>
          </a:xfrm>
          <a:prstGeom prst="rect">
            <a:avLst/>
          </a:prstGeom>
          <a:noFill/>
        </p:spPr>
        <p:txBody>
          <a:bodyPr wrap="square" rtlCol="0">
            <a:spAutoFit/>
          </a:bodyPr>
          <a:lstStyle/>
          <a:p>
            <a:pPr algn="just">
              <a:spcBef>
                <a:spcPts val="600"/>
              </a:spcBef>
            </a:pPr>
            <a:r>
              <a:rPr lang="en-US" sz="1100" dirty="0"/>
              <a:t>This DevOps </a:t>
            </a:r>
            <a:r>
              <a:rPr lang="en-US" sz="1100" dirty="0" smtClean="0"/>
              <a:t>Assessment </a:t>
            </a:r>
            <a:r>
              <a:rPr lang="en-US" sz="1100" dirty="0"/>
              <a:t>goal </a:t>
            </a:r>
            <a:r>
              <a:rPr lang="en-US" sz="1100" dirty="0" smtClean="0"/>
              <a:t>is </a:t>
            </a:r>
            <a:r>
              <a:rPr lang="en-GB" sz="1100" dirty="0"/>
              <a:t>t</a:t>
            </a:r>
            <a:r>
              <a:rPr lang="en-GB" sz="1100" dirty="0" smtClean="0"/>
              <a:t>o </a:t>
            </a:r>
            <a:r>
              <a:rPr lang="en-GB" sz="1100" dirty="0"/>
              <a:t>provide current maturity, future state, </a:t>
            </a:r>
            <a:r>
              <a:rPr lang="en-GB" sz="1100" dirty="0" smtClean="0"/>
              <a:t>actionable </a:t>
            </a:r>
            <a:r>
              <a:rPr lang="en-GB" sz="1100" dirty="0"/>
              <a:t>work-items and a detailed Roadmap to adopt </a:t>
            </a:r>
            <a:r>
              <a:rPr lang="en-GB" sz="1100" dirty="0" smtClean="0"/>
              <a:t>DevOps. It involves</a:t>
            </a:r>
            <a:r>
              <a:rPr lang="en-US" sz="1100" dirty="0" smtClean="0"/>
              <a:t> conducting </a:t>
            </a:r>
            <a:r>
              <a:rPr lang="en-US" sz="1100" dirty="0"/>
              <a:t>an assessment of the current state Build, Deployment, Release, Environment and Monitoring </a:t>
            </a:r>
            <a:r>
              <a:rPr lang="en-US" sz="1100" dirty="0" smtClean="0"/>
              <a:t>processes. Also</a:t>
            </a:r>
            <a:r>
              <a:rPr lang="en-US" sz="1100" dirty="0"/>
              <a:t>, arrive at a recommended state of code management, continuous integration and continuous delivery to accelerate time to market</a:t>
            </a:r>
          </a:p>
          <a:p>
            <a:endParaRPr lang="en-US" sz="1100" dirty="0"/>
          </a:p>
        </p:txBody>
      </p:sp>
      <p:sp>
        <p:nvSpPr>
          <p:cNvPr id="8" name="TextBox 7"/>
          <p:cNvSpPr txBox="1"/>
          <p:nvPr/>
        </p:nvSpPr>
        <p:spPr>
          <a:xfrm>
            <a:off x="244887" y="1545593"/>
            <a:ext cx="3869913" cy="2292935"/>
          </a:xfrm>
          <a:prstGeom prst="rect">
            <a:avLst/>
          </a:prstGeom>
          <a:noFill/>
        </p:spPr>
        <p:txBody>
          <a:bodyPr wrap="square" rtlCol="0">
            <a:spAutoFit/>
          </a:bodyPr>
          <a:lstStyle/>
          <a:p>
            <a:r>
              <a:rPr lang="en-US" sz="1100" dirty="0"/>
              <a:t>Applications are analyzed for gaps across the following DevOps dimensions –Requirements Traceability, Release Planning and Orchestration, Source code Management, Code quality, Build Management, Deployment </a:t>
            </a:r>
            <a:r>
              <a:rPr lang="en-US" sz="1100" dirty="0" smtClean="0"/>
              <a:t>Management, </a:t>
            </a:r>
            <a:r>
              <a:rPr lang="en-US" sz="1100" dirty="0"/>
              <a:t>Database Deployments</a:t>
            </a:r>
            <a:r>
              <a:rPr lang="en-US" sz="1100" dirty="0" smtClean="0"/>
              <a:t>, BEPL Deployments, ESB Deployments, MQ Deployments &amp; Mainframe Deployments </a:t>
            </a:r>
            <a:r>
              <a:rPr lang="en-US" sz="1100" dirty="0"/>
              <a:t>associated to the mechanics of delivery pipeline highlighted here</a:t>
            </a:r>
          </a:p>
          <a:p>
            <a:r>
              <a:rPr lang="en-US" sz="1100" dirty="0"/>
              <a:t>Gaps are analyzed for few selected Applications listed below, that will be representative of the </a:t>
            </a:r>
            <a:r>
              <a:rPr lang="en-US" sz="1100" dirty="0" err="1" smtClean="0"/>
              <a:t>Naranja</a:t>
            </a:r>
            <a:r>
              <a:rPr lang="en-US" sz="1100" dirty="0" smtClean="0"/>
              <a:t> </a:t>
            </a:r>
            <a:r>
              <a:rPr lang="en-US" sz="1100" dirty="0"/>
              <a:t>portfolio</a:t>
            </a:r>
          </a:p>
          <a:p>
            <a:r>
              <a:rPr lang="en-US" sz="1100" dirty="0" smtClean="0"/>
              <a:t>NOL, NOL-CA, </a:t>
            </a:r>
            <a:r>
              <a:rPr lang="en-US" sz="1100" dirty="0" err="1" smtClean="0"/>
              <a:t>Naranja</a:t>
            </a:r>
            <a:r>
              <a:rPr lang="en-US" sz="1100" dirty="0" smtClean="0"/>
              <a:t> App, GEN, BPM</a:t>
            </a:r>
            <a:endParaRPr lang="en-US" sz="1100" dirty="0"/>
          </a:p>
          <a:p>
            <a:r>
              <a:rPr lang="en-US" sz="1100" dirty="0"/>
              <a:t>For better comprehensibility and avoid redundancy, findings are grouped by Applications where possible.</a:t>
            </a:r>
          </a:p>
        </p:txBody>
      </p:sp>
      <p:sp>
        <p:nvSpPr>
          <p:cNvPr id="9" name="TextBox 8"/>
          <p:cNvSpPr txBox="1"/>
          <p:nvPr/>
        </p:nvSpPr>
        <p:spPr>
          <a:xfrm>
            <a:off x="287756" y="4189229"/>
            <a:ext cx="8591107" cy="430887"/>
          </a:xfrm>
          <a:prstGeom prst="rect">
            <a:avLst/>
          </a:prstGeom>
          <a:noFill/>
        </p:spPr>
        <p:txBody>
          <a:bodyPr wrap="square" rtlCol="0">
            <a:spAutoFit/>
          </a:bodyPr>
          <a:lstStyle/>
          <a:p>
            <a:r>
              <a:rPr lang="en-US" sz="1100" dirty="0"/>
              <a:t>Gaps are reported by findings with evidences and subsequent impacts to the software delivery. Numbers are used to quantify the impact where possible.</a:t>
            </a:r>
          </a:p>
        </p:txBody>
      </p:sp>
      <p:pic>
        <p:nvPicPr>
          <p:cNvPr id="10" name="Picture 9"/>
          <p:cNvPicPr>
            <a:picLocks noChangeAspect="1"/>
          </p:cNvPicPr>
          <p:nvPr/>
        </p:nvPicPr>
        <p:blipFill>
          <a:blip r:embed="rId2"/>
          <a:stretch>
            <a:fillRect/>
          </a:stretch>
        </p:blipFill>
        <p:spPr>
          <a:xfrm>
            <a:off x="3989640" y="1293313"/>
            <a:ext cx="4889223" cy="2806076"/>
          </a:xfrm>
          <a:prstGeom prst="rect">
            <a:avLst/>
          </a:prstGeom>
        </p:spPr>
      </p:pic>
      <p:sp>
        <p:nvSpPr>
          <p:cNvPr id="11" name="Rectangle 10"/>
          <p:cNvSpPr/>
          <p:nvPr/>
        </p:nvSpPr>
        <p:spPr>
          <a:xfrm>
            <a:off x="244887" y="641281"/>
            <a:ext cx="8803420" cy="4079575"/>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cxnSp>
        <p:nvCxnSpPr>
          <p:cNvPr id="13" name="Straight Connector 12"/>
          <p:cNvCxnSpPr/>
          <p:nvPr/>
        </p:nvCxnSpPr>
        <p:spPr>
          <a:xfrm flipV="1">
            <a:off x="244887" y="1223910"/>
            <a:ext cx="8803420" cy="4973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244887" y="4088489"/>
            <a:ext cx="8803420" cy="2972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85098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Current SDLC Tool State</a:t>
            </a:r>
            <a:endParaRPr lang="en-US" dirty="0"/>
          </a:p>
        </p:txBody>
      </p:sp>
      <p:grpSp>
        <p:nvGrpSpPr>
          <p:cNvPr id="4" name="Group 3"/>
          <p:cNvGrpSpPr/>
          <p:nvPr/>
        </p:nvGrpSpPr>
        <p:grpSpPr>
          <a:xfrm>
            <a:off x="210615" y="586983"/>
            <a:ext cx="5555514" cy="3403795"/>
            <a:chOff x="231182" y="773376"/>
            <a:chExt cx="6931618" cy="4597398"/>
          </a:xfrm>
        </p:grpSpPr>
        <p:graphicFrame>
          <p:nvGraphicFramePr>
            <p:cNvPr id="5" name="Diagram 4"/>
            <p:cNvGraphicFramePr/>
            <p:nvPr>
              <p:extLst>
                <p:ext uri="{D42A27DB-BD31-4B8C-83A1-F6EECF244321}">
                  <p14:modId xmlns:p14="http://schemas.microsoft.com/office/powerpoint/2010/main" val="3226224063"/>
                </p:ext>
              </p:extLst>
            </p:nvPr>
          </p:nvGraphicFramePr>
          <p:xfrm>
            <a:off x="231182" y="773376"/>
            <a:ext cx="6931618" cy="45973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71771" y="2316655"/>
              <a:ext cx="6214637" cy="2863881"/>
              <a:chOff x="271771" y="2316655"/>
              <a:chExt cx="6214637" cy="2863881"/>
            </a:xfrm>
          </p:grpSpPr>
          <p:pic>
            <p:nvPicPr>
              <p:cNvPr id="11" name="Picture 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150243" y="2650191"/>
                <a:ext cx="24014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1771" y="2316655"/>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91171" y="4134253"/>
                <a:ext cx="810992" cy="14471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6"/>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950100" y="4976954"/>
                <a:ext cx="329110" cy="20358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8"/>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113864" y="2338450"/>
                <a:ext cx="372544" cy="2782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p:cNvGrpSpPr/>
          <p:nvPr/>
        </p:nvGrpSpPr>
        <p:grpSpPr>
          <a:xfrm>
            <a:off x="7818151" y="3908008"/>
            <a:ext cx="1209675" cy="866542"/>
            <a:chOff x="7696200" y="2494526"/>
            <a:chExt cx="1209675" cy="866542"/>
          </a:xfrm>
        </p:grpSpPr>
        <p:grpSp>
          <p:nvGrpSpPr>
            <p:cNvPr id="21" name="Group 20"/>
            <p:cNvGrpSpPr/>
            <p:nvPr/>
          </p:nvGrpSpPr>
          <p:grpSpPr>
            <a:xfrm>
              <a:off x="7696200" y="2494526"/>
              <a:ext cx="1038225" cy="230832"/>
              <a:chOff x="7696200" y="2494526"/>
              <a:chExt cx="1038225" cy="230832"/>
            </a:xfrm>
          </p:grpSpPr>
          <p:sp>
            <p:nvSpPr>
              <p:cNvPr id="31" name="Rounded Rectangle 30"/>
              <p:cNvSpPr/>
              <p:nvPr/>
            </p:nvSpPr>
            <p:spPr>
              <a:xfrm>
                <a:off x="7696200" y="2543865"/>
                <a:ext cx="228600" cy="1524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7896225" y="2494526"/>
                <a:ext cx="838200" cy="230832"/>
              </a:xfrm>
              <a:prstGeom prst="rect">
                <a:avLst/>
              </a:prstGeom>
              <a:noFill/>
            </p:spPr>
            <p:txBody>
              <a:bodyPr wrap="square" rtlCol="0">
                <a:spAutoFit/>
              </a:bodyPr>
              <a:lstStyle/>
              <a:p>
                <a:r>
                  <a:rPr lang="en-US" sz="900" dirty="0" smtClean="0"/>
                  <a:t>Manual Task</a:t>
                </a:r>
                <a:endParaRPr lang="en-US" sz="900" dirty="0"/>
              </a:p>
            </p:txBody>
          </p:sp>
        </p:grpSp>
        <p:grpSp>
          <p:nvGrpSpPr>
            <p:cNvPr id="22" name="Group 21"/>
            <p:cNvGrpSpPr/>
            <p:nvPr/>
          </p:nvGrpSpPr>
          <p:grpSpPr>
            <a:xfrm>
              <a:off x="7696200" y="2705111"/>
              <a:ext cx="1038225" cy="230832"/>
              <a:chOff x="7696200" y="2705111"/>
              <a:chExt cx="1038225" cy="230832"/>
            </a:xfrm>
          </p:grpSpPr>
          <p:sp>
            <p:nvSpPr>
              <p:cNvPr id="29" name="Rounded Rectangle 28"/>
              <p:cNvSpPr/>
              <p:nvPr/>
            </p:nvSpPr>
            <p:spPr>
              <a:xfrm>
                <a:off x="7696200" y="2754450"/>
                <a:ext cx="228600" cy="1524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7896225" y="2705111"/>
                <a:ext cx="838200" cy="230832"/>
              </a:xfrm>
              <a:prstGeom prst="rect">
                <a:avLst/>
              </a:prstGeom>
              <a:noFill/>
            </p:spPr>
            <p:txBody>
              <a:bodyPr wrap="square" rtlCol="0">
                <a:spAutoFit/>
              </a:bodyPr>
              <a:lstStyle/>
              <a:p>
                <a:r>
                  <a:rPr lang="en-US" sz="900" dirty="0" smtClean="0"/>
                  <a:t>Tool driven</a:t>
                </a:r>
                <a:endParaRPr lang="en-US" sz="900" dirty="0"/>
              </a:p>
            </p:txBody>
          </p:sp>
        </p:grpSp>
        <p:grpSp>
          <p:nvGrpSpPr>
            <p:cNvPr id="23" name="Group 22"/>
            <p:cNvGrpSpPr/>
            <p:nvPr/>
          </p:nvGrpSpPr>
          <p:grpSpPr>
            <a:xfrm>
              <a:off x="7696200" y="2926417"/>
              <a:ext cx="1209675" cy="230832"/>
              <a:chOff x="7696200" y="2926417"/>
              <a:chExt cx="1209675" cy="230832"/>
            </a:xfrm>
          </p:grpSpPr>
          <p:sp>
            <p:nvSpPr>
              <p:cNvPr id="27" name="Rounded Rectangle 26"/>
              <p:cNvSpPr/>
              <p:nvPr/>
            </p:nvSpPr>
            <p:spPr>
              <a:xfrm>
                <a:off x="7696200" y="2965035"/>
                <a:ext cx="22860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7896225" y="2926417"/>
                <a:ext cx="1009650" cy="230832"/>
              </a:xfrm>
              <a:prstGeom prst="rect">
                <a:avLst/>
              </a:prstGeom>
              <a:noFill/>
            </p:spPr>
            <p:txBody>
              <a:bodyPr wrap="square" rtlCol="0">
                <a:spAutoFit/>
              </a:bodyPr>
              <a:lstStyle/>
              <a:p>
                <a:r>
                  <a:rPr lang="en-US" sz="900" dirty="0" smtClean="0"/>
                  <a:t>Non automated</a:t>
                </a:r>
                <a:endParaRPr lang="en-US" sz="900" dirty="0"/>
              </a:p>
            </p:txBody>
          </p:sp>
        </p:grpSp>
        <p:grpSp>
          <p:nvGrpSpPr>
            <p:cNvPr id="24" name="Group 23"/>
            <p:cNvGrpSpPr/>
            <p:nvPr/>
          </p:nvGrpSpPr>
          <p:grpSpPr>
            <a:xfrm>
              <a:off x="7696200" y="3130236"/>
              <a:ext cx="1209675" cy="230832"/>
              <a:chOff x="7696200" y="3130236"/>
              <a:chExt cx="1209675" cy="230832"/>
            </a:xfrm>
          </p:grpSpPr>
          <p:sp>
            <p:nvSpPr>
              <p:cNvPr id="25" name="Rounded Rectangle 24"/>
              <p:cNvSpPr/>
              <p:nvPr/>
            </p:nvSpPr>
            <p:spPr>
              <a:xfrm>
                <a:off x="7696200" y="3175620"/>
                <a:ext cx="228600" cy="1524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896225" y="3130236"/>
                <a:ext cx="1009650" cy="230832"/>
              </a:xfrm>
              <a:prstGeom prst="rect">
                <a:avLst/>
              </a:prstGeom>
              <a:noFill/>
            </p:spPr>
            <p:txBody>
              <a:bodyPr wrap="square" rtlCol="0">
                <a:spAutoFit/>
              </a:bodyPr>
              <a:lstStyle/>
              <a:p>
                <a:r>
                  <a:rPr lang="en-US" sz="900" dirty="0" smtClean="0"/>
                  <a:t>Out of Scope</a:t>
                </a:r>
                <a:endParaRPr lang="en-US" sz="900" dirty="0"/>
              </a:p>
            </p:txBody>
          </p:sp>
        </p:grpSp>
      </p:grpSp>
      <p:sp>
        <p:nvSpPr>
          <p:cNvPr id="33" name="Rounded Rectangle 32"/>
          <p:cNvSpPr/>
          <p:nvPr/>
        </p:nvSpPr>
        <p:spPr>
          <a:xfrm>
            <a:off x="3622741" y="1300177"/>
            <a:ext cx="1021829" cy="2607832"/>
          </a:xfrm>
          <a:prstGeom prst="roundRect">
            <a:avLst>
              <a:gd name="adj" fmla="val 8854"/>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4811709" y="643090"/>
            <a:ext cx="996822" cy="1673147"/>
          </a:xfrm>
          <a:prstGeom prst="roundRect">
            <a:avLst>
              <a:gd name="adj" fmla="val 8854"/>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679745" y="3990778"/>
            <a:ext cx="1071964" cy="369332"/>
          </a:xfrm>
          <a:prstGeom prst="rect">
            <a:avLst/>
          </a:prstGeom>
          <a:noFill/>
        </p:spPr>
        <p:txBody>
          <a:bodyPr wrap="square" rtlCol="0">
            <a:spAutoFit/>
          </a:bodyPr>
          <a:lstStyle/>
          <a:p>
            <a:pPr algn="ctr"/>
            <a:r>
              <a:rPr lang="en-US" sz="900" dirty="0" smtClean="0"/>
              <a:t>Test Case/Data Management</a:t>
            </a:r>
            <a:endParaRPr lang="en-US" sz="900" dirty="0"/>
          </a:p>
        </p:txBody>
      </p:sp>
      <p:sp>
        <p:nvSpPr>
          <p:cNvPr id="36" name="TextBox 35"/>
          <p:cNvSpPr txBox="1"/>
          <p:nvPr/>
        </p:nvSpPr>
        <p:spPr>
          <a:xfrm>
            <a:off x="4798013" y="2445744"/>
            <a:ext cx="1071964" cy="369332"/>
          </a:xfrm>
          <a:prstGeom prst="rect">
            <a:avLst/>
          </a:prstGeom>
          <a:noFill/>
        </p:spPr>
        <p:txBody>
          <a:bodyPr wrap="square" rtlCol="0">
            <a:spAutoFit/>
          </a:bodyPr>
          <a:lstStyle/>
          <a:p>
            <a:pPr algn="ctr"/>
            <a:r>
              <a:rPr lang="en-US" sz="900" dirty="0" smtClean="0"/>
              <a:t>CMDB/Change Management</a:t>
            </a:r>
            <a:endParaRPr lang="en-US" sz="900" dirty="0"/>
          </a:p>
        </p:txBody>
      </p:sp>
      <p:pic>
        <p:nvPicPr>
          <p:cNvPr id="39" name="Picture 12"/>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2577613" y="1077154"/>
            <a:ext cx="293496" cy="15848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1477247" y="1045248"/>
            <a:ext cx="704067" cy="16001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93954" y="1398946"/>
            <a:ext cx="872175" cy="215444"/>
          </a:xfrm>
          <a:prstGeom prst="rect">
            <a:avLst/>
          </a:prstGeom>
          <a:noFill/>
        </p:spPr>
        <p:txBody>
          <a:bodyPr wrap="square" rtlCol="0">
            <a:spAutoFit/>
          </a:bodyPr>
          <a:lstStyle/>
          <a:p>
            <a:r>
              <a:rPr lang="en-US" sz="800" b="1" dirty="0" smtClean="0"/>
              <a:t>Cloud Control</a:t>
            </a:r>
            <a:endParaRPr lang="en-US" sz="800" b="1" dirty="0"/>
          </a:p>
        </p:txBody>
      </p:sp>
      <p:pic>
        <p:nvPicPr>
          <p:cNvPr id="43" name="Picture 28"/>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5212328" y="1932938"/>
            <a:ext cx="597587" cy="21636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a:blip r:embed="rId8">
            <a:biLevel thresh="75000"/>
            <a:extLst>
              <a:ext uri="{28A0092B-C50C-407E-A947-70E740481C1C}">
                <a14:useLocalDpi xmlns:a14="http://schemas.microsoft.com/office/drawing/2010/main" val="0"/>
              </a:ext>
            </a:extLst>
          </a:blip>
          <a:stretch>
            <a:fillRect/>
          </a:stretch>
        </p:blipFill>
        <p:spPr bwMode="auto">
          <a:xfrm>
            <a:off x="3719782" y="727610"/>
            <a:ext cx="275098" cy="210406"/>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5124286" y="1679640"/>
            <a:ext cx="745691" cy="215444"/>
          </a:xfrm>
          <a:prstGeom prst="rect">
            <a:avLst/>
          </a:prstGeom>
          <a:noFill/>
        </p:spPr>
        <p:txBody>
          <a:bodyPr wrap="square" rtlCol="0">
            <a:spAutoFit/>
          </a:bodyPr>
          <a:lstStyle/>
          <a:p>
            <a:r>
              <a:rPr lang="en-US" sz="800" b="1" dirty="0" smtClean="0"/>
              <a:t>Barcelona</a:t>
            </a:r>
            <a:endParaRPr lang="en-US" sz="800" b="1" dirty="0"/>
          </a:p>
        </p:txBody>
      </p:sp>
      <p:sp>
        <p:nvSpPr>
          <p:cNvPr id="48" name="Rectangle 47"/>
          <p:cNvSpPr/>
          <p:nvPr/>
        </p:nvSpPr>
        <p:spPr>
          <a:xfrm>
            <a:off x="5908185" y="711001"/>
            <a:ext cx="3103248" cy="2785608"/>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t"/>
          <a:lstStyle/>
          <a:p>
            <a:pPr marL="171450" indent="-171450">
              <a:buFont typeface="Wingdings" panose="05000000000000000000" pitchFamily="2" charset="2"/>
              <a:buChar char="q"/>
            </a:pPr>
            <a:r>
              <a:rPr lang="en-US" sz="1100" dirty="0"/>
              <a:t>Collaboration Tools like Confluence is not available</a:t>
            </a:r>
            <a:r>
              <a:rPr lang="en-US" sz="1100" dirty="0" smtClean="0"/>
              <a:t>.</a:t>
            </a:r>
          </a:p>
          <a:p>
            <a:pPr marL="171450" indent="-171450">
              <a:buFont typeface="Wingdings" panose="05000000000000000000" pitchFamily="2" charset="2"/>
              <a:buChar char="q"/>
            </a:pPr>
            <a:r>
              <a:rPr lang="en-US" sz="1100" dirty="0" smtClean="0"/>
              <a:t>Static code analyzing not integrated with Build/CI</a:t>
            </a:r>
          </a:p>
          <a:p>
            <a:pPr marL="171450" indent="-171450">
              <a:buFont typeface="Wingdings" panose="05000000000000000000" pitchFamily="2" charset="2"/>
              <a:buChar char="q"/>
            </a:pPr>
            <a:r>
              <a:rPr lang="en-US" sz="1100" dirty="0" smtClean="0"/>
              <a:t>No Continuous Integration</a:t>
            </a:r>
          </a:p>
          <a:p>
            <a:pPr marL="171450" indent="-171450">
              <a:buFont typeface="Wingdings" panose="05000000000000000000" pitchFamily="2" charset="2"/>
              <a:buChar char="q"/>
            </a:pPr>
            <a:r>
              <a:rPr lang="en-US" sz="1100" dirty="0"/>
              <a:t>Unit Test happens before code review.</a:t>
            </a:r>
          </a:p>
          <a:p>
            <a:pPr marL="171450" indent="-171450">
              <a:buFont typeface="Wingdings" panose="05000000000000000000" pitchFamily="2" charset="2"/>
              <a:buChar char="q"/>
            </a:pPr>
            <a:r>
              <a:rPr lang="en-US" sz="1100" dirty="0" smtClean="0"/>
              <a:t>No </a:t>
            </a:r>
            <a:r>
              <a:rPr lang="en-US" sz="1100" dirty="0"/>
              <a:t>Tools for Service Virtualization and Test </a:t>
            </a:r>
            <a:r>
              <a:rPr lang="en-US" sz="1100" dirty="0" smtClean="0"/>
              <a:t>Managements</a:t>
            </a:r>
          </a:p>
          <a:p>
            <a:pPr marL="171450" indent="-171450">
              <a:buFont typeface="Wingdings" panose="05000000000000000000" pitchFamily="2" charset="2"/>
              <a:buChar char="q"/>
            </a:pPr>
            <a:r>
              <a:rPr lang="en-US" sz="1100" dirty="0"/>
              <a:t>Unit Test is not </a:t>
            </a:r>
            <a:r>
              <a:rPr lang="en-US" sz="1100" dirty="0" smtClean="0"/>
              <a:t>automated</a:t>
            </a:r>
            <a:endParaRPr lang="en-US" sz="1100" dirty="0"/>
          </a:p>
          <a:p>
            <a:pPr marL="171450" indent="-171450">
              <a:buFont typeface="Wingdings" panose="05000000000000000000" pitchFamily="2" charset="2"/>
              <a:buChar char="q"/>
            </a:pPr>
            <a:r>
              <a:rPr lang="en-US" sz="1100" dirty="0"/>
              <a:t>Release </a:t>
            </a:r>
            <a:r>
              <a:rPr lang="en-US" sz="1100" dirty="0" smtClean="0"/>
              <a:t>Management </a:t>
            </a:r>
            <a:r>
              <a:rPr lang="en-US" sz="1100" dirty="0"/>
              <a:t>is Manual</a:t>
            </a:r>
          </a:p>
          <a:p>
            <a:pPr marL="171450" indent="-171450">
              <a:buFont typeface="Wingdings" panose="05000000000000000000" pitchFamily="2" charset="2"/>
              <a:buChar char="q"/>
            </a:pPr>
            <a:r>
              <a:rPr lang="en-US" sz="1100" dirty="0"/>
              <a:t>Deployments are </a:t>
            </a:r>
            <a:r>
              <a:rPr lang="en-US" sz="1100" dirty="0" smtClean="0"/>
              <a:t>Manual</a:t>
            </a:r>
          </a:p>
          <a:p>
            <a:pPr marL="171450" indent="-171450">
              <a:buFont typeface="Wingdings" panose="05000000000000000000" pitchFamily="2" charset="2"/>
              <a:buChar char="q"/>
            </a:pPr>
            <a:r>
              <a:rPr lang="en-US" sz="1100" dirty="0" smtClean="0"/>
              <a:t>Release and Deployment Orchestration not available.</a:t>
            </a:r>
          </a:p>
          <a:p>
            <a:pPr marL="171450" indent="-171450">
              <a:buFont typeface="Wingdings" panose="05000000000000000000" pitchFamily="2" charset="2"/>
              <a:buChar char="q"/>
            </a:pPr>
            <a:r>
              <a:rPr lang="en-US" sz="1100" dirty="0" smtClean="0"/>
              <a:t>No Test Automation Suite in use</a:t>
            </a:r>
          </a:p>
          <a:p>
            <a:pPr marL="171450" indent="-171450">
              <a:buFont typeface="Wingdings" panose="05000000000000000000" pitchFamily="2" charset="2"/>
              <a:buChar char="q"/>
            </a:pPr>
            <a:r>
              <a:rPr lang="en-US" sz="1100" dirty="0" smtClean="0"/>
              <a:t>Code review is Manual</a:t>
            </a:r>
          </a:p>
          <a:p>
            <a:pPr marL="171450" indent="-171450">
              <a:buFont typeface="Wingdings" panose="05000000000000000000" pitchFamily="2" charset="2"/>
              <a:buChar char="ü"/>
            </a:pPr>
            <a:endParaRPr lang="en-US" sz="1100" dirty="0"/>
          </a:p>
          <a:p>
            <a:pPr marL="171450" indent="-171450">
              <a:buFont typeface="Wingdings" panose="05000000000000000000" pitchFamily="2" charset="2"/>
              <a:buChar char="ü"/>
            </a:pPr>
            <a:endParaRPr lang="en-US" sz="1100" dirty="0" smtClean="0"/>
          </a:p>
          <a:p>
            <a:pPr marL="171450" indent="-171450">
              <a:buFont typeface="Wingdings" panose="05000000000000000000" pitchFamily="2" charset="2"/>
              <a:buChar char="ü"/>
            </a:pPr>
            <a:endParaRPr lang="en-US" sz="1100" dirty="0"/>
          </a:p>
        </p:txBody>
      </p:sp>
      <p:graphicFrame>
        <p:nvGraphicFramePr>
          <p:cNvPr id="49" name="Table 48"/>
          <p:cNvGraphicFramePr>
            <a:graphicFrameLocks noGrp="1"/>
          </p:cNvGraphicFramePr>
          <p:nvPr>
            <p:extLst>
              <p:ext uri="{D42A27DB-BD31-4B8C-83A1-F6EECF244321}">
                <p14:modId xmlns:p14="http://schemas.microsoft.com/office/powerpoint/2010/main" val="2002690261"/>
              </p:ext>
            </p:extLst>
          </p:nvPr>
        </p:nvGraphicFramePr>
        <p:xfrm>
          <a:off x="5368436" y="3554794"/>
          <a:ext cx="992627" cy="1153901"/>
        </p:xfrm>
        <a:graphic>
          <a:graphicData uri="http://schemas.openxmlformats.org/drawingml/2006/table">
            <a:tbl>
              <a:tblPr firstRow="1" bandRow="1">
                <a:tableStyleId>{69012ECD-51FC-41F1-AA8D-1B2483CD663E}</a:tableStyleId>
              </a:tblPr>
              <a:tblGrid>
                <a:gridCol w="992627"/>
              </a:tblGrid>
              <a:tr h="203007">
                <a:tc>
                  <a:txBody>
                    <a:bodyPr/>
                    <a:lstStyle/>
                    <a:p>
                      <a:pPr algn="ctr"/>
                      <a:r>
                        <a:rPr lang="en-US" sz="800" dirty="0" smtClean="0"/>
                        <a:t>Technologies</a:t>
                      </a:r>
                      <a:endParaRPr lang="en-US" sz="800" dirty="0">
                        <a:latin typeface="+mn-lt"/>
                      </a:endParaRPr>
                    </a:p>
                  </a:txBody>
                  <a:tcPr marL="51449" marR="51449" marT="34290" marB="34290" anchor="ctr">
                    <a:solidFill>
                      <a:schemeClr val="bg2">
                        <a:lumMod val="50000"/>
                      </a:schemeClr>
                    </a:solidFill>
                  </a:tcPr>
                </a:tc>
              </a:tr>
              <a:tr h="159217">
                <a:tc>
                  <a:txBody>
                    <a:bodyPr/>
                    <a:lstStyle/>
                    <a:p>
                      <a:pPr marL="53975" indent="0" algn="l" fontAlgn="b"/>
                      <a:r>
                        <a:rPr lang="en-US" sz="800" b="0" i="0" u="none" strike="noStrike" dirty="0" smtClean="0">
                          <a:solidFill>
                            <a:schemeClr val="tx1"/>
                          </a:solidFill>
                          <a:effectLst/>
                          <a:latin typeface="+mn-lt"/>
                        </a:rPr>
                        <a:t>Java</a:t>
                      </a:r>
                      <a:endParaRPr lang="en-US" sz="800" b="0" i="0" u="none" strike="noStrike" dirty="0">
                        <a:solidFill>
                          <a:schemeClr val="tx1"/>
                        </a:solidFill>
                        <a:effectLst/>
                        <a:latin typeface="+mn-lt"/>
                      </a:endParaRPr>
                    </a:p>
                  </a:txBody>
                  <a:tcPr marL="5360" marR="5360" marT="7144" marB="0" anchor="ctr"/>
                </a:tc>
              </a:tr>
              <a:tr h="176981">
                <a:tc>
                  <a:txBody>
                    <a:bodyPr/>
                    <a:lstStyle/>
                    <a:p>
                      <a:pPr marL="53975" indent="0" algn="l" defTabSz="914400" rtl="0" eaLnBrk="1" fontAlgn="b" latinLnBrk="0" hangingPunct="1"/>
                      <a:r>
                        <a:rPr lang="en-US" sz="800" u="none" strike="noStrike" kern="1200" dirty="0" smtClean="0">
                          <a:solidFill>
                            <a:schemeClr val="tx1"/>
                          </a:solidFill>
                          <a:effectLst/>
                          <a:latin typeface="+mn-lt"/>
                          <a:ea typeface="+mn-ea"/>
                          <a:cs typeface="+mn-cs"/>
                        </a:rPr>
                        <a:t>Windows</a:t>
                      </a:r>
                      <a:endParaRPr lang="en-US" sz="800" u="none" strike="noStrike" kern="1200" dirty="0">
                        <a:solidFill>
                          <a:schemeClr val="tx1"/>
                        </a:solidFill>
                        <a:effectLst/>
                        <a:latin typeface="+mn-lt"/>
                        <a:ea typeface="+mn-ea"/>
                        <a:cs typeface="+mn-cs"/>
                      </a:endParaRPr>
                    </a:p>
                  </a:txBody>
                  <a:tcPr marL="5360" marR="5360" marT="7144" marB="0" anchor="ctr"/>
                </a:tc>
              </a:tr>
              <a:tr h="165919">
                <a:tc>
                  <a:txBody>
                    <a:bodyPr/>
                    <a:lstStyle/>
                    <a:p>
                      <a:pPr marL="53975" indent="0" algn="l" fontAlgn="b"/>
                      <a:r>
                        <a:rPr lang="en-US" sz="800" b="0" i="0" u="none" strike="noStrike" dirty="0" smtClean="0">
                          <a:solidFill>
                            <a:schemeClr val="tx1"/>
                          </a:solidFill>
                          <a:effectLst/>
                          <a:latin typeface="+mn-lt"/>
                        </a:rPr>
                        <a:t>Oracle</a:t>
                      </a:r>
                      <a:endParaRPr lang="en-US" sz="800" b="0" i="0" u="none" strike="noStrike" dirty="0">
                        <a:solidFill>
                          <a:schemeClr val="tx1"/>
                        </a:solidFill>
                        <a:effectLst/>
                        <a:latin typeface="+mn-lt"/>
                      </a:endParaRPr>
                    </a:p>
                  </a:txBody>
                  <a:tcPr marL="5360" marR="5360" marT="7144" marB="0" anchor="ctr"/>
                </a:tc>
              </a:tr>
              <a:tr h="254032">
                <a:tc>
                  <a:txBody>
                    <a:bodyPr/>
                    <a:lstStyle/>
                    <a:p>
                      <a:pPr marL="53975" indent="0" algn="l" fontAlgn="b"/>
                      <a:r>
                        <a:rPr lang="en-US" sz="800" b="0" i="0" u="none" strike="noStrike" dirty="0" smtClean="0">
                          <a:solidFill>
                            <a:schemeClr val="tx1"/>
                          </a:solidFill>
                          <a:effectLst/>
                          <a:latin typeface="+mn-lt"/>
                        </a:rPr>
                        <a:t>Cobol</a:t>
                      </a:r>
                      <a:endParaRPr lang="en-US" sz="800" b="0" i="0" u="none" strike="noStrike" dirty="0">
                        <a:solidFill>
                          <a:schemeClr val="tx1"/>
                        </a:solidFill>
                        <a:effectLst/>
                        <a:latin typeface="+mn-lt"/>
                      </a:endParaRPr>
                    </a:p>
                  </a:txBody>
                  <a:tcPr marL="5360" marR="5360" marT="7144" marB="0" anchor="ctr"/>
                </a:tc>
              </a:tr>
              <a:tr h="194745">
                <a:tc>
                  <a:txBody>
                    <a:bodyPr/>
                    <a:lstStyle/>
                    <a:p>
                      <a:pPr marL="53975" indent="0" algn="l" fontAlgn="b"/>
                      <a:r>
                        <a:rPr lang="en-US" sz="800" b="0" i="0" u="none" strike="noStrike" dirty="0" smtClean="0">
                          <a:solidFill>
                            <a:schemeClr val="tx1"/>
                          </a:solidFill>
                          <a:effectLst/>
                          <a:latin typeface="+mn-lt"/>
                        </a:rPr>
                        <a:t>MQ Series</a:t>
                      </a:r>
                      <a:endParaRPr lang="en-US" sz="800" b="0" i="0" u="none" strike="noStrike" dirty="0">
                        <a:solidFill>
                          <a:schemeClr val="tx1"/>
                        </a:solidFill>
                        <a:effectLst/>
                        <a:latin typeface="+mn-lt"/>
                      </a:endParaRPr>
                    </a:p>
                  </a:txBody>
                  <a:tcPr marL="5360" marR="5360" marT="7144" marB="0" anchor="ctr"/>
                </a:tc>
              </a:tr>
            </a:tbl>
          </a:graphicData>
        </a:graphic>
      </p:graphicFrame>
      <p:pic>
        <p:nvPicPr>
          <p:cNvPr id="42"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469440" y="2419616"/>
            <a:ext cx="649989" cy="10714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472980" y="1753308"/>
            <a:ext cx="649989" cy="10714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2635469" y="1735586"/>
            <a:ext cx="649989" cy="10714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2649642" y="2408989"/>
            <a:ext cx="649989" cy="107140"/>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47" name="Picture 2" descr="https://www.naranja.com/images/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Gesta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46645" y="1094395"/>
            <a:ext cx="434546" cy="121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36556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latin typeface="Segoe UI Light" panose="020B0502040204020203" pitchFamily="34" charset="0"/>
              </a:rPr>
              <a:t>NOL CA - Over </a:t>
            </a:r>
            <a:r>
              <a:rPr lang="en-US" dirty="0">
                <a:latin typeface="Segoe UI Light" panose="020B0502040204020203" pitchFamily="34" charset="0"/>
              </a:rPr>
              <a:t>all DevOps Maturity </a:t>
            </a:r>
            <a:endParaRPr lang="en-US" dirty="0"/>
          </a:p>
        </p:txBody>
      </p:sp>
      <p:sp>
        <p:nvSpPr>
          <p:cNvPr id="6" name="Rectangle 5"/>
          <p:cNvSpPr/>
          <p:nvPr/>
        </p:nvSpPr>
        <p:spPr>
          <a:xfrm>
            <a:off x="5763267" y="76926"/>
            <a:ext cx="853284" cy="29925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smtClean="0">
                <a:solidFill>
                  <a:prstClr val="white"/>
                </a:solidFill>
              </a:rPr>
              <a:t>Score</a:t>
            </a:r>
            <a:endParaRPr lang="en-US" dirty="0">
              <a:solidFill>
                <a:prstClr val="white"/>
              </a:solidFill>
            </a:endParaRPr>
          </a:p>
        </p:txBody>
      </p:sp>
      <p:sp>
        <p:nvSpPr>
          <p:cNvPr id="7" name="Rectangle 6"/>
          <p:cNvSpPr/>
          <p:nvPr/>
        </p:nvSpPr>
        <p:spPr>
          <a:xfrm>
            <a:off x="6626587" y="66653"/>
            <a:ext cx="853284" cy="309528"/>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prstClr val="white"/>
                </a:solidFill>
              </a:rPr>
              <a:t>2</a:t>
            </a:r>
            <a:r>
              <a:rPr lang="en-US" dirty="0" smtClean="0">
                <a:solidFill>
                  <a:prstClr val="white"/>
                </a:solidFill>
              </a:rPr>
              <a:t> </a:t>
            </a:r>
            <a:r>
              <a:rPr lang="en-US" dirty="0">
                <a:solidFill>
                  <a:prstClr val="white"/>
                </a:solidFill>
              </a:rPr>
              <a:t>/ </a:t>
            </a:r>
            <a:r>
              <a:rPr lang="en-US" dirty="0" smtClean="0">
                <a:solidFill>
                  <a:prstClr val="white"/>
                </a:solidFill>
              </a:rPr>
              <a:t>5</a:t>
            </a:r>
            <a:endParaRPr lang="en-US" dirty="0">
              <a:solidFill>
                <a:prstClr val="white"/>
              </a:solidFill>
            </a:endParaRPr>
          </a:p>
        </p:txBody>
      </p:sp>
      <p:sp>
        <p:nvSpPr>
          <p:cNvPr id="8" name="Rectangle 7"/>
          <p:cNvSpPr/>
          <p:nvPr/>
        </p:nvSpPr>
        <p:spPr>
          <a:xfrm>
            <a:off x="7497899" y="59078"/>
            <a:ext cx="1512541" cy="309529"/>
          </a:xfrm>
          <a:prstGeom prst="rect">
            <a:avLst/>
          </a:prstGeom>
          <a:solidFill>
            <a:schemeClr val="accent4"/>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dirty="0" smtClean="0">
                <a:solidFill>
                  <a:prstClr val="white"/>
                </a:solidFill>
              </a:rPr>
              <a:t>Embracing</a:t>
            </a:r>
            <a:endParaRPr lang="en-US" dirty="0">
              <a:solidFill>
                <a:prstClr val="white"/>
              </a:solidFill>
            </a:endParaRPr>
          </a:p>
        </p:txBody>
      </p:sp>
      <p:graphicFrame>
        <p:nvGraphicFramePr>
          <p:cNvPr id="9" name="Chart 8"/>
          <p:cNvGraphicFramePr>
            <a:graphicFrameLocks/>
          </p:cNvGraphicFramePr>
          <p:nvPr>
            <p:extLst>
              <p:ext uri="{D42A27DB-BD31-4B8C-83A1-F6EECF244321}">
                <p14:modId xmlns:p14="http://schemas.microsoft.com/office/powerpoint/2010/main" val="2212206305"/>
              </p:ext>
            </p:extLst>
          </p:nvPr>
        </p:nvGraphicFramePr>
        <p:xfrm>
          <a:off x="107004" y="680828"/>
          <a:ext cx="5071051" cy="39230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a:graphicFrameLocks/>
          </p:cNvGraphicFramePr>
          <p:nvPr>
            <p:extLst>
              <p:ext uri="{D42A27DB-BD31-4B8C-83A1-F6EECF244321}">
                <p14:modId xmlns:p14="http://schemas.microsoft.com/office/powerpoint/2010/main" val="531259290"/>
              </p:ext>
            </p:extLst>
          </p:nvPr>
        </p:nvGraphicFramePr>
        <p:xfrm>
          <a:off x="4899381" y="680829"/>
          <a:ext cx="4111059" cy="3415383"/>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2"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60275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a:t>
            </a:r>
            <a:r>
              <a:rPr lang="en-US" dirty="0">
                <a:latin typeface="Segoe UI Light" panose="020B0502040204020203" pitchFamily="34" charset="0"/>
              </a:rPr>
              <a:t>Build</a:t>
            </a:r>
            <a:endParaRPr lang="en-US" dirty="0"/>
          </a:p>
        </p:txBody>
      </p:sp>
      <p:sp>
        <p:nvSpPr>
          <p:cNvPr id="6" name="Rectangle 5"/>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p:nvPicPr>
        <p:blipFill>
          <a:blip r:embed="rId3"/>
          <a:stretch>
            <a:fillRect/>
          </a:stretch>
        </p:blipFill>
        <p:spPr>
          <a:xfrm>
            <a:off x="25788" y="4305967"/>
            <a:ext cx="288300" cy="285194"/>
          </a:xfrm>
          <a:prstGeom prst="rect">
            <a:avLst/>
          </a:prstGeom>
        </p:spPr>
      </p:pic>
      <p:sp>
        <p:nvSpPr>
          <p:cNvPr id="13" name="Rectangle 12"/>
          <p:cNvSpPr/>
          <p:nvPr/>
        </p:nvSpPr>
        <p:spPr>
          <a:xfrm>
            <a:off x="3853723" y="626598"/>
            <a:ext cx="2515179" cy="210839"/>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4" name="Rectangle 13"/>
          <p:cNvSpPr/>
          <p:nvPr/>
        </p:nvSpPr>
        <p:spPr>
          <a:xfrm>
            <a:off x="3853723" y="837437"/>
            <a:ext cx="5231219" cy="4021646"/>
          </a:xfrm>
          <a:prstGeom prst="rect">
            <a:avLst/>
          </a:prstGeom>
          <a:solidFill>
            <a:schemeClr val="bg1"/>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Strategy</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an, Processes &amp; Operational activitie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No document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vailable</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to refer however Vendor is having all the document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 reference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dentified to improve planning efficienc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Metrics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g. LOC, Check-in frequency and # Check-in policie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available to monitor the effectiveness of SCM processe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llowed 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erging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appens on Scrum Master / PM’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cision mainly over mails.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ccess restrictions to be implement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 Merging and Tagging is not automated.</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failure based on Code Quality is not automat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tatic code analysis is done using Sonar however it is not performed on each code commi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Review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de review process is defined.</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Unit Tests &amp; Code Coverage</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utomated unit test suites are available. Hence, the team does not describe the degree to which the source code of a program has been tested.</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re is no tool available to track the code coverage since team follows manual unit testing.</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available to create/cleanup tes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a.</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it Test suites are not integrated with CI since team follows manual unit testing</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p:cNvSpPr txBox="1"/>
          <p:nvPr/>
        </p:nvSpPr>
        <p:spPr>
          <a:xfrm>
            <a:off x="3864357" y="58406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366705" y="4268036"/>
            <a:ext cx="3396670" cy="476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ool for SCM –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p>
          <a:p>
            <a:pPr marL="171450" indent="-171450">
              <a:buFont typeface="Wingdings" panose="05000000000000000000" pitchFamily="2" charset="2"/>
              <a:buChar char="q"/>
            </a:pP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narQub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used for Code Quality</a:t>
            </a:r>
          </a:p>
          <a:p>
            <a:endParaRPr lang="en-US" sz="900" dirty="0" smtClean="0">
              <a:solidFill>
                <a:srgbClr val="141414"/>
              </a:solidFill>
            </a:endParaRPr>
          </a:p>
          <a:p>
            <a:r>
              <a:rPr lang="en-US" sz="900" dirty="0" smtClean="0">
                <a:solidFill>
                  <a:srgbClr val="141414"/>
                </a:solidFill>
              </a:rPr>
              <a:t>  	</a:t>
            </a:r>
          </a:p>
          <a:p>
            <a:endParaRPr lang="en-US" sz="900" dirty="0">
              <a:solidFill>
                <a:srgbClr val="141414"/>
              </a:solidFill>
            </a:endParaRPr>
          </a:p>
        </p:txBody>
      </p:sp>
      <p:sp>
        <p:nvSpPr>
          <p:cNvPr id="17" name="TextBox 16"/>
          <p:cNvSpPr txBox="1"/>
          <p:nvPr/>
        </p:nvSpPr>
        <p:spPr>
          <a:xfrm>
            <a:off x="103111" y="3980822"/>
            <a:ext cx="3660264" cy="276999"/>
          </a:xfrm>
          <a:prstGeom prst="rect">
            <a:avLst/>
          </a:prstGeom>
          <a:solidFill>
            <a:schemeClr val="tx2">
              <a:lumMod val="7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p:cNvGraphicFramePr>
            <a:graphicFrameLocks/>
          </p:cNvGraphicFramePr>
          <p:nvPr>
            <p:extLst>
              <p:ext uri="{D42A27DB-BD31-4B8C-83A1-F6EECF244321}">
                <p14:modId xmlns:p14="http://schemas.microsoft.com/office/powerpoint/2010/main" val="1582737046"/>
              </p:ext>
            </p:extLst>
          </p:nvPr>
        </p:nvGraphicFramePr>
        <p:xfrm>
          <a:off x="103112" y="626598"/>
          <a:ext cx="3660264" cy="3306078"/>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58351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a:t>
            </a:r>
            <a:r>
              <a:rPr lang="en-US" dirty="0" smtClean="0">
                <a:latin typeface="Segoe UI Light" panose="020B0502040204020203" pitchFamily="34" charset="0"/>
              </a:rPr>
              <a:t>Build continues</a:t>
            </a:r>
            <a:endParaRPr lang="en-US" dirty="0"/>
          </a:p>
        </p:txBody>
      </p:sp>
      <p:pic>
        <p:nvPicPr>
          <p:cNvPr id="9" name="Picture 8"/>
          <p:cNvPicPr>
            <a:picLocks noChangeAspect="1"/>
          </p:cNvPicPr>
          <p:nvPr/>
        </p:nvPicPr>
        <p:blipFill>
          <a:blip r:embed="rId2"/>
          <a:stretch>
            <a:fillRect/>
          </a:stretch>
        </p:blipFill>
        <p:spPr>
          <a:xfrm>
            <a:off x="16145" y="4291328"/>
            <a:ext cx="288300" cy="285194"/>
          </a:xfrm>
          <a:prstGeom prst="rect">
            <a:avLst/>
          </a:prstGeom>
        </p:spPr>
      </p:pic>
      <p:sp>
        <p:nvSpPr>
          <p:cNvPr id="11" name="Rectangle 10"/>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3920544" y="648211"/>
            <a:ext cx="2480256" cy="24510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4" name="Rectangle 13"/>
          <p:cNvSpPr/>
          <p:nvPr/>
        </p:nvSpPr>
        <p:spPr>
          <a:xfrm>
            <a:off x="3931177" y="912578"/>
            <a:ext cx="5109831" cy="1745909"/>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Build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 check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one Manually.</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tegr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ith third party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ackages/libraries is not embedded.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s are scheduled however using batch processing</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hird party Integration</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pendency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agement in the build scrip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re is no versioning mechanism for third party librarie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But they are stored in the </a:t>
            </a:r>
            <a:r>
              <a:rPr lang="en-US" sz="900" dirty="0" err="1">
                <a:solidFill>
                  <a:srgbClr val="0070C0"/>
                </a:solidFill>
                <a:latin typeface="Verdana" panose="020B0604030504040204" pitchFamily="34" charset="0"/>
                <a:ea typeface="Verdana" panose="020B0604030504040204" pitchFamily="34" charset="0"/>
                <a:cs typeface="Verdana" panose="020B0604030504040204" pitchFamily="34" charset="0"/>
              </a:rPr>
              <a:t>Naranja</a:t>
            </a: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 SCM system (</a:t>
            </a:r>
            <a:r>
              <a:rPr lang="en-US" sz="900" dirty="0" err="1">
                <a:solidFill>
                  <a:srgbClr val="0070C0"/>
                </a:solidFill>
                <a:latin typeface="Verdana" panose="020B0604030504040204" pitchFamily="34" charset="0"/>
                <a:ea typeface="Verdana" panose="020B0604030504040204" pitchFamily="34" charset="0"/>
                <a:cs typeface="Verdana" panose="020B0604030504040204" pitchFamily="34" charset="0"/>
              </a:rPr>
              <a:t>ClearCase</a:t>
            </a: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Integr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I is not defined and implemented.</a:t>
            </a:r>
            <a:endParaRPr lang="en-US" sz="900" b="1"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15" name="TextBox 14"/>
          <p:cNvSpPr txBox="1"/>
          <p:nvPr/>
        </p:nvSpPr>
        <p:spPr>
          <a:xfrm>
            <a:off x="3941811" y="616314"/>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352105" y="4259429"/>
            <a:ext cx="3429524" cy="505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ven is used as Build Tool.  </a:t>
            </a:r>
          </a:p>
        </p:txBody>
      </p:sp>
      <p:sp>
        <p:nvSpPr>
          <p:cNvPr id="17" name="TextBox 16"/>
          <p:cNvSpPr txBox="1"/>
          <p:nvPr/>
        </p:nvSpPr>
        <p:spPr>
          <a:xfrm>
            <a:off x="145973" y="3982430"/>
            <a:ext cx="3635656"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p:cNvGraphicFramePr>
            <a:graphicFrameLocks/>
          </p:cNvGraphicFramePr>
          <p:nvPr>
            <p:extLst>
              <p:ext uri="{D42A27DB-BD31-4B8C-83A1-F6EECF244321}">
                <p14:modId xmlns:p14="http://schemas.microsoft.com/office/powerpoint/2010/main" val="824921929"/>
              </p:ext>
            </p:extLst>
          </p:nvPr>
        </p:nvGraphicFramePr>
        <p:xfrm>
          <a:off x="107004" y="648211"/>
          <a:ext cx="3674625" cy="322204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931177" y="2766914"/>
            <a:ext cx="3362758"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Rectangle 21"/>
          <p:cNvSpPr/>
          <p:nvPr/>
        </p:nvSpPr>
        <p:spPr>
          <a:xfrm>
            <a:off x="3941810" y="3031281"/>
            <a:ext cx="5109831" cy="1608964"/>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Strateg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ation of all SOPs and Guidelines (SCM Strategy, Branching/Merging Strategies, Continuous Integration Process &amp; Techniques) need to be made available in a common repository for team’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reference irrespective of Vendor or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eam,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which helps the team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branching and merging activity thorough organized way to avoid repetitive activities. Master copy to hold production corresponding code bas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nsolidated build scripts’ references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and Track Metrics like LOC, Check-in frequency and # Check-in policies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etc</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hrough SCM tool to monitor the effectiveness of SCM processe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TextBox 22"/>
          <p:cNvSpPr txBox="1"/>
          <p:nvPr/>
        </p:nvSpPr>
        <p:spPr>
          <a:xfrm>
            <a:off x="3952444" y="2735017"/>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34803371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a:t>
            </a:r>
            <a:r>
              <a:rPr lang="en-US" dirty="0" smtClean="0">
                <a:latin typeface="Segoe UI Light" panose="020B0502040204020203" pitchFamily="34" charset="0"/>
              </a:rPr>
              <a:t>Build continues</a:t>
            </a:r>
            <a:endParaRPr lang="en-US" dirty="0"/>
          </a:p>
        </p:txBody>
      </p:sp>
      <p:sp>
        <p:nvSpPr>
          <p:cNvPr id="11" name="Rectangle 10"/>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p:cNvGraphicFramePr>
            <a:graphicFrameLocks/>
          </p:cNvGraphicFramePr>
          <p:nvPr>
            <p:extLst>
              <p:ext uri="{D42A27DB-BD31-4B8C-83A1-F6EECF244321}">
                <p14:modId xmlns:p14="http://schemas.microsoft.com/office/powerpoint/2010/main" val="3754154494"/>
              </p:ext>
            </p:extLst>
          </p:nvPr>
        </p:nvGraphicFramePr>
        <p:xfrm>
          <a:off x="107004" y="648211"/>
          <a:ext cx="3674625" cy="3992034"/>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3920543" y="648210"/>
            <a:ext cx="3415921" cy="264367"/>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5" name="Rectangle 24"/>
          <p:cNvSpPr/>
          <p:nvPr/>
        </p:nvSpPr>
        <p:spPr>
          <a:xfrm>
            <a:off x="3931177" y="912578"/>
            <a:ext cx="5109831" cy="3727667"/>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 best practices for architecture &amp; secure coding for team’s reference to improve th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project teams on common coding conventions to avoid code quality and maintainability issues.</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tatic Code analysis using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o be enabled with every single commit for current development process and also to be integrated with Jenkins. This could significantly reduce the peer review effort and helps to identify and track the dead code in the app repositor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Build failure to be enforced if critical code violations increase. The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base lining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of violation details to be determined and to be agreed with the Customer.</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ystematic Code refactoring strategy / process to be defined in order to address the duplicate/ dead code, circular dependencies and Technical debt., It is recommended to allocate adequate bandwidth ( 10-20%) in each Iteration to handle the technical debt of the code to keep the code base maintainable. </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view</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de review tool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like Crucible or similar feature available with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GitLab</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o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mprove the planning efficiency</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rack Defect leakage metric Sprint wise to monitor the code review effectivenes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Unit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s &amp; Cod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automated Unit test suites, which helps project team to describe the degree to which the source code of a program has been tested.</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Code Coverage tool to monitor th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ntegrate Unit test suites with Jenkin tool to improve the testing effectiveness.</a:t>
            </a: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26" name="TextBox 25"/>
          <p:cNvSpPr txBox="1"/>
          <p:nvPr/>
        </p:nvSpPr>
        <p:spPr>
          <a:xfrm>
            <a:off x="3941811" y="616314"/>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40508695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a:t>
            </a:r>
            <a:r>
              <a:rPr lang="en-US" dirty="0" smtClean="0">
                <a:latin typeface="Segoe UI Light" panose="020B0502040204020203" pitchFamily="34" charset="0"/>
              </a:rPr>
              <a:t>Build continues</a:t>
            </a:r>
            <a:endParaRPr lang="en-US" dirty="0"/>
          </a:p>
        </p:txBody>
      </p:sp>
      <p:sp>
        <p:nvSpPr>
          <p:cNvPr id="11" name="Rectangle 10"/>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p:cNvGraphicFramePr>
            <a:graphicFrameLocks/>
          </p:cNvGraphicFramePr>
          <p:nvPr>
            <p:extLst/>
          </p:nvPr>
        </p:nvGraphicFramePr>
        <p:xfrm>
          <a:off x="107004" y="648211"/>
          <a:ext cx="3674625" cy="3992034"/>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3920543" y="648211"/>
            <a:ext cx="3330861" cy="276998"/>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6" name="TextBox 25"/>
          <p:cNvSpPr txBox="1"/>
          <p:nvPr/>
        </p:nvSpPr>
        <p:spPr>
          <a:xfrm>
            <a:off x="3941811" y="616314"/>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13" name="Rectangle 12"/>
          <p:cNvSpPr/>
          <p:nvPr/>
        </p:nvSpPr>
        <p:spPr>
          <a:xfrm>
            <a:off x="3931177" y="925209"/>
            <a:ext cx="5109831" cy="3715035"/>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Build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Automation</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aven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o compile the code which helps the team to improve th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automation scripts for validating the final build artifact.</a:t>
            </a: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hird party Integration &amp; Continuous Integration</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mplement End to End automation of CI-CD in a single pipeline for seamless delivery with required set of tool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aven, Jenkins</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Nexu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Junit,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Cobertura</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CD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ool,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Selenium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and Code Review tool).</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CI dashboard to monitor the status of the latest build, latest deployment etc</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778006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Deploy</a:t>
            </a:r>
            <a:endParaRPr lang="en-US" dirty="0"/>
          </a:p>
        </p:txBody>
      </p:sp>
      <p:pic>
        <p:nvPicPr>
          <p:cNvPr id="5" name="Picture 4"/>
          <p:cNvPicPr>
            <a:picLocks noChangeAspect="1"/>
          </p:cNvPicPr>
          <p:nvPr/>
        </p:nvPicPr>
        <p:blipFill>
          <a:blip r:embed="rId2"/>
          <a:stretch>
            <a:fillRect/>
          </a:stretch>
        </p:blipFill>
        <p:spPr>
          <a:xfrm>
            <a:off x="34988" y="3931726"/>
            <a:ext cx="288300" cy="285194"/>
          </a:xfrm>
          <a:prstGeom prst="rect">
            <a:avLst/>
          </a:prstGeom>
        </p:spPr>
      </p:pic>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3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794408780"/>
              </p:ext>
            </p:extLst>
          </p:nvPr>
        </p:nvGraphicFramePr>
        <p:xfrm>
          <a:off x="131493" y="652076"/>
          <a:ext cx="3909691" cy="2664741"/>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4114449" y="874727"/>
            <a:ext cx="4972693" cy="23492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rtifact Management</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s are generated and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aged via clear c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t is not integrated with other tools.</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Deployment (CD</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dicated SIT environments are not available. Integration testing is performed on the shared environment.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erson-dependent deployments on NPE leads to increased cycle tim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omotion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o production environment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fter gett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s through  change and release management proces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promotion to NPE does not require approval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get triggered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ly however no tracking of deployments done in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mmunication of deployment fo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are not done continuously ove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promotions in lower environment (Dev/QA) is managed manually.</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Deployment scripts are executed manually.</a:t>
            </a:r>
          </a:p>
          <a:p>
            <a:pPr marL="171450" indent="-171450">
              <a:buFont typeface="Arial" panose="020B0604020202020204" pitchFamily="34" charset="0"/>
              <a:buChar char="•"/>
            </a:pP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276360" y="3639204"/>
            <a:ext cx="3619956" cy="9201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mi-automated script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executed using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mp; CTRL-M.</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oduction deployments are controlled using Release and change management process using CA Service Desk</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does all th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Box 13"/>
          <p:cNvSpPr txBox="1"/>
          <p:nvPr/>
        </p:nvSpPr>
        <p:spPr>
          <a:xfrm>
            <a:off x="107004" y="3339511"/>
            <a:ext cx="390771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6" name="Rectangle 15"/>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7"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4081459" y="3303143"/>
            <a:ext cx="3169946"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9" name="TextBox 18"/>
          <p:cNvSpPr txBox="1"/>
          <p:nvPr/>
        </p:nvSpPr>
        <p:spPr>
          <a:xfrm>
            <a:off x="4102726" y="3271246"/>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0" name="Rectangle 19"/>
          <p:cNvSpPr/>
          <p:nvPr/>
        </p:nvSpPr>
        <p:spPr>
          <a:xfrm>
            <a:off x="4117758" y="3598774"/>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exu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 management – to store deployable artifac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Pre and Post Install checks via automa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s/plug-in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timize deployment cycle by collaborating tools lik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enkins, and Deployment tool. This will help to reduce further dependencies on approvals. Enable continuous deployment across the environments in an automated way.</a:t>
            </a:r>
          </a:p>
          <a:p>
            <a:pPr algn="ctr"/>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4114450" y="606383"/>
            <a:ext cx="2350146" cy="254684"/>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1" name="TextBox 20"/>
          <p:cNvSpPr txBox="1"/>
          <p:nvPr/>
        </p:nvSpPr>
        <p:spPr>
          <a:xfrm>
            <a:off x="4151436" y="58406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7503677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Verify</a:t>
            </a:r>
            <a:endParaRPr lang="en-US" dirty="0"/>
          </a:p>
        </p:txBody>
      </p:sp>
      <p:pic>
        <p:nvPicPr>
          <p:cNvPr id="6" name="Picture 5"/>
          <p:cNvPicPr>
            <a:picLocks noChangeAspect="1"/>
          </p:cNvPicPr>
          <p:nvPr/>
        </p:nvPicPr>
        <p:blipFill>
          <a:blip r:embed="rId2"/>
          <a:stretch>
            <a:fillRect/>
          </a:stretch>
        </p:blipFill>
        <p:spPr>
          <a:xfrm>
            <a:off x="75785" y="3484308"/>
            <a:ext cx="288300" cy="285194"/>
          </a:xfrm>
          <a:prstGeom prst="rect">
            <a:avLst/>
          </a:prstGeom>
        </p:spPr>
      </p:pic>
      <p:graphicFrame>
        <p:nvGraphicFramePr>
          <p:cNvPr id="10" name="Chart 9"/>
          <p:cNvGraphicFramePr>
            <a:graphicFrameLocks/>
          </p:cNvGraphicFramePr>
          <p:nvPr>
            <p:extLst>
              <p:ext uri="{D42A27DB-BD31-4B8C-83A1-F6EECF244321}">
                <p14:modId xmlns:p14="http://schemas.microsoft.com/office/powerpoint/2010/main" val="2681293783"/>
              </p:ext>
            </p:extLst>
          </p:nvPr>
        </p:nvGraphicFramePr>
        <p:xfrm>
          <a:off x="39647" y="671765"/>
          <a:ext cx="3778136" cy="2284086"/>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1 / Embrac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3892214" y="935851"/>
            <a:ext cx="4972693" cy="1591893"/>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est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utom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st suites are defined.</a:t>
            </a:r>
          </a:p>
          <a:p>
            <a:pPr marL="285750" indent="-285750">
              <a:buFont typeface="Arial" panose="020B0604020202020204" pitchFamily="34" charset="0"/>
              <a:buChar char="•"/>
            </a:pPr>
            <a:endPar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330229" y="3327595"/>
            <a:ext cx="3523395" cy="8838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900" dirty="0">
              <a:solidFill>
                <a:srgbClr val="141414"/>
              </a:solidFill>
            </a:endParaRPr>
          </a:p>
        </p:txBody>
      </p:sp>
      <p:sp>
        <p:nvSpPr>
          <p:cNvPr id="15" name="TextBox 14"/>
          <p:cNvSpPr txBox="1"/>
          <p:nvPr/>
        </p:nvSpPr>
        <p:spPr>
          <a:xfrm>
            <a:off x="39646" y="2982041"/>
            <a:ext cx="3813978"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6" name="Rectangle 15"/>
          <p:cNvSpPr/>
          <p:nvPr/>
        </p:nvSpPr>
        <p:spPr>
          <a:xfrm>
            <a:off x="3892214" y="671765"/>
            <a:ext cx="2487321" cy="24510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7" name="TextBox 16"/>
          <p:cNvSpPr txBox="1"/>
          <p:nvPr/>
        </p:nvSpPr>
        <p:spPr>
          <a:xfrm>
            <a:off x="3913481" y="63986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p:nvSpPr>
        <p:spPr>
          <a:xfrm>
            <a:off x="425846" y="3327595"/>
            <a:ext cx="3427778" cy="10355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b="1"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est Automation in place.</a:t>
            </a:r>
          </a:p>
          <a:p>
            <a:pPr marL="171450" indent="-171450">
              <a:buFont typeface="Wingdings" panose="05000000000000000000" pitchFamily="2" charset="2"/>
              <a:buChar char="q"/>
            </a:pPr>
            <a:r>
              <a:rPr lang="en-US" sz="900" b="1"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curity Testing is done manually by external vendor.</a:t>
            </a:r>
            <a:endParaRPr lang="en-US" sz="900" b="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913401" y="2546727"/>
            <a:ext cx="3369901" cy="295631"/>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TextBox 21"/>
          <p:cNvSpPr txBox="1"/>
          <p:nvPr/>
        </p:nvSpPr>
        <p:spPr>
          <a:xfrm>
            <a:off x="3934666" y="2514831"/>
            <a:ext cx="3221045"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p:cNvSpPr/>
          <p:nvPr/>
        </p:nvSpPr>
        <p:spPr>
          <a:xfrm>
            <a:off x="3949699" y="2842359"/>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a:defRPr/>
            </a:pP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 Automation (CD)</a:t>
            </a:r>
          </a:p>
          <a:p>
            <a:pPr marL="171450" indent="-171450" defTabSz="914400">
              <a:buFont typeface="Wingdings" panose="05000000000000000000" pitchFamily="2" charset="2"/>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automation to be brought i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L CA applic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sing existing too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eniu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is needs to be integrated with CI/CD pipeline as well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100% integration of test automation suite within CI Lifecycle).</a:t>
            </a:r>
          </a:p>
          <a:p>
            <a:pPr marL="171450" indent="-171450" defTabSz="914400">
              <a:buFont typeface="Arial" panose="020B0604020202020204" pitchFamily="34" charset="0"/>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test automation coverage is enabled via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narQub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943802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Release</a:t>
            </a:r>
            <a:endParaRPr lang="en-US" dirty="0"/>
          </a:p>
        </p:txBody>
      </p:sp>
      <p:pic>
        <p:nvPicPr>
          <p:cNvPr id="6" name="Picture 5"/>
          <p:cNvPicPr>
            <a:picLocks noChangeAspect="1"/>
          </p:cNvPicPr>
          <p:nvPr/>
        </p:nvPicPr>
        <p:blipFill>
          <a:blip r:embed="rId2"/>
          <a:stretch>
            <a:fillRect/>
          </a:stretch>
        </p:blipFill>
        <p:spPr>
          <a:xfrm>
            <a:off x="279" y="3973744"/>
            <a:ext cx="288300" cy="285194"/>
          </a:xfrm>
          <a:prstGeom prst="rect">
            <a:avLst/>
          </a:prstGeom>
        </p:spPr>
      </p:pic>
      <p:sp>
        <p:nvSpPr>
          <p:cNvPr id="10" name="Rectangle 9"/>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5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3817088" y="907238"/>
            <a:ext cx="5259772" cy="1963553"/>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raceability</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Traceability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is enabled partially from User Stories to deployments by traversing through existing </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tools, JIRA. However</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 these are not configured in a single workflow</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Existing tools are not integrated with JIRA in order to provide traceability in a automated fashion. </a:t>
            </a:r>
          </a:p>
          <a:p>
            <a:pPr marL="171450" indent="-171450">
              <a:buFont typeface="Arial" panose="020B0604020202020204" pitchFamily="34" charset="0"/>
              <a:buChar char="•"/>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JIRA is owned and operated by the Vendor.</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orchestration tool is available. </a:t>
            </a:r>
          </a:p>
          <a:p>
            <a:pPr marL="171450" indent="-171450">
              <a:buFont typeface="Arial" panose="020B0604020202020204" pitchFamily="34" charset="0"/>
              <a:buChar char="•"/>
            </a:pP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Stage Gate &amp; Approval Criteria – Manual approval process is followed for deployments rather than automated workflow based approvals.</a:t>
            </a:r>
          </a:p>
          <a:p>
            <a:pPr marL="171450" indent="-171450">
              <a:buFont typeface="Arial" panose="020B0604020202020204" pitchFamily="34" charset="0"/>
              <a:buChar char="•"/>
            </a:pP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metrics reporting culture is followed for Release Management</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Only Change Management is in place.</a:t>
            </a:r>
            <a:endPar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ct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p:cNvSpPr txBox="1"/>
          <p:nvPr/>
        </p:nvSpPr>
        <p:spPr>
          <a:xfrm>
            <a:off x="49595" y="3439922"/>
            <a:ext cx="3682433"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6" name="Rectangle 15"/>
          <p:cNvSpPr/>
          <p:nvPr/>
        </p:nvSpPr>
        <p:spPr>
          <a:xfrm>
            <a:off x="3817088" y="667584"/>
            <a:ext cx="2456121" cy="239654"/>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7" name="TextBox 16"/>
          <p:cNvSpPr txBox="1"/>
          <p:nvPr/>
        </p:nvSpPr>
        <p:spPr>
          <a:xfrm>
            <a:off x="3817088" y="667584"/>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p:cNvGraphicFramePr>
            <a:graphicFrameLocks/>
          </p:cNvGraphicFramePr>
          <p:nvPr>
            <p:extLst>
              <p:ext uri="{D42A27DB-BD31-4B8C-83A1-F6EECF244321}">
                <p14:modId xmlns:p14="http://schemas.microsoft.com/office/powerpoint/2010/main" val="1764393910"/>
              </p:ext>
            </p:extLst>
          </p:nvPr>
        </p:nvGraphicFramePr>
        <p:xfrm>
          <a:off x="49596" y="663763"/>
          <a:ext cx="3682432" cy="2768841"/>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2314" y="3724239"/>
            <a:ext cx="3364774" cy="11277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is used for release and change management</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lease calendar is available but not widely published.</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dicated Release Management team is available</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performs Release and Chang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agemen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ctions.</a:t>
            </a:r>
          </a:p>
        </p:txBody>
      </p:sp>
      <p:sp>
        <p:nvSpPr>
          <p:cNvPr id="24" name="Rectangle 23"/>
          <p:cNvSpPr/>
          <p:nvPr/>
        </p:nvSpPr>
        <p:spPr>
          <a:xfrm>
            <a:off x="3817088" y="2926496"/>
            <a:ext cx="3572540" cy="268911"/>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5" name="TextBox 24"/>
          <p:cNvSpPr txBox="1"/>
          <p:nvPr/>
        </p:nvSpPr>
        <p:spPr>
          <a:xfrm>
            <a:off x="3838355" y="2894600"/>
            <a:ext cx="3274826"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25"/>
          <p:cNvSpPr/>
          <p:nvPr/>
        </p:nvSpPr>
        <p:spPr>
          <a:xfrm>
            <a:off x="3853387" y="3222128"/>
            <a:ext cx="5223473" cy="16298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traceability and approvals us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utora</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dashboards with Phase wise data analysis in order to track / Monitor the metrics for release management.</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Traceabilit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ke use of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Sight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for end-to-end traceability and Ensure DevOps adoption by integrating it with all the existing DevOps tools(ALM, CI, SCM, Deployment tool, Code Review, Artifact management, Environment, ITSM, CMDB, Feedback and Monitoring ) seamless release in a single work flow.</a:t>
            </a:r>
          </a:p>
        </p:txBody>
      </p:sp>
    </p:spTree>
    <p:extLst>
      <p:ext uri="{BB962C8B-B14F-4D97-AF65-F5344CB8AC3E}">
        <p14:creationId xmlns:p14="http://schemas.microsoft.com/office/powerpoint/2010/main" val="28602880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Measure and Monitor</a:t>
            </a:r>
            <a:endParaRPr lang="en-US" dirty="0"/>
          </a:p>
        </p:txBody>
      </p:sp>
      <p:pic>
        <p:nvPicPr>
          <p:cNvPr id="8" name="Picture 7"/>
          <p:cNvPicPr>
            <a:picLocks noChangeAspect="1"/>
          </p:cNvPicPr>
          <p:nvPr/>
        </p:nvPicPr>
        <p:blipFill>
          <a:blip r:embed="rId2"/>
          <a:stretch>
            <a:fillRect/>
          </a:stretch>
        </p:blipFill>
        <p:spPr>
          <a:xfrm>
            <a:off x="107004" y="3847170"/>
            <a:ext cx="288300" cy="285194"/>
          </a:xfrm>
          <a:prstGeom prst="rect">
            <a:avLst/>
          </a:prstGeom>
        </p:spPr>
      </p:pic>
      <p:sp>
        <p:nvSpPr>
          <p:cNvPr id="10" name="Rectangle 9"/>
          <p:cNvSpPr/>
          <p:nvPr/>
        </p:nvSpPr>
        <p:spPr>
          <a:xfrm>
            <a:off x="7004557" y="32082"/>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latin typeface="Verdana" panose="020B0604030504040204" pitchFamily="34" charset="0"/>
                <a:ea typeface="Verdana" panose="020B0604030504040204" pitchFamily="34" charset="0"/>
                <a:cs typeface="Verdana" panose="020B0604030504040204" pitchFamily="34" charset="0"/>
              </a:rPr>
              <a:t>3</a:t>
            </a:r>
            <a:r>
              <a:rPr lang="en-US" sz="1400" b="1" dirty="0" smtClean="0">
                <a:latin typeface="Verdana" panose="020B0604030504040204" pitchFamily="34" charset="0"/>
                <a:ea typeface="Verdana" panose="020B0604030504040204" pitchFamily="34" charset="0"/>
                <a:cs typeface="Verdana" panose="020B0604030504040204" pitchFamily="34" charset="0"/>
              </a:rPr>
              <a:t> /Establishe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92266" y="33902"/>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4025769" y="918003"/>
            <a:ext cx="4972693" cy="2389278"/>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ging strategy is defin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e/Produc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t collected centrall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dashboards or alerts set up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vailable to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 key application metrics or key business metric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y tools being used by different team to monitor different server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service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tools are not integrated with ITIL Tools or ALM Tools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The monitoring system is NOT linked to defect management system to automatically create defects for every new exceptions</a:t>
            </a:r>
            <a:r>
              <a:rPr lang="en-US" sz="9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f healing and remediation's not available.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The monitoring system is NOT linked with Source Control to find out the immediate reason for the exception/error occurred in production/non-production environment</a:t>
            </a:r>
          </a:p>
          <a:p>
            <a:pPr marL="171450" indent="-171450">
              <a:buFont typeface="Arial" panose="020B0604020202020204" pitchFamily="34" charset="0"/>
              <a:buChar char="•"/>
            </a:pP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417318" y="3847170"/>
            <a:ext cx="3332159" cy="4958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rPr>
              <a:t>Monitoring tools like Nagios is being used to perform infrastructure monitoring.</a:t>
            </a:r>
          </a:p>
          <a:p>
            <a:pPr marL="171450" indent="-171450">
              <a:buFont typeface="Wingdings" panose="05000000000000000000" pitchFamily="2" charset="2"/>
              <a:buChar char="q"/>
            </a:pPr>
            <a:r>
              <a:rPr lang="en-US" sz="900" dirty="0">
                <a:solidFill>
                  <a:srgbClr val="0070C0"/>
                </a:solidFill>
                <a:latin typeface="Verdana" panose="020B0604030504040204" pitchFamily="34" charset="0"/>
                <a:ea typeface="Verdana" panose="020B0604030504040204" pitchFamily="34" charset="0"/>
                <a:cs typeface="Verdana" panose="020B0604030504040204" pitchFamily="34" charset="0"/>
              </a:rPr>
              <a:t>Application Monitoring is done using CA APM and CA Service Operations Insight.</a:t>
            </a:r>
          </a:p>
          <a:p>
            <a:endParaRPr lang="en-US" sz="900" dirty="0">
              <a:solidFill>
                <a:schemeClr val="tx2">
                  <a:lumMod val="75000"/>
                </a:schemeClr>
              </a:solidFill>
            </a:endParaRPr>
          </a:p>
        </p:txBody>
      </p:sp>
      <p:sp>
        <p:nvSpPr>
          <p:cNvPr id="17" name="TextBox 16"/>
          <p:cNvSpPr txBox="1"/>
          <p:nvPr/>
        </p:nvSpPr>
        <p:spPr>
          <a:xfrm>
            <a:off x="39646" y="3516056"/>
            <a:ext cx="386957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8" name="Rectangle 17"/>
          <p:cNvSpPr/>
          <p:nvPr/>
        </p:nvSpPr>
        <p:spPr>
          <a:xfrm>
            <a:off x="4025770" y="662165"/>
            <a:ext cx="2555784" cy="255838"/>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9" name="TextBox 18"/>
          <p:cNvSpPr txBox="1"/>
          <p:nvPr/>
        </p:nvSpPr>
        <p:spPr>
          <a:xfrm>
            <a:off x="4025769" y="655744"/>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0" name="Chart 19"/>
          <p:cNvGraphicFramePr>
            <a:graphicFrameLocks/>
          </p:cNvGraphicFramePr>
          <p:nvPr>
            <p:extLst>
              <p:ext uri="{D42A27DB-BD31-4B8C-83A1-F6EECF244321}">
                <p14:modId xmlns:p14="http://schemas.microsoft.com/office/powerpoint/2010/main" val="2781865726"/>
              </p:ext>
            </p:extLst>
          </p:nvPr>
        </p:nvGraphicFramePr>
        <p:xfrm>
          <a:off x="37422" y="662164"/>
          <a:ext cx="3871799" cy="2645117"/>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3"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4025769" y="3393505"/>
            <a:ext cx="3183105" cy="261050"/>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Rectangle 21"/>
          <p:cNvSpPr/>
          <p:nvPr/>
        </p:nvSpPr>
        <p:spPr>
          <a:xfrm>
            <a:off x="4062068" y="3689136"/>
            <a:ext cx="5017484" cy="810155"/>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system/tools to be linked with defect management system –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 and ITIL Ticketing Tools like CA-</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rviceDesk</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hich can automatically create defects for every new exceptions for quicker resolution.</a:t>
            </a:r>
          </a:p>
          <a:p>
            <a:pPr marL="285750" indent="-285750">
              <a:buFont typeface="Arial" panose="020B0604020202020204" pitchFamily="34" charset="0"/>
              <a:buChar char="•"/>
            </a:pPr>
            <a:endParaRPr lang="en-US" sz="900" dirty="0">
              <a:solidFill>
                <a:schemeClr val="tx2">
                  <a:lumMod val="75000"/>
                </a:schemeClr>
              </a:solidFill>
            </a:endParaRPr>
          </a:p>
        </p:txBody>
      </p:sp>
      <p:sp>
        <p:nvSpPr>
          <p:cNvPr id="23" name="TextBox 22"/>
          <p:cNvSpPr txBox="1"/>
          <p:nvPr/>
        </p:nvSpPr>
        <p:spPr>
          <a:xfrm>
            <a:off x="4025768" y="3377556"/>
            <a:ext cx="3331962"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6284308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b="0" dirty="0"/>
              <a:t>Current State Maturity Mapping</a:t>
            </a:r>
            <a:endParaRPr lang="en-US" dirty="0"/>
          </a:p>
        </p:txBody>
      </p:sp>
      <p:sp>
        <p:nvSpPr>
          <p:cNvPr id="4" name="TextBox 3"/>
          <p:cNvSpPr txBox="1"/>
          <p:nvPr/>
        </p:nvSpPr>
        <p:spPr>
          <a:xfrm>
            <a:off x="107004" y="712381"/>
            <a:ext cx="8813712" cy="646331"/>
          </a:xfrm>
          <a:prstGeom prst="rect">
            <a:avLst/>
          </a:prstGeom>
          <a:noFill/>
        </p:spPr>
        <p:txBody>
          <a:bodyPr wrap="square" rtlCol="0">
            <a:spAutoFit/>
          </a:bodyPr>
          <a:lstStyle/>
          <a:p>
            <a:r>
              <a:rPr lang="en-US" sz="1200" dirty="0"/>
              <a:t>Selected </a:t>
            </a:r>
            <a:r>
              <a:rPr lang="en-US" sz="1200" dirty="0" err="1" smtClean="0"/>
              <a:t>Naranja</a:t>
            </a:r>
            <a:r>
              <a:rPr lang="en-US" sz="1200" dirty="0" smtClean="0"/>
              <a:t> </a:t>
            </a:r>
            <a:r>
              <a:rPr lang="en-US" sz="1200" dirty="0"/>
              <a:t>Applications were assessed for DevOps maturity in the following dimensions –Requirement traceability, Release Planning and Orchestration, Deployment management, Database deployments, Source code management, Code quality and Code build, in a scale of 1 –5. 1 being lowest and 5 being highest in maturity</a:t>
            </a:r>
          </a:p>
        </p:txBody>
      </p:sp>
      <p:sp>
        <p:nvSpPr>
          <p:cNvPr id="5" name="Rectangle 4"/>
          <p:cNvSpPr/>
          <p:nvPr/>
        </p:nvSpPr>
        <p:spPr>
          <a:xfrm>
            <a:off x="3934046" y="1358712"/>
            <a:ext cx="4986670" cy="3192023"/>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ctr"/>
          <a:lstStyle/>
          <a:p>
            <a:r>
              <a:rPr lang="en-US" sz="1200" b="1" dirty="0"/>
              <a:t>Key notes:</a:t>
            </a:r>
            <a:endParaRPr lang="en-US" sz="1200" dirty="0"/>
          </a:p>
          <a:p>
            <a:pPr marL="171450" indent="-171450">
              <a:buFont typeface="Wingdings" panose="05000000000000000000" pitchFamily="2" charset="2"/>
              <a:buChar char="q"/>
            </a:pPr>
            <a:r>
              <a:rPr lang="en-US" sz="1200" dirty="0" smtClean="0"/>
              <a:t>Lower </a:t>
            </a:r>
            <a:r>
              <a:rPr lang="en-US" sz="1200" dirty="0"/>
              <a:t>Maturity index does not necessarily indicate poor software development practices but only reflects the ability in terms of continuously deliver and track software changes</a:t>
            </a:r>
          </a:p>
          <a:p>
            <a:pPr marL="171450" indent="-171450">
              <a:buFont typeface="Wingdings" panose="05000000000000000000" pitchFamily="2" charset="2"/>
              <a:buChar char="q"/>
            </a:pPr>
            <a:r>
              <a:rPr lang="en-US" sz="1200" dirty="0" smtClean="0"/>
              <a:t>Most </a:t>
            </a:r>
            <a:r>
              <a:rPr lang="en-US" sz="1200" dirty="0"/>
              <a:t>of the dimensions have scored in the low -intermediate maturity range owing to the fact that given IT group in the beginning stages of adopting DevOps</a:t>
            </a:r>
          </a:p>
          <a:p>
            <a:pPr marL="171450" indent="-171450">
              <a:buFont typeface="Wingdings" panose="05000000000000000000" pitchFamily="2" charset="2"/>
              <a:buChar char="q"/>
            </a:pPr>
            <a:r>
              <a:rPr lang="en-US" sz="1200" dirty="0" smtClean="0"/>
              <a:t>Requirement </a:t>
            </a:r>
            <a:r>
              <a:rPr lang="en-US" sz="1200" dirty="0"/>
              <a:t>Traceability has been used as one of the dimensions as it identifies the unit of work to be tracked through out the pipeline. However this does not indicate Requirements Management maturity which is completely a different topic outside the scope of this study</a:t>
            </a:r>
          </a:p>
          <a:p>
            <a:pPr marL="171450" indent="-171450">
              <a:buFont typeface="Wingdings" panose="05000000000000000000" pitchFamily="2" charset="2"/>
              <a:buChar char="q"/>
            </a:pPr>
            <a:r>
              <a:rPr lang="en-US" sz="1200" dirty="0" smtClean="0"/>
              <a:t>Selected </a:t>
            </a:r>
            <a:r>
              <a:rPr lang="en-US" sz="1200" dirty="0"/>
              <a:t>applications have infrequent DB changes to be </a:t>
            </a:r>
            <a:r>
              <a:rPr lang="en-US" sz="1200" dirty="0" smtClean="0"/>
              <a:t>deployed and scores are considered along with corresponding application.</a:t>
            </a:r>
            <a:endParaRPr lang="en-US" sz="1200" dirty="0"/>
          </a:p>
          <a:p>
            <a:pPr marL="171450" indent="-171450" algn="ctr">
              <a:buFont typeface="Wingdings" panose="05000000000000000000" pitchFamily="2" charset="2"/>
              <a:buChar char="q"/>
            </a:pPr>
            <a:endParaRPr lang="en-US" sz="1200" dirty="0"/>
          </a:p>
        </p:txBody>
      </p:sp>
      <p:graphicFrame>
        <p:nvGraphicFramePr>
          <p:cNvPr id="6" name="Chart 5"/>
          <p:cNvGraphicFramePr>
            <a:graphicFrameLocks/>
          </p:cNvGraphicFramePr>
          <p:nvPr>
            <p:extLst>
              <p:ext uri="{D42A27DB-BD31-4B8C-83A1-F6EECF244321}">
                <p14:modId xmlns:p14="http://schemas.microsoft.com/office/powerpoint/2010/main" val="3022961359"/>
              </p:ext>
            </p:extLst>
          </p:nvPr>
        </p:nvGraphicFramePr>
        <p:xfrm>
          <a:off x="117635" y="1358713"/>
          <a:ext cx="3720717" cy="327708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07492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CA – Environment Management</a:t>
            </a:r>
            <a:endParaRPr lang="en-US" dirty="0"/>
          </a:p>
        </p:txBody>
      </p:sp>
      <p:pic>
        <p:nvPicPr>
          <p:cNvPr id="6" name="Picture 5"/>
          <p:cNvPicPr>
            <a:picLocks noChangeAspect="1"/>
          </p:cNvPicPr>
          <p:nvPr/>
        </p:nvPicPr>
        <p:blipFill>
          <a:blip r:embed="rId2"/>
          <a:stretch>
            <a:fillRect/>
          </a:stretch>
        </p:blipFill>
        <p:spPr>
          <a:xfrm>
            <a:off x="27738" y="4199939"/>
            <a:ext cx="288300" cy="285194"/>
          </a:xfrm>
          <a:prstGeom prst="rect">
            <a:avLst/>
          </a:prstGeom>
        </p:spPr>
      </p:pic>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1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4770559" y="924703"/>
            <a:ext cx="4258867" cy="2873047"/>
          </a:xfrm>
          <a:prstGeom prst="rect">
            <a:avLst/>
          </a:prstGeom>
          <a:noFill/>
          <a:ln w="19050">
            <a:solidFill>
              <a:schemeClr val="tx2">
                <a:lumMod val="75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Environment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troll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managed environments through defined process and manua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orkflow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nfiguration, Self Service, Service Virtualization, Containerization 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emplate for  environment requirement gathering from Users/Test Team.</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maintenance/decommissioning  alerts configured and acted upon.</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frastructure configurations (Production, UAT, SIT) are not stored in SCM system.</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utomated validations are done post environment provisioning.</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loud is not used as Non-Production environment (NPE) for (Development, Testing, UAT, Stage etc.)</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ntainers used in SDLC.</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MDB is not updated automatically and is outdated.</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pacity Management not done using the CMDB.</a:t>
            </a:r>
          </a:p>
          <a:p>
            <a:pPr marL="171450" indent="-171450">
              <a:buFont typeface="Arial" panose="020B0604020202020204" pitchFamily="34" charset="0"/>
              <a:buChar char="•"/>
            </a:pPr>
            <a:endParaRPr lang="en-US" sz="900" b="1"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est Data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Data is created using scripts during the test design ph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316038" y="4089381"/>
            <a:ext cx="4342557" cy="60496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CA Service Desk used for ITIL Configurations Items.</a:t>
            </a:r>
          </a:p>
          <a:p>
            <a:pPr marL="171450" indent="-171450">
              <a:buFont typeface="Wingdings" panose="05000000000000000000" pitchFamily="2" charset="2"/>
              <a:buChar char="q"/>
            </a:pP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Environment Management is performed by Operations.</a:t>
            </a:r>
          </a:p>
        </p:txBody>
      </p:sp>
      <p:sp>
        <p:nvSpPr>
          <p:cNvPr id="15" name="TextBox 14"/>
          <p:cNvSpPr txBox="1"/>
          <p:nvPr/>
        </p:nvSpPr>
        <p:spPr>
          <a:xfrm>
            <a:off x="107003" y="3797750"/>
            <a:ext cx="4551591"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6" name="Rectangle 15"/>
          <p:cNvSpPr/>
          <p:nvPr/>
        </p:nvSpPr>
        <p:spPr>
          <a:xfrm>
            <a:off x="4758488" y="650246"/>
            <a:ext cx="2264212" cy="271089"/>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7" name="TextBox 16"/>
          <p:cNvSpPr txBox="1"/>
          <p:nvPr/>
        </p:nvSpPr>
        <p:spPr>
          <a:xfrm>
            <a:off x="4739947" y="650246"/>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4706617" y="3829647"/>
            <a:ext cx="3204006" cy="259734"/>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TextBox 21"/>
          <p:cNvSpPr txBox="1"/>
          <p:nvPr/>
        </p:nvSpPr>
        <p:spPr>
          <a:xfrm>
            <a:off x="4728221" y="3843916"/>
            <a:ext cx="3182402"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p:cNvSpPr/>
          <p:nvPr/>
        </p:nvSpPr>
        <p:spPr>
          <a:xfrm>
            <a:off x="4739947" y="4124283"/>
            <a:ext cx="4341350" cy="74543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sibl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Environment configuration and provisioning.</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self service enablement towards booking and scheduling – Leverag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harePoint/Confluence and similar other tool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Recip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as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provisioning and build for quicker turnaround</a:t>
            </a:r>
          </a:p>
        </p:txBody>
      </p:sp>
      <p:graphicFrame>
        <p:nvGraphicFramePr>
          <p:cNvPr id="24" name="Chart 23"/>
          <p:cNvGraphicFramePr>
            <a:graphicFrameLocks/>
          </p:cNvGraphicFramePr>
          <p:nvPr>
            <p:extLst>
              <p:ext uri="{D42A27DB-BD31-4B8C-83A1-F6EECF244321}">
                <p14:modId xmlns:p14="http://schemas.microsoft.com/office/powerpoint/2010/main" val="2269749634"/>
              </p:ext>
            </p:extLst>
          </p:nvPr>
        </p:nvGraphicFramePr>
        <p:xfrm>
          <a:off x="106035" y="643824"/>
          <a:ext cx="4552559" cy="310164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041373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latin typeface="Segoe UI Light" panose="020B0502040204020203" pitchFamily="34" charset="0"/>
              </a:rPr>
              <a:t>Naranja</a:t>
            </a:r>
            <a:r>
              <a:rPr lang="en-US" dirty="0" smtClean="0">
                <a:latin typeface="Segoe UI Light" panose="020B0502040204020203" pitchFamily="34" charset="0"/>
              </a:rPr>
              <a:t> App - Over </a:t>
            </a:r>
            <a:r>
              <a:rPr lang="en-US" dirty="0">
                <a:latin typeface="Segoe UI Light" panose="020B0502040204020203" pitchFamily="34" charset="0"/>
              </a:rPr>
              <a:t>all DevOps Maturity </a:t>
            </a:r>
            <a:endParaRPr lang="en-US" dirty="0"/>
          </a:p>
        </p:txBody>
      </p:sp>
      <p:sp>
        <p:nvSpPr>
          <p:cNvPr id="6" name="Rectangle 5"/>
          <p:cNvSpPr/>
          <p:nvPr/>
        </p:nvSpPr>
        <p:spPr>
          <a:xfrm>
            <a:off x="5763267" y="76926"/>
            <a:ext cx="853284" cy="29925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smtClean="0">
                <a:solidFill>
                  <a:prstClr val="white"/>
                </a:solidFill>
              </a:rPr>
              <a:t>Score</a:t>
            </a:r>
            <a:endParaRPr lang="en-US" dirty="0">
              <a:solidFill>
                <a:prstClr val="white"/>
              </a:solidFill>
            </a:endParaRPr>
          </a:p>
        </p:txBody>
      </p:sp>
      <p:sp>
        <p:nvSpPr>
          <p:cNvPr id="7" name="Rectangle 6"/>
          <p:cNvSpPr/>
          <p:nvPr/>
        </p:nvSpPr>
        <p:spPr>
          <a:xfrm>
            <a:off x="6626587" y="66653"/>
            <a:ext cx="853284" cy="309528"/>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prstClr val="white"/>
                </a:solidFill>
              </a:rPr>
              <a:t>3</a:t>
            </a:r>
            <a:r>
              <a:rPr lang="en-US" dirty="0" smtClean="0">
                <a:solidFill>
                  <a:prstClr val="white"/>
                </a:solidFill>
              </a:rPr>
              <a:t> </a:t>
            </a:r>
            <a:r>
              <a:rPr lang="en-US" dirty="0">
                <a:solidFill>
                  <a:prstClr val="white"/>
                </a:solidFill>
              </a:rPr>
              <a:t>/ </a:t>
            </a:r>
            <a:r>
              <a:rPr lang="en-US" dirty="0" smtClean="0">
                <a:solidFill>
                  <a:prstClr val="white"/>
                </a:solidFill>
              </a:rPr>
              <a:t>5</a:t>
            </a:r>
            <a:endParaRPr lang="en-US" dirty="0">
              <a:solidFill>
                <a:prstClr val="white"/>
              </a:solidFill>
            </a:endParaRPr>
          </a:p>
        </p:txBody>
      </p:sp>
      <p:sp>
        <p:nvSpPr>
          <p:cNvPr id="8" name="Rectangle 7"/>
          <p:cNvSpPr/>
          <p:nvPr/>
        </p:nvSpPr>
        <p:spPr>
          <a:xfrm>
            <a:off x="7497899" y="59078"/>
            <a:ext cx="1512541" cy="309529"/>
          </a:xfrm>
          <a:prstGeom prst="rect">
            <a:avLst/>
          </a:prstGeom>
          <a:solidFill>
            <a:schemeClr val="accent4"/>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dirty="0" smtClean="0">
                <a:solidFill>
                  <a:prstClr val="white"/>
                </a:solidFill>
              </a:rPr>
              <a:t>Established</a:t>
            </a:r>
            <a:endParaRPr lang="en-US" dirty="0">
              <a:solidFill>
                <a:prstClr val="white"/>
              </a:solidFill>
            </a:endParaRPr>
          </a:p>
        </p:txBody>
      </p:sp>
      <p:graphicFrame>
        <p:nvGraphicFramePr>
          <p:cNvPr id="9" name="Chart 8"/>
          <p:cNvGraphicFramePr>
            <a:graphicFrameLocks/>
          </p:cNvGraphicFramePr>
          <p:nvPr>
            <p:extLst>
              <p:ext uri="{D42A27DB-BD31-4B8C-83A1-F6EECF244321}">
                <p14:modId xmlns:p14="http://schemas.microsoft.com/office/powerpoint/2010/main" val="3778527237"/>
              </p:ext>
            </p:extLst>
          </p:nvPr>
        </p:nvGraphicFramePr>
        <p:xfrm>
          <a:off x="107004" y="648516"/>
          <a:ext cx="4613852" cy="39234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a:graphicFrameLocks/>
          </p:cNvGraphicFramePr>
          <p:nvPr>
            <p:extLst>
              <p:ext uri="{D42A27DB-BD31-4B8C-83A1-F6EECF244321}">
                <p14:modId xmlns:p14="http://schemas.microsoft.com/office/powerpoint/2010/main" val="887693960"/>
              </p:ext>
            </p:extLst>
          </p:nvPr>
        </p:nvGraphicFramePr>
        <p:xfrm>
          <a:off x="4720856" y="648516"/>
          <a:ext cx="4289584" cy="3519447"/>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3"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42224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a:t>Naranja</a:t>
            </a:r>
            <a:r>
              <a:rPr lang="en-US" dirty="0"/>
              <a:t> </a:t>
            </a:r>
            <a:r>
              <a:rPr lang="en-US" dirty="0" smtClean="0"/>
              <a:t>App - Current SDLC Tool State</a:t>
            </a:r>
            <a:endParaRPr lang="en-US" dirty="0"/>
          </a:p>
        </p:txBody>
      </p:sp>
      <p:grpSp>
        <p:nvGrpSpPr>
          <p:cNvPr id="4" name="Group 3"/>
          <p:cNvGrpSpPr/>
          <p:nvPr/>
        </p:nvGrpSpPr>
        <p:grpSpPr>
          <a:xfrm>
            <a:off x="210615" y="586983"/>
            <a:ext cx="5555514" cy="3403795"/>
            <a:chOff x="231182" y="773376"/>
            <a:chExt cx="6931618" cy="4597398"/>
          </a:xfrm>
        </p:grpSpPr>
        <p:graphicFrame>
          <p:nvGraphicFramePr>
            <p:cNvPr id="5" name="Diagram 4"/>
            <p:cNvGraphicFramePr/>
            <p:nvPr>
              <p:extLst>
                <p:ext uri="{D42A27DB-BD31-4B8C-83A1-F6EECF244321}">
                  <p14:modId xmlns:p14="http://schemas.microsoft.com/office/powerpoint/2010/main" val="972838133"/>
                </p:ext>
              </p:extLst>
            </p:nvPr>
          </p:nvGraphicFramePr>
          <p:xfrm>
            <a:off x="231182" y="773376"/>
            <a:ext cx="6931618" cy="45973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87580" y="2327872"/>
              <a:ext cx="6198828" cy="2885571"/>
              <a:chOff x="287580" y="2327872"/>
              <a:chExt cx="6198828" cy="2885571"/>
            </a:xfrm>
          </p:grpSpPr>
          <p:pic>
            <p:nvPicPr>
              <p:cNvPr id="11" name="Picture 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150243" y="2650191"/>
                <a:ext cx="24014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287580" y="2327872"/>
                <a:ext cx="534572" cy="16571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179993" y="4932663"/>
                <a:ext cx="311594" cy="28078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8"/>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6113864" y="2338450"/>
                <a:ext cx="372544" cy="2782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p:cNvGrpSpPr/>
          <p:nvPr/>
        </p:nvGrpSpPr>
        <p:grpSpPr>
          <a:xfrm>
            <a:off x="7818151" y="3908008"/>
            <a:ext cx="1209675" cy="866542"/>
            <a:chOff x="7696200" y="2494526"/>
            <a:chExt cx="1209675" cy="866542"/>
          </a:xfrm>
        </p:grpSpPr>
        <p:grpSp>
          <p:nvGrpSpPr>
            <p:cNvPr id="21" name="Group 20"/>
            <p:cNvGrpSpPr/>
            <p:nvPr/>
          </p:nvGrpSpPr>
          <p:grpSpPr>
            <a:xfrm>
              <a:off x="7696200" y="2494526"/>
              <a:ext cx="1038225" cy="230832"/>
              <a:chOff x="7696200" y="2494526"/>
              <a:chExt cx="1038225" cy="230832"/>
            </a:xfrm>
          </p:grpSpPr>
          <p:sp>
            <p:nvSpPr>
              <p:cNvPr id="31" name="Rounded Rectangle 30"/>
              <p:cNvSpPr/>
              <p:nvPr/>
            </p:nvSpPr>
            <p:spPr>
              <a:xfrm>
                <a:off x="7696200" y="2543865"/>
                <a:ext cx="228600" cy="1524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7896225" y="2494526"/>
                <a:ext cx="838200" cy="230832"/>
              </a:xfrm>
              <a:prstGeom prst="rect">
                <a:avLst/>
              </a:prstGeom>
              <a:noFill/>
            </p:spPr>
            <p:txBody>
              <a:bodyPr wrap="square" rtlCol="0">
                <a:spAutoFit/>
              </a:bodyPr>
              <a:lstStyle/>
              <a:p>
                <a:r>
                  <a:rPr lang="en-US" sz="900" dirty="0" smtClean="0"/>
                  <a:t>Manual Task</a:t>
                </a:r>
                <a:endParaRPr lang="en-US" sz="900" dirty="0"/>
              </a:p>
            </p:txBody>
          </p:sp>
        </p:grpSp>
        <p:grpSp>
          <p:nvGrpSpPr>
            <p:cNvPr id="22" name="Group 21"/>
            <p:cNvGrpSpPr/>
            <p:nvPr/>
          </p:nvGrpSpPr>
          <p:grpSpPr>
            <a:xfrm>
              <a:off x="7696200" y="2705111"/>
              <a:ext cx="1038225" cy="230832"/>
              <a:chOff x="7696200" y="2705111"/>
              <a:chExt cx="1038225" cy="230832"/>
            </a:xfrm>
          </p:grpSpPr>
          <p:sp>
            <p:nvSpPr>
              <p:cNvPr id="29" name="Rounded Rectangle 28"/>
              <p:cNvSpPr/>
              <p:nvPr/>
            </p:nvSpPr>
            <p:spPr>
              <a:xfrm>
                <a:off x="7696200" y="2754450"/>
                <a:ext cx="228600" cy="1524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7896225" y="2705111"/>
                <a:ext cx="838200" cy="230832"/>
              </a:xfrm>
              <a:prstGeom prst="rect">
                <a:avLst/>
              </a:prstGeom>
              <a:noFill/>
            </p:spPr>
            <p:txBody>
              <a:bodyPr wrap="square" rtlCol="0">
                <a:spAutoFit/>
              </a:bodyPr>
              <a:lstStyle/>
              <a:p>
                <a:r>
                  <a:rPr lang="en-US" sz="900" dirty="0" smtClean="0"/>
                  <a:t>Tool driven</a:t>
                </a:r>
                <a:endParaRPr lang="en-US" sz="900" dirty="0"/>
              </a:p>
            </p:txBody>
          </p:sp>
        </p:grpSp>
        <p:grpSp>
          <p:nvGrpSpPr>
            <p:cNvPr id="23" name="Group 22"/>
            <p:cNvGrpSpPr/>
            <p:nvPr/>
          </p:nvGrpSpPr>
          <p:grpSpPr>
            <a:xfrm>
              <a:off x="7696200" y="2926417"/>
              <a:ext cx="1209675" cy="230832"/>
              <a:chOff x="7696200" y="2926417"/>
              <a:chExt cx="1209675" cy="230832"/>
            </a:xfrm>
          </p:grpSpPr>
          <p:sp>
            <p:nvSpPr>
              <p:cNvPr id="27" name="Rounded Rectangle 26"/>
              <p:cNvSpPr/>
              <p:nvPr/>
            </p:nvSpPr>
            <p:spPr>
              <a:xfrm>
                <a:off x="7696200" y="2965035"/>
                <a:ext cx="22860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7896225" y="2926417"/>
                <a:ext cx="1009650" cy="230832"/>
              </a:xfrm>
              <a:prstGeom prst="rect">
                <a:avLst/>
              </a:prstGeom>
              <a:noFill/>
            </p:spPr>
            <p:txBody>
              <a:bodyPr wrap="square" rtlCol="0">
                <a:spAutoFit/>
              </a:bodyPr>
              <a:lstStyle/>
              <a:p>
                <a:r>
                  <a:rPr lang="en-US" sz="900" dirty="0" smtClean="0"/>
                  <a:t>Non automated</a:t>
                </a:r>
                <a:endParaRPr lang="en-US" sz="900" dirty="0"/>
              </a:p>
            </p:txBody>
          </p:sp>
        </p:grpSp>
        <p:grpSp>
          <p:nvGrpSpPr>
            <p:cNvPr id="24" name="Group 23"/>
            <p:cNvGrpSpPr/>
            <p:nvPr/>
          </p:nvGrpSpPr>
          <p:grpSpPr>
            <a:xfrm>
              <a:off x="7696200" y="3130236"/>
              <a:ext cx="1209675" cy="230832"/>
              <a:chOff x="7696200" y="3130236"/>
              <a:chExt cx="1209675" cy="230832"/>
            </a:xfrm>
          </p:grpSpPr>
          <p:sp>
            <p:nvSpPr>
              <p:cNvPr id="25" name="Rounded Rectangle 24"/>
              <p:cNvSpPr/>
              <p:nvPr/>
            </p:nvSpPr>
            <p:spPr>
              <a:xfrm>
                <a:off x="7696200" y="3175620"/>
                <a:ext cx="228600" cy="1524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896225" y="3130236"/>
                <a:ext cx="1009650" cy="230832"/>
              </a:xfrm>
              <a:prstGeom prst="rect">
                <a:avLst/>
              </a:prstGeom>
              <a:noFill/>
            </p:spPr>
            <p:txBody>
              <a:bodyPr wrap="square" rtlCol="0">
                <a:spAutoFit/>
              </a:bodyPr>
              <a:lstStyle/>
              <a:p>
                <a:r>
                  <a:rPr lang="en-US" sz="900" dirty="0" smtClean="0"/>
                  <a:t>Out of Scope</a:t>
                </a:r>
                <a:endParaRPr lang="en-US" sz="900" dirty="0"/>
              </a:p>
            </p:txBody>
          </p:sp>
        </p:grpSp>
      </p:grpSp>
      <p:sp>
        <p:nvSpPr>
          <p:cNvPr id="33" name="Rounded Rectangle 32"/>
          <p:cNvSpPr/>
          <p:nvPr/>
        </p:nvSpPr>
        <p:spPr>
          <a:xfrm>
            <a:off x="3622741" y="1300177"/>
            <a:ext cx="1021829" cy="2607832"/>
          </a:xfrm>
          <a:prstGeom prst="roundRect">
            <a:avLst>
              <a:gd name="adj" fmla="val 8854"/>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4811709" y="643090"/>
            <a:ext cx="996822" cy="1673147"/>
          </a:xfrm>
          <a:prstGeom prst="roundRect">
            <a:avLst>
              <a:gd name="adj" fmla="val 8854"/>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679745" y="3990778"/>
            <a:ext cx="1071964" cy="369332"/>
          </a:xfrm>
          <a:prstGeom prst="rect">
            <a:avLst/>
          </a:prstGeom>
          <a:noFill/>
        </p:spPr>
        <p:txBody>
          <a:bodyPr wrap="square" rtlCol="0">
            <a:spAutoFit/>
          </a:bodyPr>
          <a:lstStyle/>
          <a:p>
            <a:pPr algn="ctr"/>
            <a:r>
              <a:rPr lang="en-US" sz="900" dirty="0" smtClean="0"/>
              <a:t>Test Case/Data Management</a:t>
            </a:r>
            <a:endParaRPr lang="en-US" sz="900" dirty="0"/>
          </a:p>
        </p:txBody>
      </p:sp>
      <p:sp>
        <p:nvSpPr>
          <p:cNvPr id="36" name="TextBox 35"/>
          <p:cNvSpPr txBox="1"/>
          <p:nvPr/>
        </p:nvSpPr>
        <p:spPr>
          <a:xfrm>
            <a:off x="4798013" y="2445744"/>
            <a:ext cx="1071964" cy="369332"/>
          </a:xfrm>
          <a:prstGeom prst="rect">
            <a:avLst/>
          </a:prstGeom>
          <a:noFill/>
        </p:spPr>
        <p:txBody>
          <a:bodyPr wrap="square" rtlCol="0">
            <a:spAutoFit/>
          </a:bodyPr>
          <a:lstStyle/>
          <a:p>
            <a:pPr algn="ctr"/>
            <a:r>
              <a:rPr lang="en-US" sz="900" dirty="0" smtClean="0"/>
              <a:t>CMDB/Change Management</a:t>
            </a:r>
            <a:endParaRPr lang="en-US" sz="900" dirty="0"/>
          </a:p>
        </p:txBody>
      </p:sp>
      <p:pic>
        <p:nvPicPr>
          <p:cNvPr id="40" name="Picture 24"/>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2619695" y="2429295"/>
            <a:ext cx="261445" cy="1013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93954" y="1398946"/>
            <a:ext cx="872175" cy="215444"/>
          </a:xfrm>
          <a:prstGeom prst="rect">
            <a:avLst/>
          </a:prstGeom>
          <a:noFill/>
        </p:spPr>
        <p:txBody>
          <a:bodyPr wrap="square" rtlCol="0">
            <a:spAutoFit/>
          </a:bodyPr>
          <a:lstStyle/>
          <a:p>
            <a:r>
              <a:rPr lang="en-US" sz="800" b="1" dirty="0" smtClean="0"/>
              <a:t>Cloud Control</a:t>
            </a:r>
            <a:endParaRPr lang="en-US" sz="800" b="1" dirty="0"/>
          </a:p>
        </p:txBody>
      </p:sp>
      <p:pic>
        <p:nvPicPr>
          <p:cNvPr id="43" name="Picture 28"/>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5212328" y="1932938"/>
            <a:ext cx="597587" cy="21636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a:blip r:embed="rId8">
            <a:biLevel thresh="75000"/>
            <a:extLst>
              <a:ext uri="{28A0092B-C50C-407E-A947-70E740481C1C}">
                <a14:useLocalDpi xmlns:a14="http://schemas.microsoft.com/office/drawing/2010/main" val="0"/>
              </a:ext>
            </a:extLst>
          </a:blip>
          <a:stretch>
            <a:fillRect/>
          </a:stretch>
        </p:blipFill>
        <p:spPr bwMode="auto">
          <a:xfrm>
            <a:off x="3726380" y="745403"/>
            <a:ext cx="231864" cy="177339"/>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5124286" y="1679640"/>
            <a:ext cx="745691" cy="215444"/>
          </a:xfrm>
          <a:prstGeom prst="rect">
            <a:avLst/>
          </a:prstGeom>
          <a:noFill/>
        </p:spPr>
        <p:txBody>
          <a:bodyPr wrap="square" rtlCol="0">
            <a:spAutoFit/>
          </a:bodyPr>
          <a:lstStyle/>
          <a:p>
            <a:r>
              <a:rPr lang="en-US" sz="800" b="1" dirty="0" smtClean="0"/>
              <a:t>Barcelona</a:t>
            </a:r>
            <a:endParaRPr lang="en-US" sz="800" b="1" dirty="0"/>
          </a:p>
        </p:txBody>
      </p:sp>
      <p:sp>
        <p:nvSpPr>
          <p:cNvPr id="47" name="TextBox 46"/>
          <p:cNvSpPr txBox="1"/>
          <p:nvPr/>
        </p:nvSpPr>
        <p:spPr>
          <a:xfrm>
            <a:off x="2502992" y="1053581"/>
            <a:ext cx="872175" cy="215444"/>
          </a:xfrm>
          <a:prstGeom prst="rect">
            <a:avLst/>
          </a:prstGeom>
          <a:noFill/>
        </p:spPr>
        <p:txBody>
          <a:bodyPr wrap="square" rtlCol="0">
            <a:spAutoFit/>
          </a:bodyPr>
          <a:lstStyle/>
          <a:p>
            <a:r>
              <a:rPr lang="en-US" sz="800" b="1" dirty="0" smtClean="0"/>
              <a:t>Lint</a:t>
            </a:r>
            <a:endParaRPr lang="en-US" sz="800" b="1" dirty="0"/>
          </a:p>
        </p:txBody>
      </p:sp>
      <p:sp>
        <p:nvSpPr>
          <p:cNvPr id="48" name="Rectangle 47"/>
          <p:cNvSpPr/>
          <p:nvPr/>
        </p:nvSpPr>
        <p:spPr>
          <a:xfrm>
            <a:off x="5908185" y="711000"/>
            <a:ext cx="3103248" cy="2104075"/>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t"/>
          <a:lstStyle/>
          <a:p>
            <a:pPr marL="171450" indent="-171450">
              <a:buFont typeface="Wingdings" panose="05000000000000000000" pitchFamily="2" charset="2"/>
              <a:buChar char="ü"/>
            </a:pPr>
            <a:r>
              <a:rPr lang="en-US" sz="1100" dirty="0" smtClean="0"/>
              <a:t>Slack is used for Collaboration.</a:t>
            </a:r>
          </a:p>
          <a:p>
            <a:pPr marL="171450" indent="-171450">
              <a:buFont typeface="Wingdings" panose="05000000000000000000" pitchFamily="2" charset="2"/>
              <a:buChar char="ü"/>
            </a:pPr>
            <a:r>
              <a:rPr lang="en-US" sz="1100" dirty="0" smtClean="0"/>
              <a:t>GIT CI is used for Continuous Integration.</a:t>
            </a:r>
          </a:p>
          <a:p>
            <a:pPr marL="171450" indent="-171450">
              <a:buFont typeface="Wingdings" panose="05000000000000000000" pitchFamily="2" charset="2"/>
              <a:buChar char="ü"/>
            </a:pPr>
            <a:r>
              <a:rPr lang="en-US" sz="1100" dirty="0" smtClean="0"/>
              <a:t>Code review feature of GIT in use.</a:t>
            </a:r>
          </a:p>
          <a:p>
            <a:pPr marL="171450" indent="-171450">
              <a:buFont typeface="Wingdings" panose="05000000000000000000" pitchFamily="2" charset="2"/>
              <a:buChar char="ü"/>
            </a:pPr>
            <a:r>
              <a:rPr lang="en-US" sz="1100" dirty="0" smtClean="0"/>
              <a:t>Static code analysis done using LINT.</a:t>
            </a:r>
          </a:p>
          <a:p>
            <a:pPr marL="171450" indent="-171450">
              <a:buFont typeface="Wingdings" panose="05000000000000000000" pitchFamily="2" charset="2"/>
              <a:buChar char="ü"/>
            </a:pPr>
            <a:r>
              <a:rPr lang="en-US" sz="1100" dirty="0" smtClean="0"/>
              <a:t>Automated Merging not happening.</a:t>
            </a:r>
          </a:p>
          <a:p>
            <a:pPr marL="171450" indent="-171450">
              <a:buFont typeface="Wingdings" panose="05000000000000000000" pitchFamily="2" charset="2"/>
              <a:buChar char="ü"/>
            </a:pPr>
            <a:r>
              <a:rPr lang="en-US" sz="1100" dirty="0"/>
              <a:t>Unit Test happens before code review </a:t>
            </a:r>
            <a:r>
              <a:rPr lang="en-US" sz="1100" dirty="0" smtClean="0"/>
              <a:t>.</a:t>
            </a:r>
          </a:p>
          <a:p>
            <a:pPr marL="171450" indent="-171450">
              <a:buFont typeface="Wingdings" panose="05000000000000000000" pitchFamily="2" charset="2"/>
              <a:buChar char="ü"/>
            </a:pPr>
            <a:r>
              <a:rPr lang="en-US" sz="1100" dirty="0" smtClean="0"/>
              <a:t>Hockey App available.</a:t>
            </a:r>
          </a:p>
          <a:p>
            <a:pPr marL="171450" indent="-171450">
              <a:buFont typeface="Wingdings" panose="05000000000000000000" pitchFamily="2" charset="2"/>
              <a:buChar char="ü"/>
            </a:pPr>
            <a:r>
              <a:rPr lang="en-US" sz="1100" dirty="0" smtClean="0"/>
              <a:t>Test Flight available.</a:t>
            </a:r>
          </a:p>
          <a:p>
            <a:pPr marL="171450" indent="-171450">
              <a:buFont typeface="Wingdings" panose="05000000000000000000" pitchFamily="2" charset="2"/>
              <a:buChar char="ü"/>
            </a:pPr>
            <a:r>
              <a:rPr lang="en-US" sz="1100" dirty="0" err="1" smtClean="0"/>
              <a:t>Appium</a:t>
            </a:r>
            <a:r>
              <a:rPr lang="en-US" sz="1100" dirty="0" smtClean="0"/>
              <a:t> available and used.</a:t>
            </a:r>
          </a:p>
          <a:p>
            <a:pPr marL="171450" indent="-171450">
              <a:buFont typeface="Wingdings" panose="05000000000000000000" pitchFamily="2" charset="2"/>
              <a:buChar char="ü"/>
            </a:pPr>
            <a:r>
              <a:rPr lang="en-US" sz="1100" dirty="0" smtClean="0"/>
              <a:t>No Automated Release Management.</a:t>
            </a:r>
          </a:p>
          <a:p>
            <a:pPr marL="171450" indent="-171450">
              <a:buFont typeface="Wingdings" panose="05000000000000000000" pitchFamily="2" charset="2"/>
              <a:buChar char="ü"/>
            </a:pPr>
            <a:r>
              <a:rPr lang="en-US" sz="1100" dirty="0" smtClean="0"/>
              <a:t>No Automated Deployment.</a:t>
            </a:r>
          </a:p>
          <a:p>
            <a:pPr marL="171450" indent="-171450">
              <a:buFont typeface="Wingdings" panose="05000000000000000000" pitchFamily="2" charset="2"/>
              <a:buChar char="ü"/>
            </a:pPr>
            <a:r>
              <a:rPr lang="en-US" sz="1100" dirty="0" smtClean="0"/>
              <a:t>Requirement Management is Manual.</a:t>
            </a:r>
          </a:p>
        </p:txBody>
      </p:sp>
      <p:pic>
        <p:nvPicPr>
          <p:cNvPr id="50" name="Picture 24"/>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1425042" y="3680960"/>
            <a:ext cx="553500" cy="17665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4"/>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425042" y="1090659"/>
            <a:ext cx="261445" cy="987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6"/>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779960" y="3355130"/>
            <a:ext cx="286209" cy="163548"/>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4" name="Picture 2" descr="https://www.naranja.com/images/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17"/>
          <a:stretch>
            <a:fillRect/>
          </a:stretch>
        </p:blipFill>
        <p:spPr>
          <a:xfrm>
            <a:off x="1199532" y="1537617"/>
            <a:ext cx="245325" cy="268990"/>
          </a:xfrm>
          <a:prstGeom prst="rect">
            <a:avLst/>
          </a:prstGeom>
        </p:spPr>
      </p:pic>
      <p:pic>
        <p:nvPicPr>
          <p:cNvPr id="56" name="Picture 55"/>
          <p:cNvPicPr>
            <a:picLocks noChangeAspect="1"/>
          </p:cNvPicPr>
          <p:nvPr/>
        </p:nvPicPr>
        <p:blipFill>
          <a:blip r:embed="rId17"/>
          <a:stretch>
            <a:fillRect/>
          </a:stretch>
        </p:blipFill>
        <p:spPr>
          <a:xfrm>
            <a:off x="1199532" y="2142222"/>
            <a:ext cx="245325" cy="268990"/>
          </a:xfrm>
          <a:prstGeom prst="rect">
            <a:avLst/>
          </a:prstGeom>
        </p:spPr>
      </p:pic>
      <p:pic>
        <p:nvPicPr>
          <p:cNvPr id="57" name="Picture 56"/>
          <p:cNvPicPr>
            <a:picLocks noChangeAspect="1"/>
          </p:cNvPicPr>
          <p:nvPr/>
        </p:nvPicPr>
        <p:blipFill>
          <a:blip r:embed="rId17"/>
          <a:stretch>
            <a:fillRect/>
          </a:stretch>
        </p:blipFill>
        <p:spPr>
          <a:xfrm>
            <a:off x="1199531" y="2823446"/>
            <a:ext cx="245325" cy="268990"/>
          </a:xfrm>
          <a:prstGeom prst="rect">
            <a:avLst/>
          </a:prstGeom>
        </p:spPr>
      </p:pic>
      <p:pic>
        <p:nvPicPr>
          <p:cNvPr id="58" name="Picture 57"/>
          <p:cNvPicPr>
            <a:picLocks noChangeAspect="1"/>
          </p:cNvPicPr>
          <p:nvPr/>
        </p:nvPicPr>
        <p:blipFill>
          <a:blip r:embed="rId17"/>
          <a:stretch>
            <a:fillRect/>
          </a:stretch>
        </p:blipFill>
        <p:spPr>
          <a:xfrm>
            <a:off x="2413667" y="1495199"/>
            <a:ext cx="245325" cy="268990"/>
          </a:xfrm>
          <a:prstGeom prst="rect">
            <a:avLst/>
          </a:prstGeom>
        </p:spPr>
      </p:pic>
      <p:pic>
        <p:nvPicPr>
          <p:cNvPr id="59" name="Picture 2" descr="Resultado de imagen para appium test tool"/>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891773" y="3730871"/>
            <a:ext cx="447962" cy="11611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0" name="Table 59"/>
          <p:cNvGraphicFramePr>
            <a:graphicFrameLocks noGrp="1"/>
          </p:cNvGraphicFramePr>
          <p:nvPr>
            <p:extLst>
              <p:ext uri="{D42A27DB-BD31-4B8C-83A1-F6EECF244321}">
                <p14:modId xmlns:p14="http://schemas.microsoft.com/office/powerpoint/2010/main" val="143987479"/>
              </p:ext>
            </p:extLst>
          </p:nvPr>
        </p:nvGraphicFramePr>
        <p:xfrm>
          <a:off x="5980954" y="2934333"/>
          <a:ext cx="992627" cy="1825298"/>
        </p:xfrm>
        <a:graphic>
          <a:graphicData uri="http://schemas.openxmlformats.org/drawingml/2006/table">
            <a:tbl>
              <a:tblPr firstRow="1" bandRow="1">
                <a:tableStyleId>{69012ECD-51FC-41F1-AA8D-1B2483CD663E}</a:tableStyleId>
              </a:tblPr>
              <a:tblGrid>
                <a:gridCol w="992627">
                  <a:extLst>
                    <a:ext uri="{9D8B030D-6E8A-4147-A177-3AD203B41FA5}">
                      <a16:colId xmlns="" xmlns:a16="http://schemas.microsoft.com/office/drawing/2014/main" val="20000"/>
                    </a:ext>
                  </a:extLst>
                </a:gridCol>
              </a:tblGrid>
              <a:tr h="203007">
                <a:tc>
                  <a:txBody>
                    <a:bodyPr/>
                    <a:lstStyle/>
                    <a:p>
                      <a:pPr algn="ctr"/>
                      <a:r>
                        <a:rPr lang="en-US" sz="800" dirty="0" smtClean="0"/>
                        <a:t>Technologies</a:t>
                      </a:r>
                      <a:endParaRPr lang="en-US" sz="800" dirty="0">
                        <a:latin typeface="+mn-lt"/>
                      </a:endParaRPr>
                    </a:p>
                  </a:txBody>
                  <a:tcPr marL="51449" marR="51449" marT="34290" marB="34290" anchor="ctr">
                    <a:solidFill>
                      <a:schemeClr val="bg2">
                        <a:lumMod val="50000"/>
                      </a:schemeClr>
                    </a:solidFill>
                  </a:tcPr>
                </a:tc>
                <a:extLst>
                  <a:ext uri="{0D108BD9-81ED-4DB2-BD59-A6C34878D82A}">
                    <a16:rowId xmlns="" xmlns:a16="http://schemas.microsoft.com/office/drawing/2014/main" val="10000"/>
                  </a:ext>
                </a:extLst>
              </a:tr>
              <a:tr h="159217">
                <a:tc>
                  <a:txBody>
                    <a:bodyPr/>
                    <a:lstStyle/>
                    <a:p>
                      <a:pPr marL="53975" indent="0" algn="l" fontAlgn="b"/>
                      <a:r>
                        <a:rPr lang="en-US" sz="800" b="0" i="0" u="none" strike="noStrike" dirty="0" err="1" smtClean="0">
                          <a:solidFill>
                            <a:schemeClr val="tx1"/>
                          </a:solidFill>
                          <a:effectLst/>
                          <a:latin typeface="+mn-lt"/>
                        </a:rPr>
                        <a:t>AngularJS</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0001"/>
                  </a:ext>
                </a:extLst>
              </a:tr>
              <a:tr h="176981">
                <a:tc>
                  <a:txBody>
                    <a:bodyPr/>
                    <a:lstStyle/>
                    <a:p>
                      <a:pPr marL="53975" indent="0" algn="l" defTabSz="914400" rtl="0" eaLnBrk="1" fontAlgn="b" latinLnBrk="0" hangingPunct="1"/>
                      <a:r>
                        <a:rPr lang="en-US" sz="800" u="none" strike="noStrike" kern="1200" dirty="0" smtClean="0">
                          <a:solidFill>
                            <a:schemeClr val="tx1"/>
                          </a:solidFill>
                          <a:effectLst/>
                          <a:latin typeface="+mn-lt"/>
                          <a:ea typeface="+mn-ea"/>
                          <a:cs typeface="+mn-cs"/>
                        </a:rPr>
                        <a:t>Linux/Ubuntu</a:t>
                      </a:r>
                      <a:endParaRPr lang="en-US" sz="800" u="none" strike="noStrike" kern="1200" dirty="0">
                        <a:solidFill>
                          <a:schemeClr val="tx1"/>
                        </a:solidFill>
                        <a:effectLst/>
                        <a:latin typeface="+mn-lt"/>
                        <a:ea typeface="+mn-ea"/>
                        <a:cs typeface="+mn-cs"/>
                      </a:endParaRPr>
                    </a:p>
                  </a:txBody>
                  <a:tcPr marL="5360" marR="5360" marT="7144" marB="0" anchor="ctr"/>
                </a:tc>
                <a:extLst>
                  <a:ext uri="{0D108BD9-81ED-4DB2-BD59-A6C34878D82A}">
                    <a16:rowId xmlns="" xmlns:a16="http://schemas.microsoft.com/office/drawing/2014/main" val="10002"/>
                  </a:ext>
                </a:extLst>
              </a:tr>
              <a:tr h="165919">
                <a:tc>
                  <a:txBody>
                    <a:bodyPr/>
                    <a:lstStyle/>
                    <a:p>
                      <a:pPr marL="53975" indent="0" algn="l" fontAlgn="b"/>
                      <a:r>
                        <a:rPr lang="en-US" sz="800" b="0" i="0" u="none" strike="noStrike" dirty="0" smtClean="0">
                          <a:solidFill>
                            <a:schemeClr val="tx1"/>
                          </a:solidFill>
                          <a:effectLst/>
                          <a:latin typeface="+mn-lt"/>
                        </a:rPr>
                        <a:t>Oracle </a:t>
                      </a:r>
                      <a:r>
                        <a:rPr lang="en-US" sz="800" b="0" i="0" u="none" strike="noStrike" dirty="0" err="1" smtClean="0">
                          <a:solidFill>
                            <a:schemeClr val="tx1"/>
                          </a:solidFill>
                          <a:effectLst/>
                          <a:latin typeface="+mn-lt"/>
                        </a:rPr>
                        <a:t>ServiceBus</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0003"/>
                  </a:ext>
                </a:extLst>
              </a:tr>
              <a:tr h="94807">
                <a:tc>
                  <a:txBody>
                    <a:bodyPr/>
                    <a:lstStyle/>
                    <a:p>
                      <a:pPr marL="53975" indent="0" algn="l" fontAlgn="b"/>
                      <a:r>
                        <a:rPr lang="en-US" sz="800" b="0" i="0" u="none" strike="noStrike" dirty="0" smtClean="0">
                          <a:solidFill>
                            <a:schemeClr val="tx1"/>
                          </a:solidFill>
                          <a:effectLst/>
                          <a:latin typeface="+mn-lt"/>
                        </a:rPr>
                        <a:t>COBOL</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0004"/>
                  </a:ext>
                </a:extLst>
              </a:tr>
              <a:tr h="121011">
                <a:tc>
                  <a:txBody>
                    <a:bodyPr/>
                    <a:lstStyle/>
                    <a:p>
                      <a:pPr marL="53975" indent="0" algn="l" fontAlgn="b"/>
                      <a:r>
                        <a:rPr lang="en-US" sz="800" b="0" i="0" u="none" strike="noStrike" dirty="0" smtClean="0">
                          <a:solidFill>
                            <a:schemeClr val="tx1"/>
                          </a:solidFill>
                          <a:effectLst/>
                          <a:latin typeface="+mn-lt"/>
                        </a:rPr>
                        <a:t>MQ Series</a:t>
                      </a:r>
                    </a:p>
                  </a:txBody>
                  <a:tcPr marL="5360" marR="5360" marT="7144" marB="0" anchor="ctr"/>
                </a:tc>
                <a:extLst>
                  <a:ext uri="{0D108BD9-81ED-4DB2-BD59-A6C34878D82A}">
                    <a16:rowId xmlns="" xmlns:a16="http://schemas.microsoft.com/office/drawing/2014/main" val="10005"/>
                  </a:ext>
                </a:extLst>
              </a:tr>
              <a:tr h="126291">
                <a:tc>
                  <a:txBody>
                    <a:bodyPr/>
                    <a:lstStyle/>
                    <a:p>
                      <a:pPr marL="53975" marR="0" indent="0" algn="l" defTabSz="910286" rtl="0" eaLnBrk="1" fontAlgn="b" latinLnBrk="0" hangingPunct="1">
                        <a:lnSpc>
                          <a:spcPct val="100000"/>
                        </a:lnSpc>
                        <a:spcBef>
                          <a:spcPts val="0"/>
                        </a:spcBef>
                        <a:spcAft>
                          <a:spcPts val="0"/>
                        </a:spcAft>
                        <a:buClrTx/>
                        <a:buSzTx/>
                        <a:buFontTx/>
                        <a:buNone/>
                        <a:tabLst/>
                        <a:defRPr/>
                      </a:pPr>
                      <a:r>
                        <a:rPr lang="en-US" sz="800" b="0" i="0" u="none" strike="noStrike" dirty="0" err="1" smtClean="0">
                          <a:solidFill>
                            <a:schemeClr val="tx1"/>
                          </a:solidFill>
                          <a:effectLst/>
                          <a:latin typeface="+mn-lt"/>
                        </a:rPr>
                        <a:t>Cloudant</a:t>
                      </a:r>
                      <a:endParaRPr lang="en-US" sz="800" b="0" i="0" u="none" strike="noStrike" dirty="0" smtClean="0">
                        <a:solidFill>
                          <a:schemeClr val="tx1"/>
                        </a:solidFill>
                        <a:effectLst/>
                        <a:latin typeface="+mn-lt"/>
                      </a:endParaRPr>
                    </a:p>
                  </a:txBody>
                  <a:tcPr marL="5360" marR="5360" marT="7144" marB="0" anchor="ctr"/>
                </a:tc>
                <a:extLst>
                  <a:ext uri="{0D108BD9-81ED-4DB2-BD59-A6C34878D82A}">
                    <a16:rowId xmlns="" xmlns:a16="http://schemas.microsoft.com/office/drawing/2014/main" val="2677808305"/>
                  </a:ext>
                </a:extLst>
              </a:tr>
              <a:tr h="117190">
                <a:tc>
                  <a:txBody>
                    <a:bodyPr/>
                    <a:lstStyle/>
                    <a:p>
                      <a:pPr marL="53975" marR="0" indent="0" algn="l" defTabSz="910286" rtl="0" eaLnBrk="1" fontAlgn="b"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mn-lt"/>
                        </a:rPr>
                        <a:t>Docker</a:t>
                      </a:r>
                    </a:p>
                  </a:txBody>
                  <a:tcPr marL="5360" marR="5360" marT="7144" marB="0" anchor="ctr"/>
                </a:tc>
                <a:extLst>
                  <a:ext uri="{0D108BD9-81ED-4DB2-BD59-A6C34878D82A}">
                    <a16:rowId xmlns="" xmlns:a16="http://schemas.microsoft.com/office/drawing/2014/main" val="4248536536"/>
                  </a:ext>
                </a:extLst>
              </a:tr>
              <a:tr h="151045">
                <a:tc>
                  <a:txBody>
                    <a:bodyPr/>
                    <a:lstStyle/>
                    <a:p>
                      <a:pPr marL="53975" marR="0" indent="0" algn="l" defTabSz="910286" rtl="0" eaLnBrk="1" fontAlgn="b"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mn-lt"/>
                        </a:rPr>
                        <a:t>Kubernetes</a:t>
                      </a:r>
                    </a:p>
                  </a:txBody>
                  <a:tcPr marL="5360" marR="5360" marT="7144" marB="0" anchor="ctr"/>
                </a:tc>
                <a:extLst>
                  <a:ext uri="{0D108BD9-81ED-4DB2-BD59-A6C34878D82A}">
                    <a16:rowId xmlns="" xmlns:a16="http://schemas.microsoft.com/office/drawing/2014/main" val="1990312720"/>
                  </a:ext>
                </a:extLst>
              </a:tr>
              <a:tr h="85725">
                <a:tc>
                  <a:txBody>
                    <a:bodyPr/>
                    <a:lstStyle/>
                    <a:p>
                      <a:pPr marL="53975" marR="0" indent="0" algn="l" defTabSz="910286" rtl="0" eaLnBrk="1" fontAlgn="b"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mn-lt"/>
                        </a:rPr>
                        <a:t>Cloud Foundry</a:t>
                      </a:r>
                    </a:p>
                  </a:txBody>
                  <a:tcPr marL="5360" marR="5360" marT="7144" marB="0" anchor="ctr"/>
                </a:tc>
                <a:extLst>
                  <a:ext uri="{0D108BD9-81ED-4DB2-BD59-A6C34878D82A}">
                    <a16:rowId xmlns="" xmlns:a16="http://schemas.microsoft.com/office/drawing/2014/main" val="1626671306"/>
                  </a:ext>
                </a:extLst>
              </a:tr>
              <a:tr h="90011">
                <a:tc>
                  <a:txBody>
                    <a:bodyPr/>
                    <a:lstStyle/>
                    <a:p>
                      <a:pPr marL="53975" marR="0" indent="0" algn="l" defTabSz="910286" rtl="0" eaLnBrk="1" fontAlgn="b" latinLnBrk="0" hangingPunct="1">
                        <a:lnSpc>
                          <a:spcPct val="100000"/>
                        </a:lnSpc>
                        <a:spcBef>
                          <a:spcPts val="0"/>
                        </a:spcBef>
                        <a:spcAft>
                          <a:spcPts val="0"/>
                        </a:spcAft>
                        <a:buClrTx/>
                        <a:buSzTx/>
                        <a:buFontTx/>
                        <a:buNone/>
                        <a:tabLst/>
                        <a:defRPr/>
                      </a:pPr>
                      <a:r>
                        <a:rPr lang="en-US" sz="800" b="0" i="0" u="none" strike="noStrike" dirty="0" err="1" smtClean="0">
                          <a:solidFill>
                            <a:schemeClr val="tx1"/>
                          </a:solidFill>
                          <a:effectLst/>
                          <a:latin typeface="+mn-lt"/>
                        </a:rPr>
                        <a:t>Bluemix</a:t>
                      </a:r>
                      <a:endParaRPr lang="en-US" sz="800" b="0" i="0" u="none" strike="noStrike" dirty="0" smtClean="0">
                        <a:solidFill>
                          <a:schemeClr val="tx1"/>
                        </a:solidFill>
                        <a:effectLst/>
                        <a:latin typeface="+mn-lt"/>
                      </a:endParaRPr>
                    </a:p>
                  </a:txBody>
                  <a:tcPr marL="5360" marR="5360" marT="7144" marB="0" anchor="ctr"/>
                </a:tc>
                <a:extLst>
                  <a:ext uri="{0D108BD9-81ED-4DB2-BD59-A6C34878D82A}">
                    <a16:rowId xmlns="" xmlns:a16="http://schemas.microsoft.com/office/drawing/2014/main" val="980540509"/>
                  </a:ext>
                </a:extLst>
              </a:tr>
              <a:tr h="194745">
                <a:tc>
                  <a:txBody>
                    <a:bodyPr/>
                    <a:lstStyle/>
                    <a:p>
                      <a:pPr marL="53975" marR="0" indent="0" algn="l" defTabSz="910286" rtl="0" eaLnBrk="1" fontAlgn="b" latinLnBrk="0" hangingPunct="1">
                        <a:lnSpc>
                          <a:spcPct val="100000"/>
                        </a:lnSpc>
                        <a:spcBef>
                          <a:spcPts val="0"/>
                        </a:spcBef>
                        <a:spcAft>
                          <a:spcPts val="0"/>
                        </a:spcAft>
                        <a:buClrTx/>
                        <a:buSzTx/>
                        <a:buFontTx/>
                        <a:buNone/>
                        <a:tabLst/>
                        <a:defRPr/>
                      </a:pPr>
                      <a:r>
                        <a:rPr lang="en-US" sz="800" b="0" i="0" u="none" strike="noStrike" dirty="0" smtClean="0">
                          <a:solidFill>
                            <a:schemeClr val="tx1"/>
                          </a:solidFill>
                          <a:effectLst/>
                          <a:latin typeface="+mn-lt"/>
                        </a:rPr>
                        <a:t>Object Storage</a:t>
                      </a:r>
                    </a:p>
                  </a:txBody>
                  <a:tcPr marL="5360" marR="5360" marT="7144" marB="0" anchor="ctr"/>
                </a:tc>
                <a:extLst>
                  <a:ext uri="{0D108BD9-81ED-4DB2-BD59-A6C34878D82A}">
                    <a16:rowId xmlns="" xmlns:a16="http://schemas.microsoft.com/office/drawing/2014/main" val="785635488"/>
                  </a:ext>
                </a:extLst>
              </a:tr>
            </a:tbl>
          </a:graphicData>
        </a:graphic>
      </p:graphicFrame>
      <p:pic>
        <p:nvPicPr>
          <p:cNvPr id="49" name="Picture 48"/>
          <p:cNvPicPr>
            <a:picLocks noChangeAspect="1"/>
          </p:cNvPicPr>
          <p:nvPr/>
        </p:nvPicPr>
        <p:blipFill>
          <a:blip r:embed="rId17"/>
          <a:stretch>
            <a:fillRect/>
          </a:stretch>
        </p:blipFill>
        <p:spPr>
          <a:xfrm>
            <a:off x="131443" y="2829448"/>
            <a:ext cx="245325" cy="268990"/>
          </a:xfrm>
          <a:prstGeom prst="rect">
            <a:avLst/>
          </a:prstGeom>
        </p:spPr>
      </p:pic>
    </p:spTree>
    <p:extLst>
      <p:ext uri="{BB962C8B-B14F-4D97-AF65-F5344CB8AC3E}">
        <p14:creationId xmlns:p14="http://schemas.microsoft.com/office/powerpoint/2010/main" val="9012552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t>Naranja</a:t>
            </a:r>
            <a:r>
              <a:rPr lang="en-US" dirty="0" smtClean="0"/>
              <a:t> App - </a:t>
            </a:r>
            <a:r>
              <a:rPr lang="en-US" dirty="0">
                <a:latin typeface="Segoe UI Light" panose="020B0502040204020203" pitchFamily="34" charset="0"/>
              </a:rPr>
              <a:t>Build</a:t>
            </a:r>
            <a:endParaRPr lang="en-US" dirty="0"/>
          </a:p>
        </p:txBody>
      </p:sp>
      <p:sp>
        <p:nvSpPr>
          <p:cNvPr id="6" name="Rectangle 5"/>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latin typeface="Verdana" panose="020B0604030504040204" pitchFamily="34" charset="0"/>
                <a:ea typeface="Verdana" panose="020B0604030504040204" pitchFamily="34" charset="0"/>
                <a:cs typeface="Verdana" panose="020B0604030504040204" pitchFamily="34" charset="0"/>
              </a:rPr>
              <a:t>3</a:t>
            </a:r>
            <a:r>
              <a:rPr lang="en-US" sz="1400" b="1" dirty="0" smtClean="0">
                <a:latin typeface="Verdana" panose="020B0604030504040204" pitchFamily="34" charset="0"/>
                <a:ea typeface="Verdana" panose="020B0604030504040204" pitchFamily="34" charset="0"/>
                <a:cs typeface="Verdana" panose="020B0604030504040204" pitchFamily="34" charset="0"/>
              </a:rPr>
              <a:t>.3 / Establishe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345989" y="3723724"/>
            <a:ext cx="3215918" cy="9503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ool for SCM – GitHub.  </a:t>
            </a:r>
          </a:p>
          <a:p>
            <a:pPr marL="171450" indent="-171450">
              <a:buFont typeface="Wingdings" panose="05000000000000000000" pitchFamily="2" charset="2"/>
              <a:buChar char="q"/>
            </a:pP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Review</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done using GitHub</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 Merging and Tagging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utomated</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utomated unit test suites are available. </a:t>
            </a: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it Test is integrated with CI and build fails based on unit test result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Wingdings" panose="05000000000000000000" pitchFamily="2" charset="2"/>
              <a:buChar char="q"/>
            </a:pPr>
            <a:endPar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endParaRPr>
          </a:p>
          <a:p>
            <a:endParaRPr lang="en-US" sz="900" dirty="0" smtClean="0">
              <a:solidFill>
                <a:srgbClr val="141414"/>
              </a:solidFill>
            </a:endParaRPr>
          </a:p>
          <a:p>
            <a:r>
              <a:rPr lang="en-US" sz="900" dirty="0" smtClean="0">
                <a:solidFill>
                  <a:srgbClr val="141414"/>
                </a:solidFill>
              </a:rPr>
              <a:t>  	</a:t>
            </a:r>
          </a:p>
          <a:p>
            <a:endParaRPr lang="en-US" sz="900" dirty="0">
              <a:solidFill>
                <a:srgbClr val="141414"/>
              </a:solidFill>
            </a:endParaRPr>
          </a:p>
        </p:txBody>
      </p:sp>
      <p:sp>
        <p:nvSpPr>
          <p:cNvPr id="9" name="TextBox 8"/>
          <p:cNvSpPr txBox="1"/>
          <p:nvPr/>
        </p:nvSpPr>
        <p:spPr>
          <a:xfrm>
            <a:off x="97795" y="3400346"/>
            <a:ext cx="3464112"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p:nvPicPr>
        <p:blipFill>
          <a:blip r:embed="rId3"/>
          <a:stretch>
            <a:fillRect/>
          </a:stretch>
        </p:blipFill>
        <p:spPr>
          <a:xfrm>
            <a:off x="88634" y="3804084"/>
            <a:ext cx="288300" cy="285194"/>
          </a:xfrm>
          <a:prstGeom prst="rect">
            <a:avLst/>
          </a:prstGeom>
        </p:spPr>
      </p:pic>
      <p:sp>
        <p:nvSpPr>
          <p:cNvPr id="14" name="Rectangle 13"/>
          <p:cNvSpPr/>
          <p:nvPr/>
        </p:nvSpPr>
        <p:spPr>
          <a:xfrm>
            <a:off x="3786146" y="637907"/>
            <a:ext cx="5213286" cy="213203"/>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Rectangle 14"/>
          <p:cNvSpPr/>
          <p:nvPr/>
        </p:nvSpPr>
        <p:spPr>
          <a:xfrm>
            <a:off x="3786146" y="848746"/>
            <a:ext cx="5231219" cy="3084468"/>
          </a:xfrm>
          <a:prstGeom prst="rect">
            <a:avLst/>
          </a:prstGeom>
          <a:solidFill>
            <a:schemeClr val="bg1"/>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Strategy</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an, Processes &amp; Operational activitie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No document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vailable</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to refer however Vendor is having all the document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 reference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dentified to improve planning efficienc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Metrics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g. LOC, Check-in frequency and # Check-in policie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available to monitor the effectiveness of SCM processe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 Merging and Tagging is automat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llowed 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erging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appens on Scrum Master / PM’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cision mainly over mails. .</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failure based on Code Quality is not automated.</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tatic code analysis is done using Lint performed on each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mmit for Front End however it is not performed for back end services.</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Review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a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oes not track the code review effectiveness through defect leakag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etric.</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itHub is used for code review</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est practices for Architecture and secure coding is not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review comments are not tracked to closure.</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Unit Tests &amp; Code Coverage</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uto scripts are available to create/cleanup test data.</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coverage is performed only for front end (Angular 4) us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tambul.j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Box 15"/>
          <p:cNvSpPr txBox="1"/>
          <p:nvPr/>
        </p:nvSpPr>
        <p:spPr>
          <a:xfrm>
            <a:off x="3786146" y="605605"/>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 name="Chart 16"/>
          <p:cNvGraphicFramePr>
            <a:graphicFrameLocks/>
          </p:cNvGraphicFramePr>
          <p:nvPr>
            <p:extLst>
              <p:ext uri="{D42A27DB-BD31-4B8C-83A1-F6EECF244321}">
                <p14:modId xmlns:p14="http://schemas.microsoft.com/office/powerpoint/2010/main" val="2054734749"/>
              </p:ext>
            </p:extLst>
          </p:nvPr>
        </p:nvGraphicFramePr>
        <p:xfrm>
          <a:off x="88635" y="637908"/>
          <a:ext cx="3473272" cy="2635700"/>
        </p:xfrm>
        <a:graphic>
          <a:graphicData uri="http://schemas.openxmlformats.org/drawingml/2006/chart">
            <c:chart xmlns:c="http://schemas.openxmlformats.org/drawingml/2006/chart" xmlns:r="http://schemas.openxmlformats.org/officeDocument/2006/relationships" r:id="rId4"/>
          </a:graphicData>
        </a:graphic>
      </p:graphicFrame>
      <p:sp>
        <p:nvSpPr>
          <p:cNvPr id="18" name="Rectangle 17"/>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9" name="Picture 2" descr="https://www.naranj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1950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t>Naranja</a:t>
            </a:r>
            <a:r>
              <a:rPr lang="en-US" dirty="0" smtClean="0"/>
              <a:t> App – </a:t>
            </a:r>
            <a:r>
              <a:rPr lang="en-US" dirty="0" smtClean="0">
                <a:latin typeface="Segoe UI Light" panose="020B0502040204020203" pitchFamily="34" charset="0"/>
              </a:rPr>
              <a:t>Build continues</a:t>
            </a:r>
            <a:endParaRPr lang="en-US" dirty="0"/>
          </a:p>
        </p:txBody>
      </p:sp>
      <p:sp>
        <p:nvSpPr>
          <p:cNvPr id="7" name="Rectangle 6"/>
          <p:cNvSpPr/>
          <p:nvPr/>
        </p:nvSpPr>
        <p:spPr>
          <a:xfrm>
            <a:off x="235367" y="3826843"/>
            <a:ext cx="3396671" cy="9323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I is defined and implemented using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itLab</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I</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PM is being used for Packaging and Dependency Management</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tainerization is used to package as single unit.</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de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in back end</a:t>
            </a: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 </a:t>
            </a:r>
          </a:p>
          <a:p>
            <a:endParaRPr lang="en-US" sz="900" dirty="0" smtClean="0">
              <a:solidFill>
                <a:srgbClr val="141414"/>
              </a:solidFill>
            </a:endParaRPr>
          </a:p>
          <a:p>
            <a:r>
              <a:rPr lang="en-US" sz="900" dirty="0" smtClean="0">
                <a:solidFill>
                  <a:srgbClr val="141414"/>
                </a:solidFill>
              </a:rPr>
              <a:t>  	</a:t>
            </a:r>
          </a:p>
          <a:p>
            <a:endParaRPr lang="en-US" sz="900" dirty="0">
              <a:solidFill>
                <a:srgbClr val="141414"/>
              </a:solidFill>
            </a:endParaRPr>
          </a:p>
        </p:txBody>
      </p:sp>
      <p:sp>
        <p:nvSpPr>
          <p:cNvPr id="8" name="TextBox 7"/>
          <p:cNvSpPr txBox="1"/>
          <p:nvPr/>
        </p:nvSpPr>
        <p:spPr>
          <a:xfrm>
            <a:off x="82396" y="3549844"/>
            <a:ext cx="3369844"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p:cNvPicPr>
            <a:picLocks noChangeAspect="1"/>
          </p:cNvPicPr>
          <p:nvPr/>
        </p:nvPicPr>
        <p:blipFill>
          <a:blip r:embed="rId2"/>
          <a:stretch>
            <a:fillRect/>
          </a:stretch>
        </p:blipFill>
        <p:spPr>
          <a:xfrm>
            <a:off x="15410" y="3865234"/>
            <a:ext cx="288300" cy="285194"/>
          </a:xfrm>
          <a:prstGeom prst="rect">
            <a:avLst/>
          </a:prstGeom>
        </p:spPr>
      </p:pic>
      <p:sp>
        <p:nvSpPr>
          <p:cNvPr id="10" name="Rectangle 9"/>
          <p:cNvSpPr/>
          <p:nvPr/>
        </p:nvSpPr>
        <p:spPr>
          <a:xfrm>
            <a:off x="3804480" y="626597"/>
            <a:ext cx="2362404" cy="222198"/>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1" name="Rectangle 10"/>
          <p:cNvSpPr/>
          <p:nvPr/>
        </p:nvSpPr>
        <p:spPr>
          <a:xfrm>
            <a:off x="3815113" y="890964"/>
            <a:ext cx="5109831" cy="342413"/>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12" name="TextBox 11"/>
          <p:cNvSpPr txBox="1"/>
          <p:nvPr/>
        </p:nvSpPr>
        <p:spPr>
          <a:xfrm>
            <a:off x="3825747" y="594700"/>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val="974834408"/>
              </p:ext>
            </p:extLst>
          </p:nvPr>
        </p:nvGraphicFramePr>
        <p:xfrm>
          <a:off x="88635" y="637908"/>
          <a:ext cx="3473272" cy="2635700"/>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latin typeface="Verdana" panose="020B0604030504040204" pitchFamily="34" charset="0"/>
                <a:ea typeface="Verdana" panose="020B0604030504040204" pitchFamily="34" charset="0"/>
                <a:cs typeface="Verdana" panose="020B0604030504040204" pitchFamily="34" charset="0"/>
              </a:rPr>
              <a:t>3</a:t>
            </a:r>
            <a:r>
              <a:rPr lang="en-US" sz="1400" b="1" dirty="0" smtClean="0">
                <a:latin typeface="Verdana" panose="020B0604030504040204" pitchFamily="34" charset="0"/>
                <a:ea typeface="Verdana" panose="020B0604030504040204" pitchFamily="34" charset="0"/>
                <a:cs typeface="Verdana" panose="020B0604030504040204" pitchFamily="34" charset="0"/>
              </a:rPr>
              <a:t>.3 / Establishe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7"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804480" y="1284539"/>
            <a:ext cx="3446925"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9" name="Rectangle 18"/>
          <p:cNvSpPr/>
          <p:nvPr/>
        </p:nvSpPr>
        <p:spPr>
          <a:xfrm>
            <a:off x="3815113" y="1548906"/>
            <a:ext cx="5109831" cy="3210302"/>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Strateg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ation of all SOPs and Guidelines (SCM Strategy, Branching/Merging Strategies, Continuous Integration Process &amp; Techniques) need to be made available in a common repository for team’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reference irrespective of Vendor or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eam,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which helps the team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branching and merging activity thorough organized way to avoid repetitive activities. Master copy to hold production corresponding code bas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nsolidated build scripts’ references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and Track Metrics like LOC, Check-in frequency and # Check-in policies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etc</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hrough SCM tool to monitor the effectiveness of SCM processe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Build Automation</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Lint to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mpile the code which helps the team to improve th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automation scripts for validating the final build artifact.</a:t>
            </a: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hird party Integration &amp; Continuous Integration</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mplement End to End automation of CI-CD in a single pipeline for seamless delivery with required set of tool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Lint,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Jenkins,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Nexu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Jasmine,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Cobertura</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CD tool, Selenium and Code Review tool).</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CI dashboard to monitor the status of the latest build, latest deployment etc.</a:t>
            </a:r>
          </a:p>
          <a:p>
            <a:pPr marL="171450" indent="-171450">
              <a:buFont typeface="Arial" panose="020B0604020202020204" pitchFamily="34" charset="0"/>
              <a:buChar char="•"/>
            </a:pP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p:cNvSpPr txBox="1"/>
          <p:nvPr/>
        </p:nvSpPr>
        <p:spPr>
          <a:xfrm>
            <a:off x="3825747" y="1252642"/>
            <a:ext cx="3243196"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54643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t>Naranja</a:t>
            </a:r>
            <a:r>
              <a:rPr lang="en-US" dirty="0" smtClean="0"/>
              <a:t> App - Deploy</a:t>
            </a:r>
            <a:endParaRPr lang="en-US" dirty="0"/>
          </a:p>
        </p:txBody>
      </p:sp>
      <p:pic>
        <p:nvPicPr>
          <p:cNvPr id="5" name="Picture 4"/>
          <p:cNvPicPr>
            <a:picLocks noChangeAspect="1"/>
          </p:cNvPicPr>
          <p:nvPr/>
        </p:nvPicPr>
        <p:blipFill>
          <a:blip r:embed="rId2"/>
          <a:stretch>
            <a:fillRect/>
          </a:stretch>
        </p:blipFill>
        <p:spPr>
          <a:xfrm>
            <a:off x="54520" y="3715606"/>
            <a:ext cx="288300" cy="285194"/>
          </a:xfrm>
          <a:prstGeom prst="rect">
            <a:avLst/>
          </a:prstGeom>
        </p:spPr>
      </p:pic>
      <p:sp>
        <p:nvSpPr>
          <p:cNvPr id="6" name="Rectangle 5"/>
          <p:cNvSpPr/>
          <p:nvPr/>
        </p:nvSpPr>
        <p:spPr>
          <a:xfrm>
            <a:off x="345988" y="3715606"/>
            <a:ext cx="3219143" cy="6439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s are generated and managed via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itLab</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ugins are generated using NPM.</a:t>
            </a:r>
          </a:p>
        </p:txBody>
      </p:sp>
      <p:sp>
        <p:nvSpPr>
          <p:cNvPr id="7" name="TextBox 6"/>
          <p:cNvSpPr txBox="1"/>
          <p:nvPr/>
        </p:nvSpPr>
        <p:spPr>
          <a:xfrm>
            <a:off x="34988" y="3358175"/>
            <a:ext cx="3888426"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3.4 / Establishe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3986123" y="925035"/>
            <a:ext cx="4972693" cy="23492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rtifact Management</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Deployment (CD</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dicated SIT environments are not available. Integration testing is performed on the shared environment.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omotion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o production environment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fter gett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s through  change and release management proces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promotion to NPE does not require approval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mmunication of deployment fo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are not done continuously ove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promotions in lower environment (Dev/QA) is managed manually.</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utomated Deployment are not integrated with Release Management and change management tool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3986124" y="656691"/>
            <a:ext cx="2669858" cy="268344"/>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4" name="TextBox 13"/>
          <p:cNvSpPr txBox="1"/>
          <p:nvPr/>
        </p:nvSpPr>
        <p:spPr>
          <a:xfrm>
            <a:off x="4007390" y="624794"/>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hart 14"/>
          <p:cNvGraphicFramePr>
            <a:graphicFrameLocks/>
          </p:cNvGraphicFramePr>
          <p:nvPr>
            <p:extLst>
              <p:ext uri="{D42A27DB-BD31-4B8C-83A1-F6EECF244321}">
                <p14:modId xmlns:p14="http://schemas.microsoft.com/office/powerpoint/2010/main" val="2169262741"/>
              </p:ext>
            </p:extLst>
          </p:nvPr>
        </p:nvGraphicFramePr>
        <p:xfrm>
          <a:off x="57548" y="660721"/>
          <a:ext cx="3865865" cy="2613598"/>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7"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4081460" y="3303143"/>
            <a:ext cx="3403862" cy="239520"/>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9" name="TextBox 18"/>
          <p:cNvSpPr txBox="1"/>
          <p:nvPr/>
        </p:nvSpPr>
        <p:spPr>
          <a:xfrm>
            <a:off x="4102726" y="3271246"/>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0" name="Rectangle 19"/>
          <p:cNvSpPr/>
          <p:nvPr/>
        </p:nvSpPr>
        <p:spPr>
          <a:xfrm>
            <a:off x="4117758" y="3598774"/>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exu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 management – to store deployable artifac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Pre and Post Install checks via automa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s/plug-in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timize deployment cycle by collaborating tools lik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enkins, and Deployment tool. This will help to reduce further dependencies on approvals. Enable continuous deployment across the environments in an automated way.</a:t>
            </a:r>
          </a:p>
          <a:p>
            <a:pPr algn="ctr"/>
            <a:endParaRPr lang="en-US"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119650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3911334" y="642167"/>
            <a:ext cx="2319345" cy="263458"/>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t>Naranja</a:t>
            </a:r>
            <a:r>
              <a:rPr lang="en-US" dirty="0" smtClean="0"/>
              <a:t> App - Verify</a:t>
            </a:r>
            <a:endParaRPr lang="en-US" dirty="0"/>
          </a:p>
        </p:txBody>
      </p:sp>
      <p:sp>
        <p:nvSpPr>
          <p:cNvPr id="4" name="TextBox 3"/>
          <p:cNvSpPr txBox="1"/>
          <p:nvPr/>
        </p:nvSpPr>
        <p:spPr>
          <a:xfrm>
            <a:off x="3956008" y="628962"/>
            <a:ext cx="2170787"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p>
        </p:txBody>
      </p:sp>
      <p:pic>
        <p:nvPicPr>
          <p:cNvPr id="6" name="Picture 5"/>
          <p:cNvPicPr>
            <a:picLocks noChangeAspect="1"/>
          </p:cNvPicPr>
          <p:nvPr/>
        </p:nvPicPr>
        <p:blipFill>
          <a:blip r:embed="rId2"/>
          <a:stretch>
            <a:fillRect/>
          </a:stretch>
        </p:blipFill>
        <p:spPr>
          <a:xfrm>
            <a:off x="55404" y="3497712"/>
            <a:ext cx="288300" cy="285194"/>
          </a:xfrm>
          <a:prstGeom prst="rect">
            <a:avLst/>
          </a:prstGeom>
        </p:spPr>
      </p:pic>
      <p:sp>
        <p:nvSpPr>
          <p:cNvPr id="10" name="Rectangle 9"/>
          <p:cNvSpPr/>
          <p:nvPr/>
        </p:nvSpPr>
        <p:spPr>
          <a:xfrm>
            <a:off x="3932602" y="878107"/>
            <a:ext cx="4972693" cy="1591893"/>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est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ools are us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measuring tes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verage</a:t>
            </a:r>
          </a:p>
          <a:p>
            <a:pPr marL="285750" indent="-285750">
              <a:buFont typeface="Arial" panose="020B0604020202020204" pitchFamily="34" charset="0"/>
              <a:buChar char="•"/>
            </a:pP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Regression test coverage included in pipeline for frontend</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0% regression test coverage</a:t>
            </a:r>
          </a:p>
          <a:p>
            <a:pPr marL="285750" indent="-2857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UAT is done Manually</a:t>
            </a:r>
          </a:p>
          <a:p>
            <a:pPr marL="285750" indent="-2857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Production bugs are not updated in Regression Suites</a:t>
            </a:r>
          </a:p>
          <a:p>
            <a:pPr marL="285750" indent="-2857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dedicated testing team</a:t>
            </a:r>
          </a:p>
          <a:p>
            <a:pPr marL="285750" indent="-285750">
              <a:buFont typeface="Arial" panose="020B0604020202020204" pitchFamily="34" charset="0"/>
              <a:buChar char="•"/>
            </a:pPr>
            <a:endPar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345988" y="3340999"/>
            <a:ext cx="3523395" cy="8838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enium is leveraged for test automation.</a:t>
            </a:r>
          </a:p>
          <a:p>
            <a:pPr marL="171450" indent="-171450">
              <a:buFont typeface="Wingdings" panose="05000000000000000000" pitchFamily="2" charset="2"/>
              <a:buChar char="q"/>
            </a:pP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ium</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is Test Management for Mobile Devices.</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enetration and Security Testing performed using Retire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emnasium</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nd backline OWASP</a:t>
            </a:r>
          </a:p>
          <a:p>
            <a:pPr marL="171450" indent="-171450">
              <a:buFont typeface="Wingdings" panose="05000000000000000000" pitchFamily="2" charset="2"/>
              <a:buChar char="q"/>
            </a:pPr>
            <a:endPar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TextBox 12"/>
          <p:cNvSpPr txBox="1"/>
          <p:nvPr/>
        </p:nvSpPr>
        <p:spPr>
          <a:xfrm>
            <a:off x="55405" y="3037937"/>
            <a:ext cx="3813978"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graphicFrame>
        <p:nvGraphicFramePr>
          <p:cNvPr id="14" name="Chart 13"/>
          <p:cNvGraphicFramePr>
            <a:graphicFrameLocks/>
          </p:cNvGraphicFramePr>
          <p:nvPr>
            <p:extLst>
              <p:ext uri="{D42A27DB-BD31-4B8C-83A1-F6EECF244321}">
                <p14:modId xmlns:p14="http://schemas.microsoft.com/office/powerpoint/2010/main" val="3760361040"/>
              </p:ext>
            </p:extLst>
          </p:nvPr>
        </p:nvGraphicFramePr>
        <p:xfrm>
          <a:off x="53121" y="642168"/>
          <a:ext cx="3816262" cy="2256924"/>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5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6"/>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8"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a:xfrm>
            <a:off x="3913400" y="2546728"/>
            <a:ext cx="3264463"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0" name="TextBox 19"/>
          <p:cNvSpPr txBox="1"/>
          <p:nvPr/>
        </p:nvSpPr>
        <p:spPr>
          <a:xfrm>
            <a:off x="3934667" y="2514831"/>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1" name="Rectangle 20"/>
          <p:cNvSpPr/>
          <p:nvPr/>
        </p:nvSpPr>
        <p:spPr>
          <a:xfrm>
            <a:off x="3949699" y="2842359"/>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a:defRPr/>
            </a:pP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 Automation (CD)</a:t>
            </a:r>
          </a:p>
          <a:p>
            <a:pPr marL="171450" indent="-171450" defTabSz="914400">
              <a:buFont typeface="Wingdings" panose="05000000000000000000" pitchFamily="2" charset="2"/>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automa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pp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sing existing too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eniu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is needs to be integrated with CI/CD pipeline as well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100% integration of test automation suite within CI Lifecycle).</a:t>
            </a:r>
          </a:p>
          <a:p>
            <a:pPr marL="171450" indent="-171450" defTabSz="914400">
              <a:buFont typeface="Arial" panose="020B0604020202020204" pitchFamily="34" charset="0"/>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test automation coverage is enabled via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narQub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03192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t>Naranja</a:t>
            </a:r>
            <a:r>
              <a:rPr lang="en-US" dirty="0" smtClean="0"/>
              <a:t> App - Release</a:t>
            </a:r>
            <a:endParaRPr lang="en-US" dirty="0"/>
          </a:p>
        </p:txBody>
      </p:sp>
      <p:pic>
        <p:nvPicPr>
          <p:cNvPr id="6" name="Picture 5"/>
          <p:cNvPicPr>
            <a:picLocks noChangeAspect="1"/>
          </p:cNvPicPr>
          <p:nvPr/>
        </p:nvPicPr>
        <p:blipFill>
          <a:blip r:embed="rId2"/>
          <a:stretch>
            <a:fillRect/>
          </a:stretch>
        </p:blipFill>
        <p:spPr>
          <a:xfrm>
            <a:off x="279" y="3973744"/>
            <a:ext cx="288300" cy="285194"/>
          </a:xfrm>
          <a:prstGeom prst="rect">
            <a:avLst/>
          </a:prstGeom>
        </p:spPr>
      </p:pic>
      <p:sp>
        <p:nvSpPr>
          <p:cNvPr id="10" name="Rectangle 9"/>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1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4156429" y="848457"/>
            <a:ext cx="4881245" cy="1703358"/>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raceability</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End to End Traceability</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orchestration tool is available. </a:t>
            </a:r>
          </a:p>
          <a:p>
            <a:pPr marL="171450" indent="-171450">
              <a:buFont typeface="Arial" panose="020B0604020202020204" pitchFamily="34" charset="0"/>
              <a:buChar char="•"/>
            </a:pP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Stage Gate &amp; Approval Criteria – Manual approval process is followed for deployments rather than automated workflow based approvals.</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Metrics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reporting culture is followed for Release Management</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Releases are managed via Change Management.</a:t>
            </a:r>
            <a:endPar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ct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4156429" y="608802"/>
            <a:ext cx="2478287" cy="207486"/>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TextBox 14"/>
          <p:cNvSpPr txBox="1"/>
          <p:nvPr/>
        </p:nvSpPr>
        <p:spPr>
          <a:xfrm>
            <a:off x="4145375" y="568056"/>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288578" y="3696743"/>
            <a:ext cx="3767909" cy="11277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is used for release and change management</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lease calendar is available but not widely published.</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dicated Release Management team is available</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performs Release and Chang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agemen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ctions.</a:t>
            </a:r>
          </a:p>
        </p:txBody>
      </p:sp>
      <p:sp>
        <p:nvSpPr>
          <p:cNvPr id="17" name="TextBox 16"/>
          <p:cNvSpPr txBox="1"/>
          <p:nvPr/>
        </p:nvSpPr>
        <p:spPr>
          <a:xfrm>
            <a:off x="107003" y="3392539"/>
            <a:ext cx="394948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graphicFrame>
        <p:nvGraphicFramePr>
          <p:cNvPr id="18" name="Chart 17"/>
          <p:cNvGraphicFramePr>
            <a:graphicFrameLocks/>
          </p:cNvGraphicFramePr>
          <p:nvPr>
            <p:extLst>
              <p:ext uri="{D42A27DB-BD31-4B8C-83A1-F6EECF244321}">
                <p14:modId xmlns:p14="http://schemas.microsoft.com/office/powerpoint/2010/main" val="2566608527"/>
              </p:ext>
            </p:extLst>
          </p:nvPr>
        </p:nvGraphicFramePr>
        <p:xfrm>
          <a:off x="107004" y="608802"/>
          <a:ext cx="3949484" cy="2756532"/>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4156430" y="2668919"/>
            <a:ext cx="3403319"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TextBox 21"/>
          <p:cNvSpPr txBox="1"/>
          <p:nvPr/>
        </p:nvSpPr>
        <p:spPr>
          <a:xfrm>
            <a:off x="4177695" y="2637022"/>
            <a:ext cx="3658499"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3" name="Rectangle 22"/>
          <p:cNvSpPr/>
          <p:nvPr/>
        </p:nvSpPr>
        <p:spPr>
          <a:xfrm>
            <a:off x="4192729" y="2964550"/>
            <a:ext cx="4844946" cy="16298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traceability and approvals us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utora</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dashboards with Phase wise data analysis in order to track / Monitor the metrics for release management.</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Traceabilit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ke use of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Sight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for end-to-end traceability and Ensure DevOps adoption by integrating it with all the existing DevOps tools(ALM, CI, SCM, Deployment tool, Code Review, Artifact management, Environment, ITSM, CMDB, Feedback and Monitoring ) seamless release in a single work flow.</a:t>
            </a:r>
          </a:p>
        </p:txBody>
      </p:sp>
    </p:spTree>
    <p:extLst>
      <p:ext uri="{BB962C8B-B14F-4D97-AF65-F5344CB8AC3E}">
        <p14:creationId xmlns:p14="http://schemas.microsoft.com/office/powerpoint/2010/main" val="104747267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025769" y="651533"/>
            <a:ext cx="2258073" cy="240098"/>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solidFill>
                <a:schemeClr val="bg1"/>
              </a:solidFill>
            </a:endParaRPr>
          </a:p>
        </p:txBody>
      </p:sp>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t>Naranja</a:t>
            </a:r>
            <a:r>
              <a:rPr lang="en-US" dirty="0" smtClean="0"/>
              <a:t> App – Measure and Monitor</a:t>
            </a:r>
            <a:endParaRPr lang="en-US" dirty="0"/>
          </a:p>
        </p:txBody>
      </p:sp>
      <p:sp>
        <p:nvSpPr>
          <p:cNvPr id="4" name="TextBox 3"/>
          <p:cNvSpPr txBox="1"/>
          <p:nvPr/>
        </p:nvSpPr>
        <p:spPr>
          <a:xfrm>
            <a:off x="4027554" y="614631"/>
            <a:ext cx="2170787"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p>
        </p:txBody>
      </p:sp>
      <p:pic>
        <p:nvPicPr>
          <p:cNvPr id="8" name="Picture 7"/>
          <p:cNvPicPr>
            <a:picLocks noChangeAspect="1"/>
          </p:cNvPicPr>
          <p:nvPr/>
        </p:nvPicPr>
        <p:blipFill>
          <a:blip r:embed="rId2"/>
          <a:stretch>
            <a:fillRect/>
          </a:stretch>
        </p:blipFill>
        <p:spPr>
          <a:xfrm>
            <a:off x="39646" y="3957208"/>
            <a:ext cx="288300" cy="285194"/>
          </a:xfrm>
          <a:prstGeom prst="rect">
            <a:avLst/>
          </a:prstGeom>
        </p:spPr>
      </p:pic>
      <p:sp>
        <p:nvSpPr>
          <p:cNvPr id="10" name="Rectangle 9"/>
          <p:cNvSpPr/>
          <p:nvPr/>
        </p:nvSpPr>
        <p:spPr>
          <a:xfrm>
            <a:off x="7004557" y="32082"/>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4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92266" y="33902"/>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4025769" y="918003"/>
            <a:ext cx="4972693" cy="2389278"/>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ging strategy is fully defin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e/Produc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t collected centrall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dashboards or alerts set up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vailable to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 key application metrics or key business metric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y tools being used by different team to monitor different server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service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tools are not integrated with ITIL Tools or ALM Tool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f healing and remediation's not available</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icro services (front end developed in Angular 1) are been monitored  using Cloud Foundry.</a:t>
            </a:r>
          </a:p>
          <a:p>
            <a:pPr marL="171450" indent="-171450">
              <a:buFont typeface="Arial" panose="020B0604020202020204" pitchFamily="34" charset="0"/>
              <a:buChar char="•"/>
            </a:pP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6"/>
          <p:cNvSpPr/>
          <p:nvPr/>
        </p:nvSpPr>
        <p:spPr>
          <a:xfrm>
            <a:off x="429321" y="3928869"/>
            <a:ext cx="3332159" cy="4958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dirty="0" smtClean="0">
                <a:solidFill>
                  <a:schemeClr val="tx2">
                    <a:lumMod val="75000"/>
                  </a:schemeClr>
                </a:solidFill>
              </a:rPr>
              <a:t>Monitoring tools like Nagios and </a:t>
            </a:r>
            <a:r>
              <a:rPr lang="en-US" sz="900" dirty="0" err="1">
                <a:solidFill>
                  <a:schemeClr val="tx2">
                    <a:lumMod val="75000"/>
                  </a:schemeClr>
                </a:solidFill>
              </a:rPr>
              <a:t>Grafana</a:t>
            </a:r>
            <a:r>
              <a:rPr lang="en-US" sz="900" dirty="0">
                <a:solidFill>
                  <a:schemeClr val="tx2">
                    <a:lumMod val="75000"/>
                  </a:schemeClr>
                </a:solidFill>
              </a:rPr>
              <a:t> is </a:t>
            </a:r>
            <a:r>
              <a:rPr lang="en-US" sz="900" dirty="0" smtClean="0">
                <a:solidFill>
                  <a:schemeClr val="tx2">
                    <a:lumMod val="75000"/>
                  </a:schemeClr>
                </a:solidFill>
              </a:rPr>
              <a:t>being used to perform infrastructure monitoring.</a:t>
            </a:r>
            <a:endParaRPr lang="en-US" sz="900" dirty="0">
              <a:solidFill>
                <a:schemeClr val="tx2">
                  <a:lumMod val="75000"/>
                </a:schemeClr>
              </a:solidFill>
            </a:endParaRPr>
          </a:p>
        </p:txBody>
      </p:sp>
      <p:sp>
        <p:nvSpPr>
          <p:cNvPr id="18" name="TextBox 17"/>
          <p:cNvSpPr txBox="1"/>
          <p:nvPr/>
        </p:nvSpPr>
        <p:spPr>
          <a:xfrm>
            <a:off x="51649" y="3597755"/>
            <a:ext cx="386957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graphicFrame>
        <p:nvGraphicFramePr>
          <p:cNvPr id="19" name="Chart 18"/>
          <p:cNvGraphicFramePr>
            <a:graphicFrameLocks/>
          </p:cNvGraphicFramePr>
          <p:nvPr>
            <p:extLst>
              <p:ext uri="{D42A27DB-BD31-4B8C-83A1-F6EECF244321}">
                <p14:modId xmlns:p14="http://schemas.microsoft.com/office/powerpoint/2010/main" val="2944736"/>
              </p:ext>
            </p:extLst>
          </p:nvPr>
        </p:nvGraphicFramePr>
        <p:xfrm>
          <a:off x="51650" y="614631"/>
          <a:ext cx="3869574" cy="2809053"/>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1"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4025769" y="3393504"/>
            <a:ext cx="3278798" cy="295631"/>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3" name="Rectangle 22"/>
          <p:cNvSpPr/>
          <p:nvPr/>
        </p:nvSpPr>
        <p:spPr>
          <a:xfrm>
            <a:off x="4062068" y="3689136"/>
            <a:ext cx="5017484" cy="810155"/>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system/tools to be linked with defect management system –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 and ITIL Ticketing Tools like CA-</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rviceDesk</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hich can automatically create defects for every new exceptions for quicker resolution.</a:t>
            </a:r>
          </a:p>
          <a:p>
            <a:pPr marL="285750" indent="-285750">
              <a:buFont typeface="Arial" panose="020B0604020202020204" pitchFamily="34" charset="0"/>
              <a:buChar char="•"/>
            </a:pPr>
            <a:endParaRPr lang="en-US" sz="900" dirty="0">
              <a:solidFill>
                <a:schemeClr val="tx2">
                  <a:lumMod val="75000"/>
                </a:schemeClr>
              </a:solidFill>
            </a:endParaRPr>
          </a:p>
        </p:txBody>
      </p:sp>
      <p:sp>
        <p:nvSpPr>
          <p:cNvPr id="24" name="TextBox 23"/>
          <p:cNvSpPr txBox="1"/>
          <p:nvPr/>
        </p:nvSpPr>
        <p:spPr>
          <a:xfrm>
            <a:off x="4025769" y="3377556"/>
            <a:ext cx="3278798"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124126151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err="1" smtClean="0"/>
              <a:t>Naranja</a:t>
            </a:r>
            <a:r>
              <a:rPr lang="en-US" dirty="0" smtClean="0"/>
              <a:t> App  – Environment Management</a:t>
            </a:r>
            <a:endParaRPr lang="en-US" dirty="0"/>
          </a:p>
        </p:txBody>
      </p:sp>
      <p:pic>
        <p:nvPicPr>
          <p:cNvPr id="6" name="Picture 5"/>
          <p:cNvPicPr>
            <a:picLocks noChangeAspect="1"/>
          </p:cNvPicPr>
          <p:nvPr/>
        </p:nvPicPr>
        <p:blipFill>
          <a:blip r:embed="rId2"/>
          <a:stretch>
            <a:fillRect/>
          </a:stretch>
        </p:blipFill>
        <p:spPr>
          <a:xfrm>
            <a:off x="27739" y="3897455"/>
            <a:ext cx="288300" cy="285194"/>
          </a:xfrm>
          <a:prstGeom prst="rect">
            <a:avLst/>
          </a:prstGeom>
        </p:spPr>
      </p:pic>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1.8 / Embrac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4770559" y="924704"/>
            <a:ext cx="4258867" cy="1976358"/>
          </a:xfrm>
          <a:prstGeom prst="rect">
            <a:avLst/>
          </a:prstGeom>
          <a:noFill/>
          <a:ln w="19050">
            <a:solidFill>
              <a:schemeClr val="tx2">
                <a:lumMod val="75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Environment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troll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managed environments through defined process and manua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orkflow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nfiguration 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Self Service 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service virtualization.</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emplate for  environment requirement gathering from Users/Test Team.</a:t>
            </a:r>
          </a:p>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est Data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Data is created using scripts during the test design ph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4758487" y="650246"/>
            <a:ext cx="2322797" cy="257497"/>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TextBox 14"/>
          <p:cNvSpPr txBox="1"/>
          <p:nvPr/>
        </p:nvSpPr>
        <p:spPr>
          <a:xfrm>
            <a:off x="4723169" y="630744"/>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316039" y="3880165"/>
            <a:ext cx="4342557" cy="60496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used for ITIL Configurations Items.</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Management is performed by Operations.</a:t>
            </a:r>
          </a:p>
        </p:txBody>
      </p:sp>
      <p:sp>
        <p:nvSpPr>
          <p:cNvPr id="17" name="TextBox 16"/>
          <p:cNvSpPr txBox="1"/>
          <p:nvPr/>
        </p:nvSpPr>
        <p:spPr>
          <a:xfrm>
            <a:off x="107004" y="3588534"/>
            <a:ext cx="4551591"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4770559" y="3010940"/>
            <a:ext cx="3235757" cy="281560"/>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TextBox 21"/>
          <p:cNvSpPr txBox="1"/>
          <p:nvPr/>
        </p:nvSpPr>
        <p:spPr>
          <a:xfrm>
            <a:off x="4792163" y="3025209"/>
            <a:ext cx="3341744"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3" name="Rectangle 22"/>
          <p:cNvSpPr/>
          <p:nvPr/>
        </p:nvSpPr>
        <p:spPr>
          <a:xfrm>
            <a:off x="4803889" y="3305575"/>
            <a:ext cx="4225537" cy="1179557"/>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sibl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Environment configuration and provisioning.</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self service enablement towards booking and scheduling – Leverag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harePoint/Confluence and similar other tool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Recip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as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provisioning and build for quicker turnaround</a:t>
            </a:r>
          </a:p>
        </p:txBody>
      </p:sp>
      <p:graphicFrame>
        <p:nvGraphicFramePr>
          <p:cNvPr id="24" name="Chart 23"/>
          <p:cNvGraphicFramePr>
            <a:graphicFrameLocks/>
          </p:cNvGraphicFramePr>
          <p:nvPr>
            <p:extLst>
              <p:ext uri="{D42A27DB-BD31-4B8C-83A1-F6EECF244321}">
                <p14:modId xmlns:p14="http://schemas.microsoft.com/office/powerpoint/2010/main" val="820604363"/>
              </p:ext>
            </p:extLst>
          </p:nvPr>
        </p:nvGraphicFramePr>
        <p:xfrm>
          <a:off x="107003" y="652127"/>
          <a:ext cx="4551591" cy="28855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274959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endParaRPr lang="en-US" dirty="0"/>
          </a:p>
        </p:txBody>
      </p:sp>
      <p:sp>
        <p:nvSpPr>
          <p:cNvPr id="4" name="TextBox 3"/>
          <p:cNvSpPr txBox="1"/>
          <p:nvPr/>
        </p:nvSpPr>
        <p:spPr>
          <a:xfrm>
            <a:off x="134319" y="573058"/>
            <a:ext cx="8697433" cy="430887"/>
          </a:xfrm>
          <a:prstGeom prst="rect">
            <a:avLst/>
          </a:prstGeom>
          <a:noFill/>
        </p:spPr>
        <p:txBody>
          <a:bodyPr wrap="square" rtlCol="0">
            <a:spAutoFit/>
          </a:bodyPr>
          <a:lstStyle/>
          <a:p>
            <a:r>
              <a:rPr lang="en-US" sz="1100" dirty="0"/>
              <a:t>DevOps Assessment has been conducted through 3 weeks of intense workshops interviewing stakeholders for current state practices and tool reviews, followed by 2 weeks of analysis</a:t>
            </a:r>
          </a:p>
        </p:txBody>
      </p:sp>
      <p:sp>
        <p:nvSpPr>
          <p:cNvPr id="5" name="TextBox 4"/>
          <p:cNvSpPr txBox="1"/>
          <p:nvPr/>
        </p:nvSpPr>
        <p:spPr>
          <a:xfrm>
            <a:off x="134319" y="1160547"/>
            <a:ext cx="8410354" cy="600164"/>
          </a:xfrm>
          <a:prstGeom prst="rect">
            <a:avLst/>
          </a:prstGeom>
          <a:noFill/>
        </p:spPr>
        <p:txBody>
          <a:bodyPr wrap="square" rtlCol="0">
            <a:spAutoFit/>
          </a:bodyPr>
          <a:lstStyle/>
          <a:p>
            <a:r>
              <a:rPr lang="en-US" sz="1100" b="1" dirty="0" smtClean="0"/>
              <a:t>Interviews - </a:t>
            </a:r>
            <a:r>
              <a:rPr lang="en-US" sz="1100" dirty="0" smtClean="0"/>
              <a:t>We </a:t>
            </a:r>
            <a:r>
              <a:rPr lang="en-US" sz="1100" dirty="0"/>
              <a:t>interviewed stakeholders from various roles identified under the scope of this assessment. The stakeholders comprise of leaders and SMEs from: Application Development, QA Engineering, Requirements Management, </a:t>
            </a:r>
            <a:r>
              <a:rPr lang="en-US" sz="1100" dirty="0" smtClean="0"/>
              <a:t>Software Configuration </a:t>
            </a:r>
            <a:r>
              <a:rPr lang="en-US" sz="1100" dirty="0"/>
              <a:t>Management </a:t>
            </a:r>
            <a:r>
              <a:rPr lang="en-US" sz="1100" dirty="0" smtClean="0"/>
              <a:t>, Database Management, Release Management &amp; Operations</a:t>
            </a:r>
            <a:r>
              <a:rPr lang="en-US" sz="1100" dirty="0"/>
              <a:t>.</a:t>
            </a:r>
          </a:p>
        </p:txBody>
      </p:sp>
      <p:sp>
        <p:nvSpPr>
          <p:cNvPr id="6" name="TextBox 5"/>
          <p:cNvSpPr txBox="1"/>
          <p:nvPr/>
        </p:nvSpPr>
        <p:spPr>
          <a:xfrm>
            <a:off x="161637" y="2143719"/>
            <a:ext cx="8410354" cy="430887"/>
          </a:xfrm>
          <a:prstGeom prst="rect">
            <a:avLst/>
          </a:prstGeom>
          <a:noFill/>
        </p:spPr>
        <p:txBody>
          <a:bodyPr wrap="square" rtlCol="0">
            <a:spAutoFit/>
          </a:bodyPr>
          <a:lstStyle/>
          <a:p>
            <a:r>
              <a:rPr lang="en-US" sz="1100" b="1" dirty="0"/>
              <a:t>Review of scripts, tools, architectural components - </a:t>
            </a:r>
            <a:r>
              <a:rPr lang="en-US" sz="1100" dirty="0"/>
              <a:t>We reviewed the as-is tools, technology and engineering artifacts. Individual demo sessions were received for the tools </a:t>
            </a:r>
            <a:r>
              <a:rPr lang="en-US" sz="1100" dirty="0" smtClean="0"/>
              <a:t>– </a:t>
            </a:r>
            <a:r>
              <a:rPr lang="en-US" sz="1100" dirty="0" err="1" smtClean="0"/>
              <a:t>JIRA,SonarQube</a:t>
            </a:r>
            <a:r>
              <a:rPr lang="en-US" sz="1100" dirty="0"/>
              <a:t>, </a:t>
            </a:r>
            <a:r>
              <a:rPr lang="en-US" sz="1100" dirty="0" smtClean="0"/>
              <a:t>GIT/</a:t>
            </a:r>
            <a:r>
              <a:rPr lang="en-US" sz="1100" dirty="0" err="1" smtClean="0"/>
              <a:t>GITLab</a:t>
            </a:r>
            <a:r>
              <a:rPr lang="en-US" sz="1100" dirty="0" smtClean="0"/>
              <a:t>, IBM Clear Case, Oracle BPEL, Oracle Service Bus, </a:t>
            </a:r>
            <a:endParaRPr lang="en-US" sz="1100" dirty="0"/>
          </a:p>
        </p:txBody>
      </p:sp>
      <p:sp>
        <p:nvSpPr>
          <p:cNvPr id="7" name="TextBox 6"/>
          <p:cNvSpPr txBox="1"/>
          <p:nvPr/>
        </p:nvSpPr>
        <p:spPr>
          <a:xfrm>
            <a:off x="187482" y="2763256"/>
            <a:ext cx="8304029" cy="600164"/>
          </a:xfrm>
          <a:prstGeom prst="rect">
            <a:avLst/>
          </a:prstGeom>
          <a:noFill/>
        </p:spPr>
        <p:txBody>
          <a:bodyPr wrap="square" rtlCol="0">
            <a:spAutoFit/>
          </a:bodyPr>
          <a:lstStyle/>
          <a:p>
            <a:r>
              <a:rPr lang="en-US" sz="1100" b="1" dirty="0"/>
              <a:t>Analyzed the process w.r.t. DevOps standards - </a:t>
            </a:r>
            <a:r>
              <a:rPr lang="en-US" sz="1100" dirty="0"/>
              <a:t>We analyzed end to end processes and workflows for each of the environment across the following DevOps dimensions –Requirements Management, Release planning and coordination, Source code Management, Code quality, Build Management, Deployment Management and Database Deployments</a:t>
            </a:r>
          </a:p>
        </p:txBody>
      </p:sp>
    </p:spTree>
    <p:extLst>
      <p:ext uri="{BB962C8B-B14F-4D97-AF65-F5344CB8AC3E}">
        <p14:creationId xmlns:p14="http://schemas.microsoft.com/office/powerpoint/2010/main" val="16326119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Current SDLC Tool State for BPM</a:t>
            </a:r>
            <a:endParaRPr lang="en-US" dirty="0"/>
          </a:p>
        </p:txBody>
      </p:sp>
      <p:grpSp>
        <p:nvGrpSpPr>
          <p:cNvPr id="4" name="Group 3"/>
          <p:cNvGrpSpPr/>
          <p:nvPr/>
        </p:nvGrpSpPr>
        <p:grpSpPr>
          <a:xfrm>
            <a:off x="210615" y="586983"/>
            <a:ext cx="5555514" cy="3321025"/>
            <a:chOff x="231182" y="773376"/>
            <a:chExt cx="6931618" cy="4597398"/>
          </a:xfrm>
        </p:grpSpPr>
        <p:graphicFrame>
          <p:nvGraphicFramePr>
            <p:cNvPr id="5" name="Diagram 4"/>
            <p:cNvGraphicFramePr/>
            <p:nvPr>
              <p:extLst>
                <p:ext uri="{D42A27DB-BD31-4B8C-83A1-F6EECF244321}">
                  <p14:modId xmlns:p14="http://schemas.microsoft.com/office/powerpoint/2010/main" val="2748205792"/>
                </p:ext>
              </p:extLst>
            </p:nvPr>
          </p:nvGraphicFramePr>
          <p:xfrm>
            <a:off x="231182" y="773376"/>
            <a:ext cx="6931618" cy="45973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71771" y="2316655"/>
              <a:ext cx="6214637" cy="2954796"/>
              <a:chOff x="271771" y="2316655"/>
              <a:chExt cx="6214637" cy="2954796"/>
            </a:xfrm>
          </p:grpSpPr>
          <p:pic>
            <p:nvPicPr>
              <p:cNvPr id="9" name="Picture 1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98433" y="3226694"/>
                <a:ext cx="342900" cy="17747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150243" y="2650191"/>
                <a:ext cx="24014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1771" y="2316655"/>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6"/>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842505" y="5050552"/>
                <a:ext cx="357103" cy="22089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8"/>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113864" y="2338450"/>
                <a:ext cx="372544" cy="2782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p:cNvGrpSpPr/>
          <p:nvPr/>
        </p:nvGrpSpPr>
        <p:grpSpPr>
          <a:xfrm>
            <a:off x="7818151" y="3908008"/>
            <a:ext cx="1209675" cy="866542"/>
            <a:chOff x="7696200" y="2494526"/>
            <a:chExt cx="1209675" cy="866542"/>
          </a:xfrm>
        </p:grpSpPr>
        <p:grpSp>
          <p:nvGrpSpPr>
            <p:cNvPr id="21" name="Group 20"/>
            <p:cNvGrpSpPr/>
            <p:nvPr/>
          </p:nvGrpSpPr>
          <p:grpSpPr>
            <a:xfrm>
              <a:off x="7696200" y="2494526"/>
              <a:ext cx="1038225" cy="230832"/>
              <a:chOff x="7696200" y="2494526"/>
              <a:chExt cx="1038225" cy="230832"/>
            </a:xfrm>
          </p:grpSpPr>
          <p:sp>
            <p:nvSpPr>
              <p:cNvPr id="31" name="Rounded Rectangle 30"/>
              <p:cNvSpPr/>
              <p:nvPr/>
            </p:nvSpPr>
            <p:spPr>
              <a:xfrm>
                <a:off x="7696200" y="2543865"/>
                <a:ext cx="228600" cy="1524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7896225" y="2494526"/>
                <a:ext cx="838200" cy="230832"/>
              </a:xfrm>
              <a:prstGeom prst="rect">
                <a:avLst/>
              </a:prstGeom>
              <a:noFill/>
            </p:spPr>
            <p:txBody>
              <a:bodyPr wrap="square" rtlCol="0">
                <a:spAutoFit/>
              </a:bodyPr>
              <a:lstStyle/>
              <a:p>
                <a:r>
                  <a:rPr lang="en-US" sz="900" dirty="0" smtClean="0"/>
                  <a:t>Manual Task</a:t>
                </a:r>
                <a:endParaRPr lang="en-US" sz="900" dirty="0"/>
              </a:p>
            </p:txBody>
          </p:sp>
        </p:grpSp>
        <p:grpSp>
          <p:nvGrpSpPr>
            <p:cNvPr id="22" name="Group 21"/>
            <p:cNvGrpSpPr/>
            <p:nvPr/>
          </p:nvGrpSpPr>
          <p:grpSpPr>
            <a:xfrm>
              <a:off x="7696200" y="2705111"/>
              <a:ext cx="1038225" cy="230832"/>
              <a:chOff x="7696200" y="2705111"/>
              <a:chExt cx="1038225" cy="230832"/>
            </a:xfrm>
          </p:grpSpPr>
          <p:sp>
            <p:nvSpPr>
              <p:cNvPr id="29" name="Rounded Rectangle 28"/>
              <p:cNvSpPr/>
              <p:nvPr/>
            </p:nvSpPr>
            <p:spPr>
              <a:xfrm>
                <a:off x="7696200" y="2754450"/>
                <a:ext cx="228600" cy="1524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7896225" y="2705111"/>
                <a:ext cx="838200" cy="230832"/>
              </a:xfrm>
              <a:prstGeom prst="rect">
                <a:avLst/>
              </a:prstGeom>
              <a:noFill/>
            </p:spPr>
            <p:txBody>
              <a:bodyPr wrap="square" rtlCol="0">
                <a:spAutoFit/>
              </a:bodyPr>
              <a:lstStyle/>
              <a:p>
                <a:r>
                  <a:rPr lang="en-US" sz="900" dirty="0" smtClean="0"/>
                  <a:t>Tool driven</a:t>
                </a:r>
                <a:endParaRPr lang="en-US" sz="900" dirty="0"/>
              </a:p>
            </p:txBody>
          </p:sp>
        </p:grpSp>
        <p:grpSp>
          <p:nvGrpSpPr>
            <p:cNvPr id="23" name="Group 22"/>
            <p:cNvGrpSpPr/>
            <p:nvPr/>
          </p:nvGrpSpPr>
          <p:grpSpPr>
            <a:xfrm>
              <a:off x="7696200" y="2926417"/>
              <a:ext cx="1209675" cy="230832"/>
              <a:chOff x="7696200" y="2926417"/>
              <a:chExt cx="1209675" cy="230832"/>
            </a:xfrm>
          </p:grpSpPr>
          <p:sp>
            <p:nvSpPr>
              <p:cNvPr id="27" name="Rounded Rectangle 26"/>
              <p:cNvSpPr/>
              <p:nvPr/>
            </p:nvSpPr>
            <p:spPr>
              <a:xfrm>
                <a:off x="7696200" y="2965035"/>
                <a:ext cx="22860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7896225" y="2926417"/>
                <a:ext cx="1009650" cy="230832"/>
              </a:xfrm>
              <a:prstGeom prst="rect">
                <a:avLst/>
              </a:prstGeom>
              <a:noFill/>
            </p:spPr>
            <p:txBody>
              <a:bodyPr wrap="square" rtlCol="0">
                <a:spAutoFit/>
              </a:bodyPr>
              <a:lstStyle/>
              <a:p>
                <a:r>
                  <a:rPr lang="en-US" sz="900" dirty="0" smtClean="0"/>
                  <a:t>Non automated</a:t>
                </a:r>
                <a:endParaRPr lang="en-US" sz="900" dirty="0"/>
              </a:p>
            </p:txBody>
          </p:sp>
        </p:grpSp>
        <p:grpSp>
          <p:nvGrpSpPr>
            <p:cNvPr id="24" name="Group 23"/>
            <p:cNvGrpSpPr/>
            <p:nvPr/>
          </p:nvGrpSpPr>
          <p:grpSpPr>
            <a:xfrm>
              <a:off x="7696200" y="3130236"/>
              <a:ext cx="1209675" cy="230832"/>
              <a:chOff x="7696200" y="3130236"/>
              <a:chExt cx="1209675" cy="230832"/>
            </a:xfrm>
          </p:grpSpPr>
          <p:sp>
            <p:nvSpPr>
              <p:cNvPr id="25" name="Rounded Rectangle 24"/>
              <p:cNvSpPr/>
              <p:nvPr/>
            </p:nvSpPr>
            <p:spPr>
              <a:xfrm>
                <a:off x="7696200" y="3175620"/>
                <a:ext cx="228600" cy="1524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896225" y="3130236"/>
                <a:ext cx="1009650" cy="230832"/>
              </a:xfrm>
              <a:prstGeom prst="rect">
                <a:avLst/>
              </a:prstGeom>
              <a:noFill/>
            </p:spPr>
            <p:txBody>
              <a:bodyPr wrap="square" rtlCol="0">
                <a:spAutoFit/>
              </a:bodyPr>
              <a:lstStyle/>
              <a:p>
                <a:r>
                  <a:rPr lang="en-US" sz="900" dirty="0" smtClean="0"/>
                  <a:t>Out of Scope</a:t>
                </a:r>
                <a:endParaRPr lang="en-US" sz="900" dirty="0"/>
              </a:p>
            </p:txBody>
          </p:sp>
        </p:grpSp>
      </p:grpSp>
      <p:sp>
        <p:nvSpPr>
          <p:cNvPr id="33" name="Rounded Rectangle 32"/>
          <p:cNvSpPr/>
          <p:nvPr/>
        </p:nvSpPr>
        <p:spPr>
          <a:xfrm>
            <a:off x="3622741" y="1300177"/>
            <a:ext cx="1021829" cy="2607832"/>
          </a:xfrm>
          <a:prstGeom prst="roundRect">
            <a:avLst>
              <a:gd name="adj" fmla="val 8854"/>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4811709" y="643090"/>
            <a:ext cx="996822" cy="1673147"/>
          </a:xfrm>
          <a:prstGeom prst="roundRect">
            <a:avLst>
              <a:gd name="adj" fmla="val 8854"/>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679745" y="3990778"/>
            <a:ext cx="1071964" cy="369332"/>
          </a:xfrm>
          <a:prstGeom prst="rect">
            <a:avLst/>
          </a:prstGeom>
          <a:noFill/>
        </p:spPr>
        <p:txBody>
          <a:bodyPr wrap="square" rtlCol="0">
            <a:spAutoFit/>
          </a:bodyPr>
          <a:lstStyle/>
          <a:p>
            <a:pPr algn="ctr"/>
            <a:r>
              <a:rPr lang="en-US" sz="900" dirty="0" smtClean="0"/>
              <a:t>Test Case/Data Management</a:t>
            </a:r>
            <a:endParaRPr lang="en-US" sz="900" dirty="0"/>
          </a:p>
        </p:txBody>
      </p:sp>
      <p:sp>
        <p:nvSpPr>
          <p:cNvPr id="36" name="TextBox 35"/>
          <p:cNvSpPr txBox="1"/>
          <p:nvPr/>
        </p:nvSpPr>
        <p:spPr>
          <a:xfrm>
            <a:off x="4798013" y="2445744"/>
            <a:ext cx="1071964" cy="369332"/>
          </a:xfrm>
          <a:prstGeom prst="rect">
            <a:avLst/>
          </a:prstGeom>
          <a:noFill/>
        </p:spPr>
        <p:txBody>
          <a:bodyPr wrap="square" rtlCol="0">
            <a:spAutoFit/>
          </a:bodyPr>
          <a:lstStyle/>
          <a:p>
            <a:pPr algn="ctr"/>
            <a:r>
              <a:rPr lang="en-US" sz="900" dirty="0" smtClean="0"/>
              <a:t>CMDB/Change Management</a:t>
            </a:r>
            <a:endParaRPr lang="en-US" sz="900" dirty="0"/>
          </a:p>
        </p:txBody>
      </p:sp>
      <p:pic>
        <p:nvPicPr>
          <p:cNvPr id="39" name="Picture 12"/>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2598879" y="1045255"/>
            <a:ext cx="293496" cy="15848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1615476" y="1045248"/>
            <a:ext cx="704067" cy="16001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93954" y="1398946"/>
            <a:ext cx="872175" cy="215444"/>
          </a:xfrm>
          <a:prstGeom prst="rect">
            <a:avLst/>
          </a:prstGeom>
          <a:noFill/>
        </p:spPr>
        <p:txBody>
          <a:bodyPr wrap="square" rtlCol="0">
            <a:spAutoFit/>
          </a:bodyPr>
          <a:lstStyle/>
          <a:p>
            <a:r>
              <a:rPr lang="en-US" sz="800" b="1" dirty="0" smtClean="0"/>
              <a:t>Cloud Control</a:t>
            </a:r>
            <a:endParaRPr lang="en-US" sz="800" b="1" dirty="0"/>
          </a:p>
        </p:txBody>
      </p:sp>
      <p:pic>
        <p:nvPicPr>
          <p:cNvPr id="43" name="Picture 28"/>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5212328" y="1932938"/>
            <a:ext cx="597587" cy="21636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a:blip r:embed="rId9">
            <a:biLevel thresh="75000"/>
            <a:extLst>
              <a:ext uri="{28A0092B-C50C-407E-A947-70E740481C1C}">
                <a14:useLocalDpi xmlns:a14="http://schemas.microsoft.com/office/drawing/2010/main" val="0"/>
              </a:ext>
            </a:extLst>
          </a:blip>
          <a:stretch>
            <a:fillRect/>
          </a:stretch>
        </p:blipFill>
        <p:spPr bwMode="auto">
          <a:xfrm>
            <a:off x="3724517" y="702799"/>
            <a:ext cx="255050" cy="195074"/>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5124286" y="1679640"/>
            <a:ext cx="745691" cy="215444"/>
          </a:xfrm>
          <a:prstGeom prst="rect">
            <a:avLst/>
          </a:prstGeom>
          <a:noFill/>
        </p:spPr>
        <p:txBody>
          <a:bodyPr wrap="square" rtlCol="0">
            <a:spAutoFit/>
          </a:bodyPr>
          <a:lstStyle/>
          <a:p>
            <a:r>
              <a:rPr lang="en-US" sz="800" b="1" dirty="0" smtClean="0"/>
              <a:t>Barcelona</a:t>
            </a:r>
            <a:endParaRPr lang="en-US" sz="800" b="1" dirty="0"/>
          </a:p>
        </p:txBody>
      </p:sp>
      <p:sp>
        <p:nvSpPr>
          <p:cNvPr id="48" name="Rectangle 47"/>
          <p:cNvSpPr/>
          <p:nvPr/>
        </p:nvSpPr>
        <p:spPr>
          <a:xfrm>
            <a:off x="5908185" y="711001"/>
            <a:ext cx="3103248" cy="2538616"/>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t"/>
          <a:lstStyle/>
          <a:p>
            <a:pPr marL="171450" indent="-171450">
              <a:buFont typeface="Wingdings" panose="05000000000000000000" pitchFamily="2" charset="2"/>
              <a:buChar char="ü"/>
            </a:pPr>
            <a:r>
              <a:rPr lang="en-US" sz="1100" dirty="0" smtClean="0"/>
              <a:t>IBM Clear case is for SCM.</a:t>
            </a:r>
          </a:p>
          <a:p>
            <a:pPr marL="171450" indent="-171450">
              <a:buFont typeface="Wingdings" panose="05000000000000000000" pitchFamily="2" charset="2"/>
              <a:buChar char="ü"/>
            </a:pPr>
            <a:r>
              <a:rPr lang="en-US" sz="1100" dirty="0" smtClean="0"/>
              <a:t>Automated Merging not happening.</a:t>
            </a:r>
          </a:p>
          <a:p>
            <a:pPr marL="171450" indent="-171450">
              <a:buFont typeface="Wingdings" panose="05000000000000000000" pitchFamily="2" charset="2"/>
              <a:buChar char="ü"/>
            </a:pPr>
            <a:r>
              <a:rPr lang="en-US" sz="1100" dirty="0" smtClean="0"/>
              <a:t>Build and Unit Test should not happen before code review.</a:t>
            </a:r>
          </a:p>
          <a:p>
            <a:pPr marL="171450" indent="-171450">
              <a:buFont typeface="Wingdings" panose="05000000000000000000" pitchFamily="2" charset="2"/>
              <a:buChar char="ü"/>
            </a:pPr>
            <a:r>
              <a:rPr lang="en-US" sz="1100" dirty="0" smtClean="0"/>
              <a:t>Release Management is not automated</a:t>
            </a:r>
          </a:p>
          <a:p>
            <a:pPr marL="171450" indent="-171450">
              <a:buFont typeface="Wingdings" panose="05000000000000000000" pitchFamily="2" charset="2"/>
              <a:buChar char="ü"/>
            </a:pPr>
            <a:r>
              <a:rPr lang="en-US" sz="1100" dirty="0" smtClean="0"/>
              <a:t>Deployment is not automated</a:t>
            </a:r>
          </a:p>
          <a:p>
            <a:pPr marL="171450" indent="-171450">
              <a:buFont typeface="Wingdings" panose="05000000000000000000" pitchFamily="2" charset="2"/>
              <a:buChar char="ü"/>
            </a:pPr>
            <a:r>
              <a:rPr lang="en-US" sz="1100" dirty="0" smtClean="0"/>
              <a:t>Unit Testing is not automated</a:t>
            </a:r>
          </a:p>
          <a:p>
            <a:pPr marL="171450" indent="-171450">
              <a:buFont typeface="Wingdings" panose="05000000000000000000" pitchFamily="2" charset="2"/>
              <a:buChar char="ü"/>
            </a:pPr>
            <a:r>
              <a:rPr lang="en-US" sz="1100" dirty="0" smtClean="0"/>
              <a:t>Code review is not automated</a:t>
            </a:r>
          </a:p>
          <a:p>
            <a:pPr marL="171450" indent="-171450">
              <a:buFont typeface="Wingdings" panose="05000000000000000000" pitchFamily="2" charset="2"/>
              <a:buChar char="ü"/>
            </a:pPr>
            <a:r>
              <a:rPr lang="en-US" sz="1100" dirty="0" smtClean="0"/>
              <a:t>No Automated Suite for Functional Testing</a:t>
            </a:r>
          </a:p>
          <a:p>
            <a:pPr marL="171450" indent="-171450">
              <a:buFont typeface="Wingdings" panose="05000000000000000000" pitchFamily="2" charset="2"/>
              <a:buChar char="ü"/>
            </a:pPr>
            <a:endParaRPr lang="en-US" sz="1100" dirty="0"/>
          </a:p>
        </p:txBody>
      </p:sp>
      <p:pic>
        <p:nvPicPr>
          <p:cNvPr id="44" name="Picture 24"/>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1458298" y="1697871"/>
            <a:ext cx="744282" cy="12268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4"/>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276787" y="3017271"/>
            <a:ext cx="744282" cy="12268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4"/>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1477247" y="2361677"/>
            <a:ext cx="744282" cy="12268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4"/>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2616231" y="1669334"/>
            <a:ext cx="744282" cy="122683"/>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4" name="Picture 2" descr="https://www.naranja.com/images/logo.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0" name="Table 49"/>
          <p:cNvGraphicFramePr>
            <a:graphicFrameLocks noGrp="1"/>
          </p:cNvGraphicFramePr>
          <p:nvPr>
            <p:extLst>
              <p:ext uri="{D42A27DB-BD31-4B8C-83A1-F6EECF244321}">
                <p14:modId xmlns:p14="http://schemas.microsoft.com/office/powerpoint/2010/main" val="3435221240"/>
              </p:ext>
            </p:extLst>
          </p:nvPr>
        </p:nvGraphicFramePr>
        <p:xfrm>
          <a:off x="5368436" y="3554794"/>
          <a:ext cx="992627" cy="1225721"/>
        </p:xfrm>
        <a:graphic>
          <a:graphicData uri="http://schemas.openxmlformats.org/drawingml/2006/table">
            <a:tbl>
              <a:tblPr firstRow="1" bandRow="1">
                <a:tableStyleId>{69012ECD-51FC-41F1-AA8D-1B2483CD663E}</a:tableStyleId>
              </a:tblPr>
              <a:tblGrid>
                <a:gridCol w="992627">
                  <a:extLst>
                    <a:ext uri="{9D8B030D-6E8A-4147-A177-3AD203B41FA5}">
                      <a16:colId xmlns="" xmlns:a16="http://schemas.microsoft.com/office/drawing/2014/main" val="20000"/>
                    </a:ext>
                  </a:extLst>
                </a:gridCol>
              </a:tblGrid>
              <a:tr h="203007">
                <a:tc>
                  <a:txBody>
                    <a:bodyPr/>
                    <a:lstStyle/>
                    <a:p>
                      <a:pPr algn="ctr"/>
                      <a:r>
                        <a:rPr lang="en-US" sz="800" dirty="0" smtClean="0"/>
                        <a:t>Technologies</a:t>
                      </a:r>
                      <a:endParaRPr lang="en-US" sz="800" dirty="0">
                        <a:latin typeface="+mn-lt"/>
                      </a:endParaRPr>
                    </a:p>
                  </a:txBody>
                  <a:tcPr marL="51449" marR="51449" marT="34290" marB="34290" anchor="ctr">
                    <a:solidFill>
                      <a:schemeClr val="bg2">
                        <a:lumMod val="50000"/>
                      </a:schemeClr>
                    </a:solidFill>
                  </a:tcPr>
                </a:tc>
                <a:extLst>
                  <a:ext uri="{0D108BD9-81ED-4DB2-BD59-A6C34878D82A}">
                    <a16:rowId xmlns="" xmlns:a16="http://schemas.microsoft.com/office/drawing/2014/main" val="10000"/>
                  </a:ext>
                </a:extLst>
              </a:tr>
              <a:tr h="159217">
                <a:tc>
                  <a:txBody>
                    <a:bodyPr/>
                    <a:lstStyle/>
                    <a:p>
                      <a:pPr marL="53975" indent="0" algn="l" fontAlgn="b"/>
                      <a:r>
                        <a:rPr lang="en-US" sz="800" b="0" i="0" u="none" strike="noStrike" dirty="0" smtClean="0">
                          <a:solidFill>
                            <a:schemeClr val="tx1"/>
                          </a:solidFill>
                          <a:effectLst/>
                          <a:latin typeface="+mn-lt"/>
                        </a:rPr>
                        <a:t>Java,</a:t>
                      </a:r>
                      <a:r>
                        <a:rPr lang="en-US" sz="800" b="0" i="0" u="none" strike="noStrike" baseline="0" dirty="0" smtClean="0">
                          <a:solidFill>
                            <a:schemeClr val="tx1"/>
                          </a:solidFill>
                          <a:effectLst/>
                          <a:latin typeface="+mn-lt"/>
                        </a:rPr>
                        <a:t> Angular</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0001"/>
                  </a:ext>
                </a:extLst>
              </a:tr>
              <a:tr h="176981">
                <a:tc>
                  <a:txBody>
                    <a:bodyPr/>
                    <a:lstStyle/>
                    <a:p>
                      <a:pPr marL="53975" indent="0" algn="l" defTabSz="914400" rtl="0" eaLnBrk="1" fontAlgn="b" latinLnBrk="0" hangingPunct="1"/>
                      <a:r>
                        <a:rPr lang="en-US" sz="800" u="none" strike="noStrike" kern="1200" dirty="0" smtClean="0">
                          <a:solidFill>
                            <a:schemeClr val="tx1"/>
                          </a:solidFill>
                          <a:effectLst/>
                          <a:latin typeface="+mn-lt"/>
                          <a:ea typeface="+mn-ea"/>
                          <a:cs typeface="+mn-cs"/>
                        </a:rPr>
                        <a:t>Windows/Unix</a:t>
                      </a:r>
                      <a:endParaRPr lang="en-US" sz="800" u="none" strike="noStrike" kern="1200" dirty="0">
                        <a:solidFill>
                          <a:schemeClr val="tx1"/>
                        </a:solidFill>
                        <a:effectLst/>
                        <a:latin typeface="+mn-lt"/>
                        <a:ea typeface="+mn-ea"/>
                        <a:cs typeface="+mn-cs"/>
                      </a:endParaRPr>
                    </a:p>
                  </a:txBody>
                  <a:tcPr marL="5360" marR="5360" marT="7144" marB="0" anchor="ctr"/>
                </a:tc>
                <a:extLst>
                  <a:ext uri="{0D108BD9-81ED-4DB2-BD59-A6C34878D82A}">
                    <a16:rowId xmlns="" xmlns:a16="http://schemas.microsoft.com/office/drawing/2014/main" val="10002"/>
                  </a:ext>
                </a:extLst>
              </a:tr>
              <a:tr h="165919">
                <a:tc>
                  <a:txBody>
                    <a:bodyPr/>
                    <a:lstStyle/>
                    <a:p>
                      <a:pPr marL="53975" indent="0" algn="l" fontAlgn="b"/>
                      <a:r>
                        <a:rPr lang="en-US" sz="800" b="0" i="0" u="none" strike="noStrike" dirty="0" smtClean="0">
                          <a:solidFill>
                            <a:schemeClr val="tx1"/>
                          </a:solidFill>
                          <a:effectLst/>
                          <a:latin typeface="+mn-lt"/>
                        </a:rPr>
                        <a:t>Oracle</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0003"/>
                  </a:ext>
                </a:extLst>
              </a:tr>
              <a:tr h="131107">
                <a:tc>
                  <a:txBody>
                    <a:bodyPr/>
                    <a:lstStyle/>
                    <a:p>
                      <a:pPr marL="53975" indent="0" algn="l" fontAlgn="b"/>
                      <a:r>
                        <a:rPr lang="en-US" sz="800" b="0" i="0" u="none" strike="noStrike" dirty="0" smtClean="0">
                          <a:solidFill>
                            <a:schemeClr val="tx1"/>
                          </a:solidFill>
                          <a:effectLst/>
                          <a:latin typeface="+mn-lt"/>
                        </a:rPr>
                        <a:t>Cobol</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0004"/>
                  </a:ext>
                </a:extLst>
              </a:tr>
              <a:tr h="194745">
                <a:tc>
                  <a:txBody>
                    <a:bodyPr/>
                    <a:lstStyle/>
                    <a:p>
                      <a:pPr marL="53975" indent="0" algn="l" fontAlgn="b"/>
                      <a:r>
                        <a:rPr lang="en-US" sz="800" b="0" i="0" u="none" strike="noStrike" dirty="0" smtClean="0">
                          <a:solidFill>
                            <a:schemeClr val="tx1"/>
                          </a:solidFill>
                          <a:effectLst/>
                          <a:latin typeface="+mn-lt"/>
                        </a:rPr>
                        <a:t>Cloud (PR)</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0005"/>
                  </a:ext>
                </a:extLst>
              </a:tr>
              <a:tr h="194745">
                <a:tc>
                  <a:txBody>
                    <a:bodyPr/>
                    <a:lstStyle/>
                    <a:p>
                      <a:pPr marL="53975" indent="0" algn="l" fontAlgn="b"/>
                      <a:r>
                        <a:rPr lang="en-US" sz="800" b="0" i="0" u="none" strike="noStrike" dirty="0" smtClean="0">
                          <a:solidFill>
                            <a:schemeClr val="tx1"/>
                          </a:solidFill>
                          <a:effectLst/>
                          <a:latin typeface="+mn-lt"/>
                        </a:rPr>
                        <a:t>Web Services</a:t>
                      </a:r>
                      <a:endParaRPr lang="en-US" sz="800" b="0" i="0" u="none" strike="noStrike" dirty="0">
                        <a:solidFill>
                          <a:schemeClr val="tx1"/>
                        </a:solidFill>
                        <a:effectLst/>
                        <a:latin typeface="+mn-lt"/>
                      </a:endParaRPr>
                    </a:p>
                  </a:txBody>
                  <a:tcPr marL="5360" marR="5360" marT="7144" marB="0" anchor="ctr"/>
                </a:tc>
                <a:extLst>
                  <a:ext uri="{0D108BD9-81ED-4DB2-BD59-A6C34878D82A}">
                    <a16:rowId xmlns="" xmlns:a16="http://schemas.microsoft.com/office/drawing/2014/main" val="1739370081"/>
                  </a:ext>
                </a:extLst>
              </a:tr>
            </a:tbl>
          </a:graphicData>
        </a:graphic>
      </p:graphicFrame>
      <p:pic>
        <p:nvPicPr>
          <p:cNvPr id="51" name="Picture 2" descr="Imagen relacionada"/>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99919" y="820586"/>
            <a:ext cx="263976" cy="26397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Imagen relacionada"/>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208" y="3444219"/>
            <a:ext cx="263976" cy="263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2660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latin typeface="Segoe UI Light" panose="020B0502040204020203" pitchFamily="34" charset="0"/>
              </a:rPr>
              <a:t>BPM - Over </a:t>
            </a:r>
            <a:r>
              <a:rPr lang="en-US" dirty="0">
                <a:latin typeface="Segoe UI Light" panose="020B0502040204020203" pitchFamily="34" charset="0"/>
              </a:rPr>
              <a:t>all DevOps Maturity </a:t>
            </a:r>
            <a:endParaRPr lang="en-US" dirty="0"/>
          </a:p>
        </p:txBody>
      </p:sp>
      <p:sp>
        <p:nvSpPr>
          <p:cNvPr id="6" name="Rectangle 5"/>
          <p:cNvSpPr/>
          <p:nvPr/>
        </p:nvSpPr>
        <p:spPr>
          <a:xfrm>
            <a:off x="5763267" y="76926"/>
            <a:ext cx="853284" cy="29925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smtClean="0">
                <a:solidFill>
                  <a:prstClr val="white"/>
                </a:solidFill>
              </a:rPr>
              <a:t>Score</a:t>
            </a:r>
            <a:endParaRPr lang="en-US" dirty="0">
              <a:solidFill>
                <a:prstClr val="white"/>
              </a:solidFill>
            </a:endParaRPr>
          </a:p>
        </p:txBody>
      </p:sp>
      <p:sp>
        <p:nvSpPr>
          <p:cNvPr id="7" name="Rectangle 6"/>
          <p:cNvSpPr/>
          <p:nvPr/>
        </p:nvSpPr>
        <p:spPr>
          <a:xfrm>
            <a:off x="6626587" y="66653"/>
            <a:ext cx="853284" cy="309528"/>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prstClr val="white"/>
                </a:solidFill>
              </a:rPr>
              <a:t>2</a:t>
            </a:r>
            <a:r>
              <a:rPr lang="en-US" dirty="0" smtClean="0">
                <a:solidFill>
                  <a:prstClr val="white"/>
                </a:solidFill>
              </a:rPr>
              <a:t> </a:t>
            </a:r>
            <a:r>
              <a:rPr lang="en-US" dirty="0">
                <a:solidFill>
                  <a:prstClr val="white"/>
                </a:solidFill>
              </a:rPr>
              <a:t>/ </a:t>
            </a:r>
            <a:r>
              <a:rPr lang="en-US" dirty="0" smtClean="0">
                <a:solidFill>
                  <a:prstClr val="white"/>
                </a:solidFill>
              </a:rPr>
              <a:t>5</a:t>
            </a:r>
            <a:endParaRPr lang="en-US" dirty="0">
              <a:solidFill>
                <a:prstClr val="white"/>
              </a:solidFill>
            </a:endParaRPr>
          </a:p>
        </p:txBody>
      </p:sp>
      <p:sp>
        <p:nvSpPr>
          <p:cNvPr id="8" name="Rectangle 7"/>
          <p:cNvSpPr/>
          <p:nvPr/>
        </p:nvSpPr>
        <p:spPr>
          <a:xfrm>
            <a:off x="7497899" y="59078"/>
            <a:ext cx="1512541" cy="309529"/>
          </a:xfrm>
          <a:prstGeom prst="rect">
            <a:avLst/>
          </a:prstGeom>
          <a:solidFill>
            <a:schemeClr val="accent4"/>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dirty="0" smtClean="0">
                <a:solidFill>
                  <a:prstClr val="white"/>
                </a:solidFill>
              </a:rPr>
              <a:t>Embracing</a:t>
            </a:r>
            <a:endParaRPr lang="en-US" dirty="0">
              <a:solidFill>
                <a:prstClr val="white"/>
              </a:solidFill>
            </a:endParaRPr>
          </a:p>
        </p:txBody>
      </p:sp>
      <p:graphicFrame>
        <p:nvGraphicFramePr>
          <p:cNvPr id="10" name="Chart 9"/>
          <p:cNvGraphicFramePr>
            <a:graphicFrameLocks/>
          </p:cNvGraphicFramePr>
          <p:nvPr>
            <p:extLst>
              <p:ext uri="{D42A27DB-BD31-4B8C-83A1-F6EECF244321}">
                <p14:modId xmlns:p14="http://schemas.microsoft.com/office/powerpoint/2010/main" val="985922848"/>
              </p:ext>
            </p:extLst>
          </p:nvPr>
        </p:nvGraphicFramePr>
        <p:xfrm>
          <a:off x="107004" y="648517"/>
          <a:ext cx="4571322" cy="39447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a:graphicFrameLocks/>
          </p:cNvGraphicFramePr>
          <p:nvPr>
            <p:extLst>
              <p:ext uri="{D42A27DB-BD31-4B8C-83A1-F6EECF244321}">
                <p14:modId xmlns:p14="http://schemas.microsoft.com/office/powerpoint/2010/main" val="2139256040"/>
              </p:ext>
            </p:extLst>
          </p:nvPr>
        </p:nvGraphicFramePr>
        <p:xfrm>
          <a:off x="4571057" y="648517"/>
          <a:ext cx="4439383" cy="382779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3"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50588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a:t>
            </a:r>
            <a:r>
              <a:rPr lang="en-US" dirty="0">
                <a:latin typeface="Segoe UI Light" panose="020B0502040204020203" pitchFamily="34" charset="0"/>
              </a:rPr>
              <a:t>Build</a:t>
            </a:r>
            <a:endParaRPr lang="en-US" dirty="0"/>
          </a:p>
        </p:txBody>
      </p:sp>
      <p:sp>
        <p:nvSpPr>
          <p:cNvPr id="6" name="Rectangle 5"/>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345988" y="4180936"/>
            <a:ext cx="3471099" cy="505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ool for SCM –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a:t>
            </a:r>
          </a:p>
          <a:p>
            <a:endParaRPr lang="en-US" sz="900" dirty="0" smtClean="0">
              <a:solidFill>
                <a:schemeClr val="tx2"/>
              </a:solidFill>
            </a:endParaRPr>
          </a:p>
          <a:p>
            <a:r>
              <a:rPr lang="en-US" sz="900" dirty="0" smtClean="0">
                <a:solidFill>
                  <a:schemeClr val="tx2"/>
                </a:solidFill>
              </a:rPr>
              <a:t>  	</a:t>
            </a:r>
          </a:p>
          <a:p>
            <a:endParaRPr lang="en-US" sz="900" dirty="0">
              <a:solidFill>
                <a:schemeClr val="tx2"/>
              </a:solidFill>
            </a:endParaRPr>
          </a:p>
        </p:txBody>
      </p:sp>
      <p:sp>
        <p:nvSpPr>
          <p:cNvPr id="9" name="TextBox 8"/>
          <p:cNvSpPr txBox="1"/>
          <p:nvPr/>
        </p:nvSpPr>
        <p:spPr>
          <a:xfrm>
            <a:off x="66395" y="3870698"/>
            <a:ext cx="3750691"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p:nvPicPr>
        <p:blipFill>
          <a:blip r:embed="rId3"/>
          <a:stretch>
            <a:fillRect/>
          </a:stretch>
        </p:blipFill>
        <p:spPr>
          <a:xfrm>
            <a:off x="66395" y="4180935"/>
            <a:ext cx="288300" cy="285194"/>
          </a:xfrm>
          <a:prstGeom prst="rect">
            <a:avLst/>
          </a:prstGeom>
        </p:spPr>
      </p:pic>
      <p:sp>
        <p:nvSpPr>
          <p:cNvPr id="12" name="Rectangle 11"/>
          <p:cNvSpPr/>
          <p:nvPr/>
        </p:nvSpPr>
        <p:spPr>
          <a:xfrm>
            <a:off x="3848987" y="606178"/>
            <a:ext cx="2445487" cy="234469"/>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4" name="Rectangle 13"/>
          <p:cNvSpPr/>
          <p:nvPr/>
        </p:nvSpPr>
        <p:spPr>
          <a:xfrm>
            <a:off x="3848987" y="817017"/>
            <a:ext cx="5231219" cy="4021646"/>
          </a:xfrm>
          <a:prstGeom prst="rect">
            <a:avLst/>
          </a:prstGeom>
          <a:solidFill>
            <a:schemeClr val="bg1"/>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Strategy</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an, Processes &amp; Operational activitie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No document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vailable</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to refer however Vendor is having all the document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 reference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dentified to improve planning efficienc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Metrics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g. LOC, Check-in frequency and # Check-in policie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available to monitor the effectiveness of SCM processe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llowed 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erging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happens on Scrum Master / PM’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cision mainly over mails.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ccess restrictions to be implement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ranching, Merging and Tagging is not automated.</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failure based on Code Quality is not automat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ing guidelines, best practice for architecture and secure coding is not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nar-</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loudControl</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is being used for identifying circular dependency.</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Review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de review process is defined.</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Unit Tests &amp; Code Coverage</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Automated unit test suites are available. Hence, the team does not describe the degree to which the source code of a program has been tested.</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re is no tool available to track the code coverage since team follows manual unit testing.</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available to create/cleanup tes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a.</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it Test suites are not integrated with CI since team follows manual unit testing</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p:cNvSpPr txBox="1"/>
          <p:nvPr/>
        </p:nvSpPr>
        <p:spPr>
          <a:xfrm>
            <a:off x="3859621" y="56364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 name="Chart 15"/>
          <p:cNvGraphicFramePr>
            <a:graphicFrameLocks/>
          </p:cNvGraphicFramePr>
          <p:nvPr>
            <p:extLst>
              <p:ext uri="{D42A27DB-BD31-4B8C-83A1-F6EECF244321}">
                <p14:modId xmlns:p14="http://schemas.microsoft.com/office/powerpoint/2010/main" val="1870034514"/>
              </p:ext>
            </p:extLst>
          </p:nvPr>
        </p:nvGraphicFramePr>
        <p:xfrm>
          <a:off x="25787" y="601856"/>
          <a:ext cx="3791299" cy="3235603"/>
        </p:xfrm>
        <a:graphic>
          <a:graphicData uri="http://schemas.openxmlformats.org/drawingml/2006/chart">
            <c:chart xmlns:c="http://schemas.openxmlformats.org/drawingml/2006/chart" xmlns:r="http://schemas.openxmlformats.org/officeDocument/2006/relationships" r:id="rId4"/>
          </a:graphicData>
        </a:graphic>
      </p:graphicFrame>
      <p:sp>
        <p:nvSpPr>
          <p:cNvPr id="17" name="Rectangle 16"/>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8" name="Picture 2" descr="https://www.naranj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002289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a:t>
            </a:r>
            <a:r>
              <a:rPr lang="en-US" dirty="0" smtClean="0">
                <a:latin typeface="Segoe UI Light" panose="020B0502040204020203" pitchFamily="34" charset="0"/>
              </a:rPr>
              <a:t>Build continues</a:t>
            </a:r>
            <a:endParaRPr lang="en-US" dirty="0"/>
          </a:p>
        </p:txBody>
      </p:sp>
      <p:pic>
        <p:nvPicPr>
          <p:cNvPr id="9" name="Picture 8"/>
          <p:cNvPicPr>
            <a:picLocks noChangeAspect="1"/>
          </p:cNvPicPr>
          <p:nvPr/>
        </p:nvPicPr>
        <p:blipFill>
          <a:blip r:embed="rId2"/>
          <a:stretch>
            <a:fillRect/>
          </a:stretch>
        </p:blipFill>
        <p:spPr>
          <a:xfrm>
            <a:off x="16145" y="4194701"/>
            <a:ext cx="288300" cy="285194"/>
          </a:xfrm>
          <a:prstGeom prst="rect">
            <a:avLst/>
          </a:prstGeom>
        </p:spPr>
      </p:pic>
      <p:sp>
        <p:nvSpPr>
          <p:cNvPr id="10" name="Rectangle 9"/>
          <p:cNvSpPr/>
          <p:nvPr/>
        </p:nvSpPr>
        <p:spPr>
          <a:xfrm>
            <a:off x="3895946" y="638074"/>
            <a:ext cx="2664342" cy="264367"/>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2" name="Rectangle 11"/>
          <p:cNvSpPr/>
          <p:nvPr/>
        </p:nvSpPr>
        <p:spPr>
          <a:xfrm>
            <a:off x="3906579" y="902442"/>
            <a:ext cx="5109831" cy="1745909"/>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Build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 check i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one Manually.</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tegr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ith third party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ackages/libraries is not embedded.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uilds are scheduled however using batch processing</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hird party Integration</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pendency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agement in the build scrip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ere is no versioning mechanism for third party librarie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Integr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I is not defined and implemented.</a:t>
            </a:r>
            <a:endParaRPr lang="en-US" sz="900" b="1"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13" name="TextBox 12"/>
          <p:cNvSpPr txBox="1"/>
          <p:nvPr/>
        </p:nvSpPr>
        <p:spPr>
          <a:xfrm>
            <a:off x="3917213" y="60617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304445" y="4184998"/>
            <a:ext cx="3429524" cy="505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ven and Huds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used as Build Tool.  </a:t>
            </a:r>
          </a:p>
        </p:txBody>
      </p:sp>
      <p:sp>
        <p:nvSpPr>
          <p:cNvPr id="15" name="TextBox 14"/>
          <p:cNvSpPr txBox="1"/>
          <p:nvPr/>
        </p:nvSpPr>
        <p:spPr>
          <a:xfrm>
            <a:off x="25789" y="3877581"/>
            <a:ext cx="3791298"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6"/>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p:cNvGraphicFramePr>
            <a:graphicFrameLocks/>
          </p:cNvGraphicFramePr>
          <p:nvPr>
            <p:extLst>
              <p:ext uri="{D42A27DB-BD31-4B8C-83A1-F6EECF244321}">
                <p14:modId xmlns:p14="http://schemas.microsoft.com/office/powerpoint/2010/main" val="1702421942"/>
              </p:ext>
            </p:extLst>
          </p:nvPr>
        </p:nvGraphicFramePr>
        <p:xfrm>
          <a:off x="25787" y="601856"/>
          <a:ext cx="3791299" cy="3235603"/>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931177" y="2766914"/>
            <a:ext cx="3426553"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Rectangle 21"/>
          <p:cNvSpPr/>
          <p:nvPr/>
        </p:nvSpPr>
        <p:spPr>
          <a:xfrm>
            <a:off x="3941810" y="3031281"/>
            <a:ext cx="5109831" cy="1608964"/>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Strateg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ation of all SOPs and Guidelines (SCM Strategy, Branching/Merging Strategies, Continuous Integration Process &amp; Techniques) need to be made available in a common repository for team’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reference irrespective of Vendor or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eam,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which helps the team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branching and merging activity thorough organized way to avoid repetitive activities. Master copy to hold production corresponding code bas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nsolidated build scripts’ references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and Track Metrics like LOC, Check-in frequency and # Check-in policies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etc</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hrough SCM tool to monitor the effectiveness of SCM processe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TextBox 22"/>
          <p:cNvSpPr txBox="1"/>
          <p:nvPr/>
        </p:nvSpPr>
        <p:spPr>
          <a:xfrm>
            <a:off x="3952444" y="2735017"/>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72767655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a:t>
            </a:r>
            <a:r>
              <a:rPr lang="en-US" dirty="0" smtClean="0">
                <a:latin typeface="Segoe UI Light" panose="020B0502040204020203" pitchFamily="34" charset="0"/>
              </a:rPr>
              <a:t>Build continues</a:t>
            </a:r>
            <a:endParaRPr lang="en-US" dirty="0"/>
          </a:p>
        </p:txBody>
      </p:sp>
      <p:sp>
        <p:nvSpPr>
          <p:cNvPr id="10" name="Rectangle 9"/>
          <p:cNvSpPr/>
          <p:nvPr/>
        </p:nvSpPr>
        <p:spPr>
          <a:xfrm>
            <a:off x="3895946" y="638075"/>
            <a:ext cx="5120464"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6" name="Rectangle 15"/>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6"/>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Chart 17"/>
          <p:cNvGraphicFramePr>
            <a:graphicFrameLocks/>
          </p:cNvGraphicFramePr>
          <p:nvPr>
            <p:extLst>
              <p:ext uri="{D42A27DB-BD31-4B8C-83A1-F6EECF244321}">
                <p14:modId xmlns:p14="http://schemas.microsoft.com/office/powerpoint/2010/main" val="2184111644"/>
              </p:ext>
            </p:extLst>
          </p:nvPr>
        </p:nvGraphicFramePr>
        <p:xfrm>
          <a:off x="25787" y="601856"/>
          <a:ext cx="3791299" cy="3987538"/>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931177" y="912578"/>
            <a:ext cx="5109831" cy="3727667"/>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 best practices for architecture &amp; secure coding for team’s reference to improve th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project teams on common coding conventions to avoid code quality and maintainability issues.</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tatic Code analysis using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o be enabled with every single commit for current development process and also to be integrated with Jenkins. This could significantly reduce the peer review effort and helps to identify and track the dead code in the app repositor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Build failure to be enforced if critical code violations increase. The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base lining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of violation details to be determined and to be agreed with the Customer.</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ystematic Code refactoring strategy / process to be defined in order to address the duplicate/ dead code, circular dependencies and Technical debt., It is recommended to allocate adequate bandwidth ( 10-20%) in each Iteration to handle the technical debt of the code to keep the code base maintainable. </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view</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de review tool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like Crucible or similar feature available with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GitLab</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o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mprove the planning efficiency</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rack Defect leakage metric Sprint wise to monitor the code review effectivenes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Unit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s &amp; Cod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automated Unit test suites, which helps project team to describe the degree to which the source code of a program has been tested.</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Code Coverage tool to monitor th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ntegrate Unit test suites with Jenkin tool to improve the testing effectiveness.</a:t>
            </a: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22" name="TextBox 21"/>
          <p:cNvSpPr txBox="1"/>
          <p:nvPr/>
        </p:nvSpPr>
        <p:spPr>
          <a:xfrm>
            <a:off x="3952444" y="619127"/>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395901568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Deploy</a:t>
            </a:r>
            <a:endParaRPr lang="en-US" dirty="0"/>
          </a:p>
        </p:txBody>
      </p:sp>
      <p:pic>
        <p:nvPicPr>
          <p:cNvPr id="5" name="Picture 4"/>
          <p:cNvPicPr>
            <a:picLocks noChangeAspect="1"/>
          </p:cNvPicPr>
          <p:nvPr/>
        </p:nvPicPr>
        <p:blipFill>
          <a:blip r:embed="rId2"/>
          <a:stretch>
            <a:fillRect/>
          </a:stretch>
        </p:blipFill>
        <p:spPr>
          <a:xfrm>
            <a:off x="34988" y="3836029"/>
            <a:ext cx="288300" cy="285194"/>
          </a:xfrm>
          <a:prstGeom prst="rect">
            <a:avLst/>
          </a:prstGeom>
        </p:spPr>
      </p:pic>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3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6"/>
          <p:cNvSpPr/>
          <p:nvPr/>
        </p:nvSpPr>
        <p:spPr>
          <a:xfrm>
            <a:off x="4118142" y="956933"/>
            <a:ext cx="4972693" cy="23492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rtifact Management</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s are generated and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aged via clear c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t is not integrated with other tools.</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Deployment (CD</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dicated SIT environments are not available. Integration testing is performed on the shared environment. </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erson-dependent deployments on NPE leads to increased cycle tim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omotion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o production environments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fter gett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pprovals through  change and release management proces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de promotion to NPE does not require approval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done manually and no tracking of deployments done in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mmunication of deployment fo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are not done continuously over NP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me Code promotions in lower environment (Dev/QA) is managed manually.</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p:nvSpPr>
        <p:spPr>
          <a:xfrm>
            <a:off x="318876" y="3775752"/>
            <a:ext cx="3741315" cy="9201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mi-automated script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executed using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mp; CTRL-M.</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oduction deployments are controlled using Release and change management process using CA Service Desk</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does all th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 to production</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p:cNvSpPr txBox="1"/>
          <p:nvPr/>
        </p:nvSpPr>
        <p:spPr>
          <a:xfrm>
            <a:off x="41747" y="3480413"/>
            <a:ext cx="401844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20" name="Rectangle 19"/>
          <p:cNvSpPr/>
          <p:nvPr/>
        </p:nvSpPr>
        <p:spPr>
          <a:xfrm>
            <a:off x="4118142" y="688589"/>
            <a:ext cx="2346453" cy="24510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1" name="TextBox 20"/>
          <p:cNvSpPr txBox="1"/>
          <p:nvPr/>
        </p:nvSpPr>
        <p:spPr>
          <a:xfrm>
            <a:off x="4139409" y="656692"/>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2" name="Chart 21"/>
          <p:cNvGraphicFramePr>
            <a:graphicFrameLocks/>
          </p:cNvGraphicFramePr>
          <p:nvPr>
            <p:extLst>
              <p:ext uri="{D42A27DB-BD31-4B8C-83A1-F6EECF244321}">
                <p14:modId xmlns:p14="http://schemas.microsoft.com/office/powerpoint/2010/main" val="1232057050"/>
              </p:ext>
            </p:extLst>
          </p:nvPr>
        </p:nvGraphicFramePr>
        <p:xfrm>
          <a:off x="47595" y="688589"/>
          <a:ext cx="4012596" cy="2713207"/>
        </p:xfrm>
        <a:graphic>
          <a:graphicData uri="http://schemas.openxmlformats.org/drawingml/2006/chart">
            <c:chart xmlns:c="http://schemas.openxmlformats.org/drawingml/2006/chart" xmlns:r="http://schemas.openxmlformats.org/officeDocument/2006/relationships" r:id="rId3"/>
          </a:graphicData>
        </a:graphic>
      </p:graphicFrame>
      <p:sp>
        <p:nvSpPr>
          <p:cNvPr id="23" name="Rectangle 22"/>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4"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4118142" y="3360733"/>
            <a:ext cx="3367179"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6" name="TextBox 15"/>
          <p:cNvSpPr txBox="1"/>
          <p:nvPr/>
        </p:nvSpPr>
        <p:spPr>
          <a:xfrm>
            <a:off x="4139409" y="3328836"/>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5" name="Rectangle 24"/>
          <p:cNvSpPr/>
          <p:nvPr/>
        </p:nvSpPr>
        <p:spPr>
          <a:xfrm>
            <a:off x="4154441" y="3656364"/>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exu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 management – to store deployable artifac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Pre and Post Install checks via automa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s/plug-in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timize deployment cycle by collaborating tools lik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enkins, and Deployment tool. This will help to reduce further dependencies on approvals. Enable continuous deployment across the environments in an automated way.</a:t>
            </a:r>
          </a:p>
          <a:p>
            <a:pPr algn="ctr"/>
            <a:endParaRPr lang="en-US"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1158625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Verify</a:t>
            </a:r>
            <a:endParaRPr lang="en-US" dirty="0"/>
          </a:p>
        </p:txBody>
      </p:sp>
      <p:sp>
        <p:nvSpPr>
          <p:cNvPr id="4" name="TextBox 3"/>
          <p:cNvSpPr txBox="1"/>
          <p:nvPr/>
        </p:nvSpPr>
        <p:spPr>
          <a:xfrm>
            <a:off x="3860315" y="628963"/>
            <a:ext cx="2264038" cy="276999"/>
          </a:xfrm>
          <a:prstGeom prst="rect">
            <a:avLst/>
          </a:prstGeom>
          <a:solidFill>
            <a:schemeClr val="accent3"/>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p>
        </p:txBody>
      </p:sp>
      <p:sp>
        <p:nvSpPr>
          <p:cNvPr id="5" name="Rectangle 4"/>
          <p:cNvSpPr/>
          <p:nvPr/>
        </p:nvSpPr>
        <p:spPr>
          <a:xfrm>
            <a:off x="3860315" y="905962"/>
            <a:ext cx="5087512" cy="635759"/>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est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No Tools implemented. Manual Testing.</a:t>
            </a:r>
          </a:p>
        </p:txBody>
      </p:sp>
      <p:graphicFrame>
        <p:nvGraphicFramePr>
          <p:cNvPr id="11" name="Chart 10"/>
          <p:cNvGraphicFramePr>
            <a:graphicFrameLocks/>
          </p:cNvGraphicFramePr>
          <p:nvPr>
            <p:extLst>
              <p:ext uri="{D42A27DB-BD31-4B8C-83A1-F6EECF244321}">
                <p14:modId xmlns:p14="http://schemas.microsoft.com/office/powerpoint/2010/main" val="2818672118"/>
              </p:ext>
            </p:extLst>
          </p:nvPr>
        </p:nvGraphicFramePr>
        <p:xfrm>
          <a:off x="39645" y="629117"/>
          <a:ext cx="3778137" cy="4006678"/>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a:latin typeface="Verdana" panose="020B0604030504040204" pitchFamily="34" charset="0"/>
                <a:ea typeface="Verdana" panose="020B0604030504040204" pitchFamily="34" charset="0"/>
                <a:cs typeface="Verdana" panose="020B0604030504040204" pitchFamily="34" charset="0"/>
              </a:rPr>
              <a:t>0</a:t>
            </a:r>
            <a:r>
              <a:rPr lang="en-US" sz="1400" b="1" dirty="0" smtClean="0">
                <a:latin typeface="Verdana" panose="020B0604030504040204" pitchFamily="34" charset="0"/>
                <a:ea typeface="Verdana" panose="020B0604030504040204" pitchFamily="34" charset="0"/>
                <a:cs typeface="Verdana" panose="020B0604030504040204" pitchFamily="34" charset="0"/>
              </a:rPr>
              <a:t> / Not Starte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4"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3860316" y="1696169"/>
            <a:ext cx="3359192"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6" name="TextBox 15"/>
          <p:cNvSpPr txBox="1"/>
          <p:nvPr/>
        </p:nvSpPr>
        <p:spPr>
          <a:xfrm>
            <a:off x="3881582" y="1664272"/>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17" name="Rectangle 16"/>
          <p:cNvSpPr/>
          <p:nvPr/>
        </p:nvSpPr>
        <p:spPr>
          <a:xfrm>
            <a:off x="3896614" y="1991800"/>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a:defRPr/>
            </a:pP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 Automation (CD)</a:t>
            </a:r>
          </a:p>
          <a:p>
            <a:pPr marL="171450" indent="-171450" defTabSz="914400">
              <a:buFont typeface="Wingdings" panose="05000000000000000000" pitchFamily="2" charset="2"/>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automation to be brought i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PM applic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sing existing too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enium.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is needs to be integrated with CI/CD pipeline as well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100% integration of test automation suite within CI Lifecycle).</a:t>
            </a:r>
          </a:p>
          <a:p>
            <a:pPr marL="171450" indent="-171450" defTabSz="914400">
              <a:buFont typeface="Arial" panose="020B0604020202020204" pitchFamily="34" charset="0"/>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test automation coverage is enabled via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narQub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2052106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Release</a:t>
            </a:r>
            <a:endParaRPr lang="en-US" dirty="0"/>
          </a:p>
        </p:txBody>
      </p:sp>
      <p:pic>
        <p:nvPicPr>
          <p:cNvPr id="6" name="Picture 5"/>
          <p:cNvPicPr>
            <a:picLocks noChangeAspect="1"/>
          </p:cNvPicPr>
          <p:nvPr/>
        </p:nvPicPr>
        <p:blipFill>
          <a:blip r:embed="rId2"/>
          <a:stretch>
            <a:fillRect/>
          </a:stretch>
        </p:blipFill>
        <p:spPr>
          <a:xfrm>
            <a:off x="279" y="3973744"/>
            <a:ext cx="288300" cy="285194"/>
          </a:xfrm>
          <a:prstGeom prst="rect">
            <a:avLst/>
          </a:prstGeom>
        </p:spPr>
      </p:pic>
      <p:sp>
        <p:nvSpPr>
          <p:cNvPr id="10" name="Rectangle 9"/>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6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4156429" y="848457"/>
            <a:ext cx="4881245" cy="1703358"/>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raceability</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End to End Traceability</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No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orchestration tool is available. </a:t>
            </a:r>
          </a:p>
          <a:p>
            <a:pPr marL="171450" indent="-171450">
              <a:buFont typeface="Arial" panose="020B0604020202020204" pitchFamily="34" charset="0"/>
              <a:buChar char="•"/>
            </a:pP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Stage Gate &amp; Approval Criteria – Manual approval process is followed for deployments rather than automated workflow based approvals.</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Metrics </a:t>
            </a:r>
            <a:r>
              <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reporting culture is followed for Release Management</a:t>
            </a: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Releases are managed via Change Management.</a:t>
            </a:r>
            <a:endParaRPr lang="en-US" sz="9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ct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4156429" y="608802"/>
            <a:ext cx="4881245" cy="24510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TextBox 14"/>
          <p:cNvSpPr txBox="1"/>
          <p:nvPr/>
        </p:nvSpPr>
        <p:spPr>
          <a:xfrm>
            <a:off x="4113055" y="583795"/>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288578" y="3696743"/>
            <a:ext cx="3767909" cy="11277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is used for release and change management</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lease calendar is available but not widely published.</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dicated Release Management team is available</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performs Release and Chang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agemen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ctions.</a:t>
            </a:r>
          </a:p>
        </p:txBody>
      </p:sp>
      <p:sp>
        <p:nvSpPr>
          <p:cNvPr id="17" name="TextBox 16"/>
          <p:cNvSpPr txBox="1"/>
          <p:nvPr/>
        </p:nvSpPr>
        <p:spPr>
          <a:xfrm>
            <a:off x="107003" y="3392539"/>
            <a:ext cx="394948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graphicFrame>
        <p:nvGraphicFramePr>
          <p:cNvPr id="18" name="Chart 17"/>
          <p:cNvGraphicFramePr>
            <a:graphicFrameLocks/>
          </p:cNvGraphicFramePr>
          <p:nvPr>
            <p:extLst>
              <p:ext uri="{D42A27DB-BD31-4B8C-83A1-F6EECF244321}">
                <p14:modId xmlns:p14="http://schemas.microsoft.com/office/powerpoint/2010/main" val="4045731685"/>
              </p:ext>
            </p:extLst>
          </p:nvPr>
        </p:nvGraphicFramePr>
        <p:xfrm>
          <a:off x="107003" y="608802"/>
          <a:ext cx="3949483" cy="2756532"/>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4156430" y="2668919"/>
            <a:ext cx="3456482"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TextBox 21"/>
          <p:cNvSpPr txBox="1"/>
          <p:nvPr/>
        </p:nvSpPr>
        <p:spPr>
          <a:xfrm>
            <a:off x="4177696" y="2637022"/>
            <a:ext cx="3435216"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3" name="Rectangle 22"/>
          <p:cNvSpPr/>
          <p:nvPr/>
        </p:nvSpPr>
        <p:spPr>
          <a:xfrm>
            <a:off x="4192729" y="2964550"/>
            <a:ext cx="4844946" cy="16298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traceability and approvals us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utora</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dashboards with Phase wise data analysis in order to track / Monitor the metrics for release management.</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Traceabilit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ke use of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Sight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for end-to-end traceability and Ensure DevOps adoption by integrating it with all the existing DevOps tools(ALM, CI, SCM, Deployment tool, Code Review, Artifact management, Environment, ITSM, CMDB, Feedback and Monitoring ) seamless release in a single work flow.</a:t>
            </a:r>
          </a:p>
        </p:txBody>
      </p:sp>
    </p:spTree>
    <p:extLst>
      <p:ext uri="{BB962C8B-B14F-4D97-AF65-F5344CB8AC3E}">
        <p14:creationId xmlns:p14="http://schemas.microsoft.com/office/powerpoint/2010/main" val="269393646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Measure and Monitor</a:t>
            </a:r>
            <a:endParaRPr lang="en-US" dirty="0"/>
          </a:p>
        </p:txBody>
      </p:sp>
      <p:pic>
        <p:nvPicPr>
          <p:cNvPr id="8" name="Picture 7"/>
          <p:cNvPicPr>
            <a:picLocks noChangeAspect="1"/>
          </p:cNvPicPr>
          <p:nvPr/>
        </p:nvPicPr>
        <p:blipFill>
          <a:blip r:embed="rId2"/>
          <a:stretch>
            <a:fillRect/>
          </a:stretch>
        </p:blipFill>
        <p:spPr>
          <a:xfrm>
            <a:off x="39646" y="3957208"/>
            <a:ext cx="288300" cy="285194"/>
          </a:xfrm>
          <a:prstGeom prst="rect">
            <a:avLst/>
          </a:prstGeom>
        </p:spPr>
      </p:pic>
      <p:sp>
        <p:nvSpPr>
          <p:cNvPr id="10" name="Rectangle 9"/>
          <p:cNvSpPr/>
          <p:nvPr/>
        </p:nvSpPr>
        <p:spPr>
          <a:xfrm>
            <a:off x="7004557" y="32082"/>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6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92266" y="33902"/>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4025769" y="918003"/>
            <a:ext cx="4972693" cy="2389278"/>
          </a:xfrm>
          <a:prstGeom prst="rect">
            <a:avLst/>
          </a:prstGeom>
          <a:no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ging strategy is defined.</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e/Produc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logs ar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t collected centrall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dashboards or alerts set up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s available to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 key application metrics or key business metrics</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ny tools being used by different team to monitor different server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service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tools are not integrated with ITIL Tools or ALM Tool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lf healing and remediation's not availabl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417318" y="3847170"/>
            <a:ext cx="3332159" cy="4958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dirty="0" smtClean="0">
                <a:solidFill>
                  <a:schemeClr val="tx2">
                    <a:lumMod val="75000"/>
                  </a:schemeClr>
                </a:solidFill>
              </a:rPr>
              <a:t>Monitoring tools like Nagios is being used to perform infrastructure monitoring.</a:t>
            </a:r>
            <a:endParaRPr lang="en-US" sz="900" dirty="0">
              <a:solidFill>
                <a:schemeClr val="tx2">
                  <a:lumMod val="75000"/>
                </a:schemeClr>
              </a:solidFill>
            </a:endParaRPr>
          </a:p>
        </p:txBody>
      </p:sp>
      <p:sp>
        <p:nvSpPr>
          <p:cNvPr id="17" name="TextBox 16"/>
          <p:cNvSpPr txBox="1"/>
          <p:nvPr/>
        </p:nvSpPr>
        <p:spPr>
          <a:xfrm>
            <a:off x="39646" y="3516056"/>
            <a:ext cx="386957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8" name="Rectangle 17"/>
          <p:cNvSpPr/>
          <p:nvPr/>
        </p:nvSpPr>
        <p:spPr>
          <a:xfrm>
            <a:off x="4025770" y="662166"/>
            <a:ext cx="2438826" cy="251886"/>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9" name="TextBox 18"/>
          <p:cNvSpPr txBox="1"/>
          <p:nvPr/>
        </p:nvSpPr>
        <p:spPr>
          <a:xfrm>
            <a:off x="4025769" y="651583"/>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0" name="Chart 19"/>
          <p:cNvGraphicFramePr>
            <a:graphicFrameLocks/>
          </p:cNvGraphicFramePr>
          <p:nvPr>
            <p:extLst>
              <p:ext uri="{D42A27DB-BD31-4B8C-83A1-F6EECF244321}">
                <p14:modId xmlns:p14="http://schemas.microsoft.com/office/powerpoint/2010/main" val="3886586298"/>
              </p:ext>
            </p:extLst>
          </p:nvPr>
        </p:nvGraphicFramePr>
        <p:xfrm>
          <a:off x="39646" y="643544"/>
          <a:ext cx="3869575" cy="2818397"/>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2"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4025768" y="3393505"/>
            <a:ext cx="3438287" cy="261050"/>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3" name="Rectangle 22"/>
          <p:cNvSpPr/>
          <p:nvPr/>
        </p:nvSpPr>
        <p:spPr>
          <a:xfrm>
            <a:off x="4062068" y="3689136"/>
            <a:ext cx="5017484" cy="810155"/>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system/tools to be linked with defect management system –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 and ITIL Ticketing Tools like CA-</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rviceDesk</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hich can automatically create defects for every new exceptions for quicker resolution.</a:t>
            </a:r>
          </a:p>
          <a:p>
            <a:pPr marL="285750" indent="-285750">
              <a:buFont typeface="Arial" panose="020B0604020202020204" pitchFamily="34" charset="0"/>
              <a:buChar char="•"/>
            </a:pPr>
            <a:endParaRPr lang="en-US" sz="900" dirty="0">
              <a:solidFill>
                <a:schemeClr val="tx2">
                  <a:lumMod val="75000"/>
                </a:schemeClr>
              </a:solidFill>
            </a:endParaRPr>
          </a:p>
        </p:txBody>
      </p:sp>
      <p:sp>
        <p:nvSpPr>
          <p:cNvPr id="24" name="TextBox 23"/>
          <p:cNvSpPr txBox="1"/>
          <p:nvPr/>
        </p:nvSpPr>
        <p:spPr>
          <a:xfrm>
            <a:off x="4027717" y="3381508"/>
            <a:ext cx="3308748"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121805593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BPM – Environment Management</a:t>
            </a:r>
            <a:endParaRPr lang="en-US" dirty="0"/>
          </a:p>
        </p:txBody>
      </p:sp>
      <p:pic>
        <p:nvPicPr>
          <p:cNvPr id="6" name="Picture 5"/>
          <p:cNvPicPr>
            <a:picLocks noChangeAspect="1"/>
          </p:cNvPicPr>
          <p:nvPr/>
        </p:nvPicPr>
        <p:blipFill>
          <a:blip r:embed="rId2"/>
          <a:stretch>
            <a:fillRect/>
          </a:stretch>
        </p:blipFill>
        <p:spPr>
          <a:xfrm>
            <a:off x="107004" y="3897455"/>
            <a:ext cx="288300" cy="285194"/>
          </a:xfrm>
          <a:prstGeom prst="rect">
            <a:avLst/>
          </a:prstGeom>
        </p:spPr>
      </p:pic>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1.6 / Embrac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4770559" y="924704"/>
            <a:ext cx="4258867" cy="1976358"/>
          </a:xfrm>
          <a:prstGeom prst="rect">
            <a:avLst/>
          </a:prstGeom>
          <a:noFill/>
          <a:ln w="19050">
            <a:solidFill>
              <a:schemeClr val="tx2">
                <a:lumMod val="75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Environment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troll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managed environments through defined process and manua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orkflow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nfiguration 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Self Service 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service virtualization.</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emplate for  environment requirement gathering from Users/Test Team.</a:t>
            </a:r>
          </a:p>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est Data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Data is created using scripts during the test design ph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4758487" y="650246"/>
            <a:ext cx="4270939" cy="255837"/>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TextBox 14"/>
          <p:cNvSpPr txBox="1"/>
          <p:nvPr/>
        </p:nvSpPr>
        <p:spPr>
          <a:xfrm>
            <a:off x="5162526" y="631625"/>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316039" y="3880165"/>
            <a:ext cx="4342557" cy="60496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CA Service Desk used for ITIL Configurations Items.</a:t>
            </a:r>
          </a:p>
          <a:p>
            <a:pPr marL="171450" indent="-171450">
              <a:buFont typeface="Wingdings" panose="05000000000000000000" pitchFamily="2" charset="2"/>
              <a:buChar char="q"/>
            </a:pP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Environment Management is performed by Operations.</a:t>
            </a:r>
          </a:p>
        </p:txBody>
      </p:sp>
      <p:sp>
        <p:nvSpPr>
          <p:cNvPr id="17" name="TextBox 16"/>
          <p:cNvSpPr txBox="1"/>
          <p:nvPr/>
        </p:nvSpPr>
        <p:spPr>
          <a:xfrm>
            <a:off x="107004" y="3588534"/>
            <a:ext cx="4551591"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9" name="Rectangle 1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0"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4770559" y="3010940"/>
            <a:ext cx="4257978" cy="252094"/>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2" name="TextBox 21"/>
          <p:cNvSpPr txBox="1"/>
          <p:nvPr/>
        </p:nvSpPr>
        <p:spPr>
          <a:xfrm>
            <a:off x="4792163" y="3025209"/>
            <a:ext cx="2415871" cy="284901"/>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commendation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p:cNvSpPr/>
          <p:nvPr/>
        </p:nvSpPr>
        <p:spPr>
          <a:xfrm>
            <a:off x="4803889" y="3305575"/>
            <a:ext cx="4225537" cy="1179557"/>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sibl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Environment configuration and provisioning.</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self service enablement towards booking and scheduling – Leverag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harePoint/Confluence and similar other tool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Recip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as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provisioning and build for quicker turnaround</a:t>
            </a:r>
          </a:p>
        </p:txBody>
      </p:sp>
      <p:graphicFrame>
        <p:nvGraphicFramePr>
          <p:cNvPr id="25" name="Chart 24"/>
          <p:cNvGraphicFramePr>
            <a:graphicFrameLocks/>
          </p:cNvGraphicFramePr>
          <p:nvPr>
            <p:extLst>
              <p:ext uri="{D42A27DB-BD31-4B8C-83A1-F6EECF244321}">
                <p14:modId xmlns:p14="http://schemas.microsoft.com/office/powerpoint/2010/main" val="2205571252"/>
              </p:ext>
            </p:extLst>
          </p:nvPr>
        </p:nvGraphicFramePr>
        <p:xfrm>
          <a:off x="86324" y="639646"/>
          <a:ext cx="4572271" cy="27937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695031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Project Current Status</a:t>
            </a:r>
            <a:endParaRPr lang="en-US" dirty="0"/>
          </a:p>
        </p:txBody>
      </p:sp>
      <p:graphicFrame>
        <p:nvGraphicFramePr>
          <p:cNvPr id="5" name="Group 135"/>
          <p:cNvGraphicFramePr>
            <a:graphicFrameLocks noGrp="1"/>
          </p:cNvGraphicFramePr>
          <p:nvPr>
            <p:custDataLst>
              <p:tags r:id="rId1"/>
            </p:custDataLst>
            <p:extLst>
              <p:ext uri="{D42A27DB-BD31-4B8C-83A1-F6EECF244321}">
                <p14:modId xmlns:p14="http://schemas.microsoft.com/office/powerpoint/2010/main" val="2983602377"/>
              </p:ext>
            </p:extLst>
          </p:nvPr>
        </p:nvGraphicFramePr>
        <p:xfrm>
          <a:off x="214426" y="948062"/>
          <a:ext cx="8706289" cy="2688272"/>
        </p:xfrm>
        <a:graphic>
          <a:graphicData uri="http://schemas.openxmlformats.org/drawingml/2006/table">
            <a:tbl>
              <a:tblPr/>
              <a:tblGrid>
                <a:gridCol w="2127286"/>
                <a:gridCol w="844905"/>
                <a:gridCol w="968826"/>
                <a:gridCol w="822376"/>
                <a:gridCol w="3942896"/>
              </a:tblGrid>
              <a:tr h="495546">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1100" b="1"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Phases</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1100" b="1"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Start Date</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1100" b="1"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End Date</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1100" b="1"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Status</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1100" b="1"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Details</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solidFill>
                      <a:schemeClr val="accent1"/>
                    </a:solidFill>
                  </a:tcPr>
                </a:tc>
              </a:tr>
              <a:tr h="484210">
                <a:tc>
                  <a:txBody>
                    <a:bodyPr/>
                    <a:lstStyle/>
                    <a:p>
                      <a:pPr marL="0" marR="0" lvl="0" indent="0" algn="l" defTabSz="914400" rtl="0" eaLnBrk="1" fontAlgn="base" latinLnBrk="0" hangingPunct="1">
                        <a:lnSpc>
                          <a:spcPct val="100000"/>
                        </a:lnSpc>
                        <a:spcBef>
                          <a:spcPct val="0"/>
                        </a:spcBef>
                        <a:spcAft>
                          <a:spcPts val="200"/>
                        </a:spcAft>
                        <a:buClrTx/>
                        <a:buSzTx/>
                        <a:buFontTx/>
                        <a:buNone/>
                        <a:tabLst/>
                        <a:defRPr/>
                      </a:pPr>
                      <a:r>
                        <a:rPr kumimoji="1" lang="en-US" alt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Phase 0 – Pre Assessment/Planning</a:t>
                      </a:r>
                      <a:endParaRPr kumimoji="1" 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endParaRPr>
                    </a:p>
                  </a:txBody>
                  <a:tcPr marL="7143" marR="7143" marT="7140" marB="7140"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2/05/2018</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2/05/2018</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COMPLETED</a:t>
                      </a:r>
                    </a:p>
                  </a:txBody>
                  <a:tcPr marL="45717" marR="45717" marT="22815" marB="22815"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Pre-Assessment/Planning completed</a:t>
                      </a:r>
                    </a:p>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Assessment Questionnaire</a:t>
                      </a:r>
                    </a:p>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Scope finalized</a:t>
                      </a:r>
                      <a:endParaRPr kumimoji="1" lang="en-US" sz="800" b="0" i="0" u="none" strike="noStrike" kern="1200" cap="none" normalizeH="0" baseline="0" dirty="0" smtClean="0">
                        <a:ln>
                          <a:noFill/>
                        </a:ln>
                        <a:solidFill>
                          <a:srgbClr val="00B050"/>
                        </a:solidFill>
                        <a:effectLst/>
                        <a:latin typeface="+mj-lt"/>
                        <a:ea typeface="ＭＳ Ｐゴシック" pitchFamily="34" charset="-128"/>
                        <a:cs typeface="Arial" panose="020B0604020202020204" pitchFamily="34" charset="0"/>
                      </a:endParaRPr>
                    </a:p>
                  </a:txBody>
                  <a:tcPr marL="7143" marR="7143" marT="7139" marB="7139"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r>
              <a:tr h="726266">
                <a:tc>
                  <a:txBody>
                    <a:bodyPr/>
                    <a:lstStyle/>
                    <a:p>
                      <a:pPr marL="0" marR="0" lvl="0" indent="0" algn="l" defTabSz="914400" rtl="0" eaLnBrk="1" fontAlgn="base" latinLnBrk="0" hangingPunct="1">
                        <a:lnSpc>
                          <a:spcPct val="100000"/>
                        </a:lnSpc>
                        <a:spcBef>
                          <a:spcPct val="0"/>
                        </a:spcBef>
                        <a:spcAft>
                          <a:spcPts val="200"/>
                        </a:spcAft>
                        <a:buClrTx/>
                        <a:buSzTx/>
                        <a:buFontTx/>
                        <a:buNone/>
                        <a:tabLst/>
                        <a:defRPr/>
                      </a:pPr>
                      <a:r>
                        <a:rPr kumimoji="1" lang="en-US" alt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Phase 1 – Data Gathering &amp; Baselining</a:t>
                      </a:r>
                    </a:p>
                  </a:txBody>
                  <a:tcPr marL="7143" marR="7143" marT="7140" marB="7140"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2/06/2018</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2/16/2018</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kern="1200" cap="none" normalizeH="0" baseline="0" dirty="0" smtClean="0">
                          <a:ln>
                            <a:noFill/>
                          </a:ln>
                          <a:solidFill>
                            <a:schemeClr val="tx1"/>
                          </a:solidFill>
                          <a:effectLst/>
                          <a:latin typeface="+mn-lt"/>
                          <a:ea typeface="ＭＳ Ｐゴシック" pitchFamily="34" charset="-128"/>
                          <a:cs typeface="Arial" panose="020B0604020202020204" pitchFamily="34" charset="0"/>
                        </a:rPr>
                        <a:t>COMPLETED</a:t>
                      </a:r>
                      <a:endPar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endParaRPr>
                    </a:p>
                  </a:txBody>
                  <a:tcPr marL="45717" marR="45717" marT="22815" marB="22815"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n-lt"/>
                          <a:ea typeface="ＭＳ Ｐゴシック" pitchFamily="34" charset="-128"/>
                          <a:cs typeface="Arial" panose="020B0604020202020204" pitchFamily="34" charset="0"/>
                        </a:rPr>
                        <a:t>Kickoff on 02/05/2018</a:t>
                      </a:r>
                    </a:p>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n-lt"/>
                          <a:ea typeface="ＭＳ Ｐゴシック" pitchFamily="34" charset="-128"/>
                          <a:cs typeface="Arial" panose="020B0604020202020204" pitchFamily="34" charset="0"/>
                        </a:rPr>
                        <a:t>5/5 Interviews completed for Week 1</a:t>
                      </a:r>
                    </a:p>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n-lt"/>
                          <a:ea typeface="ＭＳ Ｐゴシック" pitchFamily="34" charset="-128"/>
                          <a:cs typeface="Arial" panose="020B0604020202020204" pitchFamily="34" charset="0"/>
                        </a:rPr>
                        <a:t>6/6 Interviews completed for Week 2</a:t>
                      </a:r>
                    </a:p>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n-lt"/>
                          <a:ea typeface="ＭＳ Ｐゴシック" pitchFamily="34" charset="-128"/>
                          <a:cs typeface="Arial" panose="020B0604020202020204" pitchFamily="34" charset="0"/>
                        </a:rPr>
                        <a:t>Captured the findings</a:t>
                      </a:r>
                    </a:p>
                  </a:txBody>
                  <a:tcPr marL="7143" marR="7143" marT="7140" marB="7140"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r>
              <a:tr h="290506">
                <a:tc>
                  <a:txBody>
                    <a:bodyPr/>
                    <a:lstStyle/>
                    <a:p>
                      <a:pPr marL="0" marR="0" lvl="0" indent="0" algn="l" defTabSz="914400" rtl="0" eaLnBrk="1" fontAlgn="base" latinLnBrk="0" hangingPunct="1">
                        <a:lnSpc>
                          <a:spcPct val="100000"/>
                        </a:lnSpc>
                        <a:spcBef>
                          <a:spcPct val="0"/>
                        </a:spcBef>
                        <a:spcAft>
                          <a:spcPts val="200"/>
                        </a:spcAft>
                        <a:buClrTx/>
                        <a:buSzTx/>
                        <a:buFontTx/>
                        <a:buNone/>
                        <a:tabLst/>
                        <a:defRPr/>
                      </a:pPr>
                      <a:r>
                        <a:rPr kumimoji="1" lang="en-US" alt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Phase 2 – Gap Analysis</a:t>
                      </a:r>
                    </a:p>
                  </a:txBody>
                  <a:tcPr marL="7143" marR="7143" marT="7140" marB="7140"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2/19/2018</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3/09/2018</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kern="1200" cap="none" normalizeH="0" baseline="0" dirty="0" smtClean="0">
                          <a:ln>
                            <a:noFill/>
                          </a:ln>
                          <a:solidFill>
                            <a:schemeClr val="tx1"/>
                          </a:solidFill>
                          <a:effectLst/>
                          <a:latin typeface="+mn-lt"/>
                          <a:ea typeface="ＭＳ Ｐゴシック" pitchFamily="34" charset="-128"/>
                          <a:cs typeface="Arial" panose="020B0604020202020204" pitchFamily="34" charset="0"/>
                        </a:rPr>
                        <a:t>COMPLETED</a:t>
                      </a:r>
                    </a:p>
                  </a:txBody>
                  <a:tcPr marL="45717" marR="45717" marT="22815" marB="22815"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rgbClr val="FF0000"/>
                          </a:solidFill>
                          <a:effectLst/>
                          <a:latin typeface="+mn-lt"/>
                          <a:ea typeface="ＭＳ Ｐゴシック" pitchFamily="34" charset="-128"/>
                          <a:cs typeface="Arial" panose="020B0604020202020204" pitchFamily="34" charset="0"/>
                        </a:rPr>
                        <a:t>Current SDLC Tools State documented for all applications</a:t>
                      </a:r>
                    </a:p>
                    <a:p>
                      <a:pPr marL="282575" marR="0" lvl="0" indent="-17145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rgbClr val="FF0000"/>
                          </a:solidFill>
                          <a:effectLst/>
                          <a:latin typeface="+mn-lt"/>
                          <a:ea typeface="ＭＳ Ｐゴシック" pitchFamily="34" charset="-128"/>
                          <a:cs typeface="Arial" panose="020B0604020202020204" pitchFamily="34" charset="0"/>
                        </a:rPr>
                        <a:t>Target State Defined for all selected applications</a:t>
                      </a:r>
                    </a:p>
                  </a:txBody>
                  <a:tcPr marL="7143" marR="7143" marT="7140" marB="7140"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r>
              <a:tr h="691744">
                <a:tc>
                  <a:txBody>
                    <a:bodyPr/>
                    <a:lstStyle/>
                    <a:p>
                      <a:pPr marL="0" marR="0" lvl="0" indent="0" algn="l" defTabSz="914400" rtl="0" eaLnBrk="1" fontAlgn="base" latinLnBrk="0" hangingPunct="1">
                        <a:lnSpc>
                          <a:spcPct val="100000"/>
                        </a:lnSpc>
                        <a:spcBef>
                          <a:spcPct val="0"/>
                        </a:spcBef>
                        <a:spcAft>
                          <a:spcPts val="200"/>
                        </a:spcAft>
                        <a:buClrTx/>
                        <a:buSzTx/>
                        <a:buFontTx/>
                        <a:buNone/>
                        <a:tabLst/>
                        <a:defRPr/>
                      </a:pPr>
                      <a:r>
                        <a:rPr kumimoji="1" lang="en-US" alt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Phase 3 – Prioritize and Recommend</a:t>
                      </a:r>
                    </a:p>
                  </a:txBody>
                  <a:tcPr marL="7143" marR="7143" marT="7140" marB="7140"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3/05/2018</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cap="none" normalizeH="0" baseline="0" dirty="0" smtClean="0">
                          <a:ln>
                            <a:noFill/>
                          </a:ln>
                          <a:solidFill>
                            <a:schemeClr val="tx1"/>
                          </a:solidFill>
                          <a:effectLst/>
                          <a:latin typeface="+mj-lt"/>
                          <a:ea typeface="ＭＳ Ｐゴシック" pitchFamily="34" charset="-128"/>
                          <a:cs typeface="Arial" panose="020B0604020202020204" pitchFamily="34" charset="0"/>
                        </a:rPr>
                        <a:t>03/16/2017</a:t>
                      </a:r>
                    </a:p>
                  </a:txBody>
                  <a:tcPr marL="68585" marR="68585" marT="29623" marB="29623"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212183"/>
                        </a:buClr>
                        <a:buSzTx/>
                        <a:buFont typeface="Wingdings" pitchFamily="2" charset="2"/>
                        <a:buNone/>
                        <a:tabLst/>
                      </a:pPr>
                      <a:r>
                        <a:rPr kumimoji="1" lang="en-US" sz="800" b="0" i="0" u="none" strike="noStrike" kern="1200" cap="none" normalizeH="0" baseline="0" dirty="0" smtClean="0">
                          <a:ln>
                            <a:noFill/>
                          </a:ln>
                          <a:solidFill>
                            <a:schemeClr val="tx1"/>
                          </a:solidFill>
                          <a:effectLst/>
                          <a:latin typeface="+mn-lt"/>
                          <a:ea typeface="ＭＳ Ｐゴシック" pitchFamily="34" charset="-128"/>
                          <a:cs typeface="Arial" panose="020B0604020202020204" pitchFamily="34" charset="0"/>
                        </a:rPr>
                        <a:t>COMPLETED</a:t>
                      </a:r>
                    </a:p>
                  </a:txBody>
                  <a:tcPr marL="45717" marR="45717" marT="22815" marB="22815"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c>
                  <a:txBody>
                    <a:bodyPr/>
                    <a:lstStyle/>
                    <a:p>
                      <a:pPr marL="339725" marR="0" lvl="0" indent="-228600" algn="l" defTabSz="914400" rtl="0" eaLnBrk="1" fontAlgn="base" latinLnBrk="0" hangingPunct="1">
                        <a:lnSpc>
                          <a:spcPct val="100000"/>
                        </a:lnSpc>
                        <a:spcBef>
                          <a:spcPct val="20000"/>
                        </a:spcBef>
                        <a:spcAft>
                          <a:spcPct val="0"/>
                        </a:spcAft>
                        <a:buClr>
                          <a:srgbClr val="212183"/>
                        </a:buClr>
                        <a:buSzTx/>
                        <a:buFont typeface="Wingdings" panose="05000000000000000000" pitchFamily="2" charset="2"/>
                        <a:buChar char="ü"/>
                        <a:tabLst/>
                        <a:defRPr/>
                      </a:pPr>
                      <a:r>
                        <a:rPr kumimoji="1" 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rPr>
                        <a:t>Recommendation and implementation roadmap</a:t>
                      </a:r>
                      <a:endParaRPr kumimoji="1" lang="en-US" sz="800" b="0" i="0" u="none" strike="noStrike" kern="1200" cap="none" normalizeH="0" baseline="0" dirty="0" smtClean="0">
                        <a:ln>
                          <a:noFill/>
                        </a:ln>
                        <a:solidFill>
                          <a:schemeClr val="tx1"/>
                        </a:solidFill>
                        <a:effectLst/>
                        <a:latin typeface="+mj-lt"/>
                        <a:ea typeface="ＭＳ Ｐゴシック" pitchFamily="34" charset="-128"/>
                        <a:cs typeface="Arial" panose="020B0604020202020204" pitchFamily="34" charset="0"/>
                      </a:endParaRPr>
                    </a:p>
                  </a:txBody>
                  <a:tcPr marL="7143" marR="7143" marT="7140" marB="7140" anchor="ctr" horzOverflow="overflow">
                    <a:lnL w="3175" cap="flat" cmpd="sng" algn="ctr">
                      <a:solidFill>
                        <a:srgbClr val="81A5BF"/>
                      </a:solidFill>
                      <a:prstDash val="solid"/>
                      <a:round/>
                      <a:headEnd type="none" w="med" len="med"/>
                      <a:tailEnd type="none" w="med" len="med"/>
                    </a:lnL>
                    <a:lnR w="3175" cap="flat" cmpd="sng" algn="ctr">
                      <a:solidFill>
                        <a:srgbClr val="81A5BF"/>
                      </a:solidFill>
                      <a:prstDash val="solid"/>
                      <a:round/>
                      <a:headEnd type="none" w="med" len="med"/>
                      <a:tailEnd type="none" w="med" len="med"/>
                    </a:lnR>
                    <a:lnT w="3175" cap="flat" cmpd="sng" algn="ctr">
                      <a:solidFill>
                        <a:srgbClr val="81A5BF"/>
                      </a:solidFill>
                      <a:prstDash val="solid"/>
                      <a:round/>
                      <a:headEnd type="none" w="med" len="med"/>
                      <a:tailEnd type="none" w="med" len="med"/>
                    </a:lnT>
                    <a:lnB w="3175" cap="flat" cmpd="sng" algn="ctr">
                      <a:solidFill>
                        <a:srgbClr val="81A5BF"/>
                      </a:solidFill>
                      <a:prstDash val="solid"/>
                      <a:round/>
                      <a:headEnd type="none" w="med" len="med"/>
                      <a:tailEnd type="none" w="med" len="med"/>
                    </a:lnB>
                    <a:lnTlToBr>
                      <a:noFill/>
                    </a:lnTlToBr>
                    <a:lnBlToTr>
                      <a:noFill/>
                    </a:lnBlToTr>
                    <a:noFill/>
                  </a:tcPr>
                </a:tc>
              </a:tr>
            </a:tbl>
          </a:graphicData>
        </a:graphic>
      </p:graphicFrame>
      <p:sp>
        <p:nvSpPr>
          <p:cNvPr id="6" name="Rectangle 5"/>
          <p:cNvSpPr/>
          <p:nvPr/>
        </p:nvSpPr>
        <p:spPr>
          <a:xfrm>
            <a:off x="1631514" y="4682892"/>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7"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1514" y="4789272"/>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18609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Current SDLC Tool State</a:t>
            </a:r>
            <a:endParaRPr lang="en-US" dirty="0"/>
          </a:p>
        </p:txBody>
      </p:sp>
      <p:grpSp>
        <p:nvGrpSpPr>
          <p:cNvPr id="4" name="Group 3"/>
          <p:cNvGrpSpPr/>
          <p:nvPr/>
        </p:nvGrpSpPr>
        <p:grpSpPr>
          <a:xfrm>
            <a:off x="210615" y="586983"/>
            <a:ext cx="5597916" cy="3370364"/>
            <a:chOff x="231182" y="773376"/>
            <a:chExt cx="6931618" cy="4597398"/>
          </a:xfrm>
        </p:grpSpPr>
        <p:graphicFrame>
          <p:nvGraphicFramePr>
            <p:cNvPr id="5" name="Diagram 4"/>
            <p:cNvGraphicFramePr/>
            <p:nvPr>
              <p:extLst>
                <p:ext uri="{D42A27DB-BD31-4B8C-83A1-F6EECF244321}">
                  <p14:modId xmlns:p14="http://schemas.microsoft.com/office/powerpoint/2010/main" val="3010923807"/>
                </p:ext>
              </p:extLst>
            </p:nvPr>
          </p:nvGraphicFramePr>
          <p:xfrm>
            <a:off x="231182" y="773376"/>
            <a:ext cx="6931618" cy="45973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71771" y="2316655"/>
              <a:ext cx="6214637" cy="2461499"/>
              <a:chOff x="271771" y="2316655"/>
              <a:chExt cx="6214637" cy="2461499"/>
            </a:xfrm>
          </p:grpSpPr>
          <p:pic>
            <p:nvPicPr>
              <p:cNvPr id="9" name="Picture 1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17370" y="3226694"/>
                <a:ext cx="342900" cy="17747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150243" y="2650191"/>
                <a:ext cx="24014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1771" y="2316655"/>
                <a:ext cx="27432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298433" y="4139485"/>
                <a:ext cx="980776" cy="17809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6"/>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905808" y="4557254"/>
                <a:ext cx="357103" cy="2209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8"/>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113864" y="2338450"/>
                <a:ext cx="372544" cy="2782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p:cNvGrpSpPr/>
          <p:nvPr/>
        </p:nvGrpSpPr>
        <p:grpSpPr>
          <a:xfrm>
            <a:off x="7769442" y="3698473"/>
            <a:ext cx="1209675" cy="866542"/>
            <a:chOff x="7696200" y="2494526"/>
            <a:chExt cx="1209675" cy="866542"/>
          </a:xfrm>
        </p:grpSpPr>
        <p:grpSp>
          <p:nvGrpSpPr>
            <p:cNvPr id="21" name="Group 20"/>
            <p:cNvGrpSpPr/>
            <p:nvPr/>
          </p:nvGrpSpPr>
          <p:grpSpPr>
            <a:xfrm>
              <a:off x="7696200" y="2494526"/>
              <a:ext cx="1038225" cy="230832"/>
              <a:chOff x="7696200" y="2494526"/>
              <a:chExt cx="1038225" cy="230832"/>
            </a:xfrm>
          </p:grpSpPr>
          <p:sp>
            <p:nvSpPr>
              <p:cNvPr id="31" name="Rounded Rectangle 30"/>
              <p:cNvSpPr/>
              <p:nvPr/>
            </p:nvSpPr>
            <p:spPr>
              <a:xfrm>
                <a:off x="7696200" y="2543865"/>
                <a:ext cx="228600" cy="1524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7896225" y="2494526"/>
                <a:ext cx="838200" cy="230832"/>
              </a:xfrm>
              <a:prstGeom prst="rect">
                <a:avLst/>
              </a:prstGeom>
              <a:noFill/>
            </p:spPr>
            <p:txBody>
              <a:bodyPr wrap="square" rtlCol="0">
                <a:spAutoFit/>
              </a:bodyPr>
              <a:lstStyle/>
              <a:p>
                <a:r>
                  <a:rPr lang="en-US" sz="900" dirty="0" smtClean="0"/>
                  <a:t>Manual Task</a:t>
                </a:r>
                <a:endParaRPr lang="en-US" sz="900" dirty="0"/>
              </a:p>
            </p:txBody>
          </p:sp>
        </p:grpSp>
        <p:grpSp>
          <p:nvGrpSpPr>
            <p:cNvPr id="22" name="Group 21"/>
            <p:cNvGrpSpPr/>
            <p:nvPr/>
          </p:nvGrpSpPr>
          <p:grpSpPr>
            <a:xfrm>
              <a:off x="7696200" y="2705111"/>
              <a:ext cx="1038225" cy="230832"/>
              <a:chOff x="7696200" y="2705111"/>
              <a:chExt cx="1038225" cy="230832"/>
            </a:xfrm>
          </p:grpSpPr>
          <p:sp>
            <p:nvSpPr>
              <p:cNvPr id="29" name="Rounded Rectangle 28"/>
              <p:cNvSpPr/>
              <p:nvPr/>
            </p:nvSpPr>
            <p:spPr>
              <a:xfrm>
                <a:off x="7696200" y="2754450"/>
                <a:ext cx="228600" cy="1524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7896225" y="2705111"/>
                <a:ext cx="838200" cy="230832"/>
              </a:xfrm>
              <a:prstGeom prst="rect">
                <a:avLst/>
              </a:prstGeom>
              <a:noFill/>
            </p:spPr>
            <p:txBody>
              <a:bodyPr wrap="square" rtlCol="0">
                <a:spAutoFit/>
              </a:bodyPr>
              <a:lstStyle/>
              <a:p>
                <a:r>
                  <a:rPr lang="en-US" sz="900" dirty="0" smtClean="0"/>
                  <a:t>Tool driven</a:t>
                </a:r>
                <a:endParaRPr lang="en-US" sz="900" dirty="0"/>
              </a:p>
            </p:txBody>
          </p:sp>
        </p:grpSp>
        <p:grpSp>
          <p:nvGrpSpPr>
            <p:cNvPr id="23" name="Group 22"/>
            <p:cNvGrpSpPr/>
            <p:nvPr/>
          </p:nvGrpSpPr>
          <p:grpSpPr>
            <a:xfrm>
              <a:off x="7696200" y="2926417"/>
              <a:ext cx="1209675" cy="230832"/>
              <a:chOff x="7696200" y="2926417"/>
              <a:chExt cx="1209675" cy="230832"/>
            </a:xfrm>
          </p:grpSpPr>
          <p:sp>
            <p:nvSpPr>
              <p:cNvPr id="27" name="Rounded Rectangle 26"/>
              <p:cNvSpPr/>
              <p:nvPr/>
            </p:nvSpPr>
            <p:spPr>
              <a:xfrm>
                <a:off x="7696200" y="2965035"/>
                <a:ext cx="22860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7896225" y="2926417"/>
                <a:ext cx="1009650" cy="230832"/>
              </a:xfrm>
              <a:prstGeom prst="rect">
                <a:avLst/>
              </a:prstGeom>
              <a:noFill/>
            </p:spPr>
            <p:txBody>
              <a:bodyPr wrap="square" rtlCol="0">
                <a:spAutoFit/>
              </a:bodyPr>
              <a:lstStyle/>
              <a:p>
                <a:r>
                  <a:rPr lang="en-US" sz="900" dirty="0" smtClean="0"/>
                  <a:t>Non automated</a:t>
                </a:r>
                <a:endParaRPr lang="en-US" sz="900" dirty="0"/>
              </a:p>
            </p:txBody>
          </p:sp>
        </p:grpSp>
        <p:grpSp>
          <p:nvGrpSpPr>
            <p:cNvPr id="24" name="Group 23"/>
            <p:cNvGrpSpPr/>
            <p:nvPr/>
          </p:nvGrpSpPr>
          <p:grpSpPr>
            <a:xfrm>
              <a:off x="7696200" y="3130236"/>
              <a:ext cx="1209675" cy="230832"/>
              <a:chOff x="7696200" y="3130236"/>
              <a:chExt cx="1209675" cy="230832"/>
            </a:xfrm>
          </p:grpSpPr>
          <p:sp>
            <p:nvSpPr>
              <p:cNvPr id="25" name="Rounded Rectangle 24"/>
              <p:cNvSpPr/>
              <p:nvPr/>
            </p:nvSpPr>
            <p:spPr>
              <a:xfrm>
                <a:off x="7696200" y="3175620"/>
                <a:ext cx="228600" cy="1524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896225" y="3130236"/>
                <a:ext cx="1009650" cy="230832"/>
              </a:xfrm>
              <a:prstGeom prst="rect">
                <a:avLst/>
              </a:prstGeom>
              <a:noFill/>
            </p:spPr>
            <p:txBody>
              <a:bodyPr wrap="square" rtlCol="0">
                <a:spAutoFit/>
              </a:bodyPr>
              <a:lstStyle/>
              <a:p>
                <a:r>
                  <a:rPr lang="en-US" sz="900" dirty="0" smtClean="0"/>
                  <a:t>Out of Scope</a:t>
                </a:r>
                <a:endParaRPr lang="en-US" sz="900" dirty="0"/>
              </a:p>
            </p:txBody>
          </p:sp>
        </p:grpSp>
      </p:grpSp>
      <p:sp>
        <p:nvSpPr>
          <p:cNvPr id="33" name="Rounded Rectangle 32"/>
          <p:cNvSpPr/>
          <p:nvPr/>
        </p:nvSpPr>
        <p:spPr>
          <a:xfrm>
            <a:off x="3622741" y="1300177"/>
            <a:ext cx="1021829" cy="2607832"/>
          </a:xfrm>
          <a:prstGeom prst="roundRect">
            <a:avLst>
              <a:gd name="adj" fmla="val 8854"/>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4811709" y="643090"/>
            <a:ext cx="996822" cy="1673147"/>
          </a:xfrm>
          <a:prstGeom prst="roundRect">
            <a:avLst>
              <a:gd name="adj" fmla="val 8854"/>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679745" y="3990778"/>
            <a:ext cx="1071964" cy="369332"/>
          </a:xfrm>
          <a:prstGeom prst="rect">
            <a:avLst/>
          </a:prstGeom>
          <a:noFill/>
        </p:spPr>
        <p:txBody>
          <a:bodyPr wrap="square" rtlCol="0">
            <a:spAutoFit/>
          </a:bodyPr>
          <a:lstStyle/>
          <a:p>
            <a:pPr algn="ctr"/>
            <a:r>
              <a:rPr lang="en-US" sz="900" dirty="0" smtClean="0"/>
              <a:t>Test Case/Data Management</a:t>
            </a:r>
            <a:endParaRPr lang="en-US" sz="900" dirty="0"/>
          </a:p>
        </p:txBody>
      </p:sp>
      <p:sp>
        <p:nvSpPr>
          <p:cNvPr id="36" name="TextBox 35"/>
          <p:cNvSpPr txBox="1"/>
          <p:nvPr/>
        </p:nvSpPr>
        <p:spPr>
          <a:xfrm>
            <a:off x="4798013" y="2445744"/>
            <a:ext cx="1071964" cy="369332"/>
          </a:xfrm>
          <a:prstGeom prst="rect">
            <a:avLst/>
          </a:prstGeom>
          <a:noFill/>
        </p:spPr>
        <p:txBody>
          <a:bodyPr wrap="square" rtlCol="0">
            <a:spAutoFit/>
          </a:bodyPr>
          <a:lstStyle/>
          <a:p>
            <a:pPr algn="ctr"/>
            <a:r>
              <a:rPr lang="en-US" sz="900" dirty="0" smtClean="0"/>
              <a:t>CMDB/Change Management</a:t>
            </a:r>
            <a:endParaRPr lang="en-US" sz="900" dirty="0"/>
          </a:p>
        </p:txBody>
      </p:sp>
      <p:pic>
        <p:nvPicPr>
          <p:cNvPr id="39" name="Picture 12"/>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2577613" y="1077154"/>
            <a:ext cx="293496" cy="15848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1477247" y="1045248"/>
            <a:ext cx="704067" cy="16001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893954" y="1398946"/>
            <a:ext cx="872175" cy="215444"/>
          </a:xfrm>
          <a:prstGeom prst="rect">
            <a:avLst/>
          </a:prstGeom>
          <a:noFill/>
        </p:spPr>
        <p:txBody>
          <a:bodyPr wrap="square" rtlCol="0">
            <a:spAutoFit/>
          </a:bodyPr>
          <a:lstStyle/>
          <a:p>
            <a:r>
              <a:rPr lang="en-US" sz="800" b="1" dirty="0" smtClean="0"/>
              <a:t>Cloud Control</a:t>
            </a:r>
            <a:endParaRPr lang="en-US" sz="800" b="1" dirty="0"/>
          </a:p>
        </p:txBody>
      </p:sp>
      <p:pic>
        <p:nvPicPr>
          <p:cNvPr id="43" name="Picture 28"/>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5212328" y="1932938"/>
            <a:ext cx="597587" cy="21636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999767" y="1224661"/>
            <a:ext cx="174203" cy="133237"/>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5124286" y="1679640"/>
            <a:ext cx="745691" cy="215444"/>
          </a:xfrm>
          <a:prstGeom prst="rect">
            <a:avLst/>
          </a:prstGeom>
          <a:noFill/>
        </p:spPr>
        <p:txBody>
          <a:bodyPr wrap="square" rtlCol="0">
            <a:spAutoFit/>
          </a:bodyPr>
          <a:lstStyle/>
          <a:p>
            <a:r>
              <a:rPr lang="en-US" sz="800" b="1" dirty="0" smtClean="0"/>
              <a:t>Barcelona</a:t>
            </a:r>
            <a:endParaRPr lang="en-US" sz="800" b="1" dirty="0"/>
          </a:p>
        </p:txBody>
      </p:sp>
      <p:sp>
        <p:nvSpPr>
          <p:cNvPr id="48" name="Rectangle 47"/>
          <p:cNvSpPr/>
          <p:nvPr/>
        </p:nvSpPr>
        <p:spPr>
          <a:xfrm>
            <a:off x="5908185" y="711001"/>
            <a:ext cx="3103248" cy="2538616"/>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marL="171450" indent="-171450">
              <a:buFont typeface="Wingdings" panose="05000000000000000000" pitchFamily="2" charset="2"/>
              <a:buChar char="ü"/>
            </a:pPr>
            <a:r>
              <a:rPr lang="en-US" sz="1100" dirty="0"/>
              <a:t>Unit Test happens before code review.</a:t>
            </a:r>
          </a:p>
          <a:p>
            <a:pPr marL="171450" indent="-171450">
              <a:buFont typeface="Wingdings" panose="05000000000000000000" pitchFamily="2" charset="2"/>
              <a:buChar char="ü"/>
            </a:pPr>
            <a:r>
              <a:rPr lang="en-US" sz="1100" dirty="0"/>
              <a:t>Back end (COBOL) use </a:t>
            </a:r>
            <a:r>
              <a:rPr lang="en-US" sz="1100" dirty="0" err="1"/>
              <a:t>Jmeter</a:t>
            </a:r>
            <a:r>
              <a:rPr lang="en-US" sz="1100" dirty="0"/>
              <a:t> for Unit Testing.</a:t>
            </a:r>
          </a:p>
          <a:p>
            <a:pPr marL="171450" indent="-171450">
              <a:buFont typeface="Wingdings" panose="05000000000000000000" pitchFamily="2" charset="2"/>
              <a:buChar char="ü"/>
            </a:pPr>
            <a:r>
              <a:rPr lang="en-US" sz="1100" dirty="0" smtClean="0"/>
              <a:t>SCM and Release Team are same</a:t>
            </a:r>
          </a:p>
          <a:p>
            <a:pPr marL="171450" indent="-171450">
              <a:buFont typeface="Wingdings" panose="05000000000000000000" pitchFamily="2" charset="2"/>
              <a:buChar char="ü"/>
            </a:pPr>
            <a:r>
              <a:rPr lang="en-US" sz="1100" dirty="0" smtClean="0"/>
              <a:t>2 </a:t>
            </a:r>
            <a:r>
              <a:rPr lang="en-US" sz="1100" dirty="0" err="1" smtClean="0"/>
              <a:t>Hrs</a:t>
            </a:r>
            <a:r>
              <a:rPr lang="en-US" sz="1100" dirty="0" smtClean="0"/>
              <a:t> spent in verifying Branches, Merging </a:t>
            </a:r>
            <a:br>
              <a:rPr lang="en-US" sz="1100" dirty="0" smtClean="0"/>
            </a:br>
            <a:r>
              <a:rPr lang="en-US" sz="1100" dirty="0" smtClean="0"/>
              <a:t>&amp; Tagging.</a:t>
            </a:r>
          </a:p>
          <a:p>
            <a:pPr marL="171450" indent="-171450">
              <a:buFont typeface="Wingdings" panose="05000000000000000000" pitchFamily="2" charset="2"/>
              <a:buChar char="ü"/>
            </a:pPr>
            <a:r>
              <a:rPr lang="en-US" sz="1100" dirty="0" smtClean="0"/>
              <a:t>8 </a:t>
            </a:r>
            <a:r>
              <a:rPr lang="en-US" sz="1100" dirty="0" err="1" smtClean="0"/>
              <a:t>Hrs</a:t>
            </a:r>
            <a:r>
              <a:rPr lang="en-US" sz="1100" dirty="0" smtClean="0"/>
              <a:t> to build the application.</a:t>
            </a:r>
          </a:p>
          <a:p>
            <a:pPr marL="171450" indent="-171450">
              <a:buFont typeface="Wingdings" panose="05000000000000000000" pitchFamily="2" charset="2"/>
              <a:buChar char="ü"/>
            </a:pPr>
            <a:r>
              <a:rPr lang="en-US" sz="1100" dirty="0" smtClean="0"/>
              <a:t>Standard Tools are not used for Unit Testing</a:t>
            </a:r>
            <a:endParaRPr lang="en-US" sz="1100" dirty="0"/>
          </a:p>
        </p:txBody>
      </p:sp>
      <p:graphicFrame>
        <p:nvGraphicFramePr>
          <p:cNvPr id="49" name="Table 48"/>
          <p:cNvGraphicFramePr>
            <a:graphicFrameLocks noGrp="1"/>
          </p:cNvGraphicFramePr>
          <p:nvPr>
            <p:extLst>
              <p:ext uri="{D42A27DB-BD31-4B8C-83A1-F6EECF244321}">
                <p14:modId xmlns:p14="http://schemas.microsoft.com/office/powerpoint/2010/main" val="2016643765"/>
              </p:ext>
            </p:extLst>
          </p:nvPr>
        </p:nvGraphicFramePr>
        <p:xfrm>
          <a:off x="5368436" y="3554794"/>
          <a:ext cx="992627" cy="1153901"/>
        </p:xfrm>
        <a:graphic>
          <a:graphicData uri="http://schemas.openxmlformats.org/drawingml/2006/table">
            <a:tbl>
              <a:tblPr firstRow="1" bandRow="1">
                <a:tableStyleId>{69012ECD-51FC-41F1-AA8D-1B2483CD663E}</a:tableStyleId>
              </a:tblPr>
              <a:tblGrid>
                <a:gridCol w="992627"/>
              </a:tblGrid>
              <a:tr h="203007">
                <a:tc>
                  <a:txBody>
                    <a:bodyPr/>
                    <a:lstStyle/>
                    <a:p>
                      <a:pPr algn="ctr"/>
                      <a:r>
                        <a:rPr lang="en-US" sz="800" dirty="0" smtClean="0"/>
                        <a:t>Technologies</a:t>
                      </a:r>
                      <a:endParaRPr lang="en-US" sz="800" dirty="0">
                        <a:latin typeface="+mn-lt"/>
                      </a:endParaRPr>
                    </a:p>
                  </a:txBody>
                  <a:tcPr marL="51449" marR="51449" marT="34290" marB="34290" anchor="ctr">
                    <a:solidFill>
                      <a:schemeClr val="bg2">
                        <a:lumMod val="50000"/>
                      </a:schemeClr>
                    </a:solidFill>
                  </a:tcPr>
                </a:tc>
              </a:tr>
              <a:tr h="159217">
                <a:tc>
                  <a:txBody>
                    <a:bodyPr/>
                    <a:lstStyle/>
                    <a:p>
                      <a:pPr marL="53975" indent="0" algn="l" fontAlgn="b"/>
                      <a:r>
                        <a:rPr lang="en-US" sz="800" b="0" i="0" u="none" strike="noStrike" dirty="0" smtClean="0">
                          <a:solidFill>
                            <a:schemeClr val="tx1"/>
                          </a:solidFill>
                          <a:effectLst/>
                          <a:latin typeface="+mn-lt"/>
                        </a:rPr>
                        <a:t>Java</a:t>
                      </a:r>
                      <a:endParaRPr lang="en-US" sz="800" b="0" i="0" u="none" strike="noStrike" dirty="0">
                        <a:solidFill>
                          <a:schemeClr val="tx1"/>
                        </a:solidFill>
                        <a:effectLst/>
                        <a:latin typeface="+mn-lt"/>
                      </a:endParaRPr>
                    </a:p>
                  </a:txBody>
                  <a:tcPr marL="5360" marR="5360" marT="7144" marB="0" anchor="ctr"/>
                </a:tc>
              </a:tr>
              <a:tr h="176981">
                <a:tc>
                  <a:txBody>
                    <a:bodyPr/>
                    <a:lstStyle/>
                    <a:p>
                      <a:pPr marL="53975" indent="0" algn="l" defTabSz="914400" rtl="0" eaLnBrk="1" fontAlgn="b" latinLnBrk="0" hangingPunct="1"/>
                      <a:r>
                        <a:rPr lang="en-US" sz="800" u="none" strike="noStrike" kern="1200" dirty="0" smtClean="0">
                          <a:solidFill>
                            <a:schemeClr val="tx1"/>
                          </a:solidFill>
                          <a:effectLst/>
                          <a:latin typeface="+mn-lt"/>
                          <a:ea typeface="+mn-ea"/>
                          <a:cs typeface="+mn-cs"/>
                        </a:rPr>
                        <a:t>Windows/Unix</a:t>
                      </a:r>
                      <a:endParaRPr lang="en-US" sz="800" u="none" strike="noStrike" kern="1200" dirty="0">
                        <a:solidFill>
                          <a:schemeClr val="tx1"/>
                        </a:solidFill>
                        <a:effectLst/>
                        <a:latin typeface="+mn-lt"/>
                        <a:ea typeface="+mn-ea"/>
                        <a:cs typeface="+mn-cs"/>
                      </a:endParaRPr>
                    </a:p>
                  </a:txBody>
                  <a:tcPr marL="5360" marR="5360" marT="7144" marB="0" anchor="ctr"/>
                </a:tc>
              </a:tr>
              <a:tr h="165919">
                <a:tc>
                  <a:txBody>
                    <a:bodyPr/>
                    <a:lstStyle/>
                    <a:p>
                      <a:pPr marL="53975" indent="0" algn="l" fontAlgn="b"/>
                      <a:r>
                        <a:rPr lang="en-US" sz="800" b="0" i="0" u="none" strike="noStrike" dirty="0" smtClean="0">
                          <a:solidFill>
                            <a:schemeClr val="tx1"/>
                          </a:solidFill>
                          <a:effectLst/>
                          <a:latin typeface="+mn-lt"/>
                        </a:rPr>
                        <a:t>Oracle</a:t>
                      </a:r>
                      <a:endParaRPr lang="en-US" sz="800" b="0" i="0" u="none" strike="noStrike" dirty="0">
                        <a:solidFill>
                          <a:schemeClr val="tx1"/>
                        </a:solidFill>
                        <a:effectLst/>
                        <a:latin typeface="+mn-lt"/>
                      </a:endParaRPr>
                    </a:p>
                  </a:txBody>
                  <a:tcPr marL="5360" marR="5360" marT="7144" marB="0" anchor="ctr"/>
                </a:tc>
              </a:tr>
              <a:tr h="254032">
                <a:tc>
                  <a:txBody>
                    <a:bodyPr/>
                    <a:lstStyle/>
                    <a:p>
                      <a:pPr marL="53975" indent="0" algn="l" fontAlgn="b"/>
                      <a:r>
                        <a:rPr lang="en-US" sz="800" b="0" i="0" u="none" strike="noStrike" dirty="0" smtClean="0">
                          <a:solidFill>
                            <a:schemeClr val="tx1"/>
                          </a:solidFill>
                          <a:effectLst/>
                          <a:latin typeface="+mn-lt"/>
                        </a:rPr>
                        <a:t>Cobol</a:t>
                      </a:r>
                      <a:endParaRPr lang="en-US" sz="800" b="0" i="0" u="none" strike="noStrike" dirty="0">
                        <a:solidFill>
                          <a:schemeClr val="tx1"/>
                        </a:solidFill>
                        <a:effectLst/>
                        <a:latin typeface="+mn-lt"/>
                      </a:endParaRPr>
                    </a:p>
                  </a:txBody>
                  <a:tcPr marL="5360" marR="5360" marT="7144" marB="0" anchor="ctr"/>
                </a:tc>
              </a:tr>
              <a:tr h="194745">
                <a:tc>
                  <a:txBody>
                    <a:bodyPr/>
                    <a:lstStyle/>
                    <a:p>
                      <a:pPr marL="53975" indent="0" algn="l" fontAlgn="b"/>
                      <a:endParaRPr lang="en-US" sz="800" b="0" i="0" u="none" strike="noStrike" dirty="0">
                        <a:solidFill>
                          <a:schemeClr val="tx1"/>
                        </a:solidFill>
                        <a:effectLst/>
                        <a:latin typeface="+mn-lt"/>
                      </a:endParaRPr>
                    </a:p>
                  </a:txBody>
                  <a:tcPr marL="5360" marR="5360" marT="7144" marB="0" anchor="ctr"/>
                </a:tc>
              </a:tr>
            </a:tbl>
          </a:graphicData>
        </a:graphic>
      </p:graphicFrame>
      <p:sp>
        <p:nvSpPr>
          <p:cNvPr id="47" name="TextBox 46"/>
          <p:cNvSpPr txBox="1"/>
          <p:nvPr/>
        </p:nvSpPr>
        <p:spPr>
          <a:xfrm>
            <a:off x="2535515" y="3671442"/>
            <a:ext cx="872175" cy="215444"/>
          </a:xfrm>
          <a:prstGeom prst="rect">
            <a:avLst/>
          </a:prstGeom>
          <a:noFill/>
        </p:spPr>
        <p:txBody>
          <a:bodyPr wrap="square" rtlCol="0">
            <a:spAutoFit/>
          </a:bodyPr>
          <a:lstStyle/>
          <a:p>
            <a:r>
              <a:rPr lang="en-US" sz="800" b="1" dirty="0" smtClean="0"/>
              <a:t>OpenScript</a:t>
            </a:r>
            <a:endParaRPr lang="en-US" sz="800" b="1" dirty="0"/>
          </a:p>
        </p:txBody>
      </p:sp>
      <p:pic>
        <p:nvPicPr>
          <p:cNvPr id="55" name="Picture 2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1433247" y="1722082"/>
            <a:ext cx="792066" cy="13056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1433247" y="2385517"/>
            <a:ext cx="792066" cy="13056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2615624" y="1688357"/>
            <a:ext cx="792066" cy="13056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2613540" y="2385517"/>
            <a:ext cx="792066" cy="130560"/>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0" name="Picture 2" descr="https://www.naranja.com/images/logo.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4" descr="File:JMeter Logo.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784271" y="3671442"/>
            <a:ext cx="416576" cy="20142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Resultado de imagen para hudson tool"/>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613540" y="3058048"/>
            <a:ext cx="384584" cy="12862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Imagen relacionada"/>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27811" y="2169340"/>
            <a:ext cx="326511" cy="126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53350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latin typeface="Segoe UI Light" panose="020B0502040204020203" pitchFamily="34" charset="0"/>
              </a:rPr>
              <a:t>GEN - Over </a:t>
            </a:r>
            <a:r>
              <a:rPr lang="en-US" dirty="0">
                <a:latin typeface="Segoe UI Light" panose="020B0502040204020203" pitchFamily="34" charset="0"/>
              </a:rPr>
              <a:t>all DevOps Maturity </a:t>
            </a:r>
            <a:endParaRPr lang="en-US" dirty="0"/>
          </a:p>
        </p:txBody>
      </p:sp>
      <p:sp>
        <p:nvSpPr>
          <p:cNvPr id="6" name="Rectangle 5"/>
          <p:cNvSpPr/>
          <p:nvPr/>
        </p:nvSpPr>
        <p:spPr>
          <a:xfrm>
            <a:off x="5763267" y="76926"/>
            <a:ext cx="853284" cy="29925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smtClean="0">
                <a:solidFill>
                  <a:prstClr val="white"/>
                </a:solidFill>
              </a:rPr>
              <a:t>Score</a:t>
            </a:r>
            <a:endParaRPr lang="en-US" dirty="0">
              <a:solidFill>
                <a:prstClr val="white"/>
              </a:solidFill>
            </a:endParaRPr>
          </a:p>
        </p:txBody>
      </p:sp>
      <p:sp>
        <p:nvSpPr>
          <p:cNvPr id="7" name="Rectangle 6"/>
          <p:cNvSpPr/>
          <p:nvPr/>
        </p:nvSpPr>
        <p:spPr>
          <a:xfrm>
            <a:off x="6626587" y="66653"/>
            <a:ext cx="853284" cy="309528"/>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prstClr val="white"/>
                </a:solidFill>
              </a:rPr>
              <a:t>2</a:t>
            </a:r>
            <a:r>
              <a:rPr lang="en-US" dirty="0" smtClean="0">
                <a:solidFill>
                  <a:prstClr val="white"/>
                </a:solidFill>
              </a:rPr>
              <a:t> </a:t>
            </a:r>
            <a:r>
              <a:rPr lang="en-US" dirty="0">
                <a:solidFill>
                  <a:prstClr val="white"/>
                </a:solidFill>
              </a:rPr>
              <a:t>/ </a:t>
            </a:r>
            <a:r>
              <a:rPr lang="en-US" dirty="0" smtClean="0">
                <a:solidFill>
                  <a:prstClr val="white"/>
                </a:solidFill>
              </a:rPr>
              <a:t>5</a:t>
            </a:r>
            <a:endParaRPr lang="en-US" dirty="0">
              <a:solidFill>
                <a:prstClr val="white"/>
              </a:solidFill>
            </a:endParaRPr>
          </a:p>
        </p:txBody>
      </p:sp>
      <p:sp>
        <p:nvSpPr>
          <p:cNvPr id="8" name="Rectangle 7"/>
          <p:cNvSpPr/>
          <p:nvPr/>
        </p:nvSpPr>
        <p:spPr>
          <a:xfrm>
            <a:off x="7497899" y="59078"/>
            <a:ext cx="1512541" cy="309529"/>
          </a:xfrm>
          <a:prstGeom prst="rect">
            <a:avLst/>
          </a:prstGeom>
          <a:solidFill>
            <a:schemeClr val="accent4"/>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dirty="0" smtClean="0">
                <a:solidFill>
                  <a:prstClr val="white"/>
                </a:solidFill>
              </a:rPr>
              <a:t>Adapting</a:t>
            </a:r>
            <a:endParaRPr lang="en-US" dirty="0">
              <a:solidFill>
                <a:prstClr val="white"/>
              </a:solidFill>
            </a:endParaRPr>
          </a:p>
        </p:txBody>
      </p:sp>
      <p:graphicFrame>
        <p:nvGraphicFramePr>
          <p:cNvPr id="13" name="Chart 12"/>
          <p:cNvGraphicFramePr>
            <a:graphicFrameLocks/>
          </p:cNvGraphicFramePr>
          <p:nvPr>
            <p:extLst>
              <p:ext uri="{D42A27DB-BD31-4B8C-83A1-F6EECF244321}">
                <p14:modId xmlns:p14="http://schemas.microsoft.com/office/powerpoint/2010/main" val="866715"/>
              </p:ext>
            </p:extLst>
          </p:nvPr>
        </p:nvGraphicFramePr>
        <p:xfrm>
          <a:off x="146357" y="626845"/>
          <a:ext cx="4223624" cy="40518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ext uri="{D42A27DB-BD31-4B8C-83A1-F6EECF244321}">
                <p14:modId xmlns:p14="http://schemas.microsoft.com/office/powerpoint/2010/main" val="593672725"/>
              </p:ext>
            </p:extLst>
          </p:nvPr>
        </p:nvGraphicFramePr>
        <p:xfrm>
          <a:off x="4339497" y="626845"/>
          <a:ext cx="4670943" cy="4051888"/>
        </p:xfrm>
        <a:graphic>
          <a:graphicData uri="http://schemas.openxmlformats.org/drawingml/2006/chart">
            <c:chart xmlns:c="http://schemas.openxmlformats.org/drawingml/2006/chart" xmlns:r="http://schemas.openxmlformats.org/officeDocument/2006/relationships" r:id="rId4"/>
          </a:graphicData>
        </a:graphic>
      </p:graphicFrame>
      <p:sp>
        <p:nvSpPr>
          <p:cNvPr id="15" name="Rectangle 14"/>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6" name="Picture 2" descr="https://www.naranj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073729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a:t>
            </a:r>
            <a:r>
              <a:rPr lang="en-US" dirty="0">
                <a:latin typeface="Segoe UI Light" panose="020B0502040204020203" pitchFamily="34" charset="0"/>
              </a:rPr>
              <a:t>Build</a:t>
            </a:r>
            <a:endParaRPr lang="en-US" dirty="0"/>
          </a:p>
        </p:txBody>
      </p:sp>
      <p:sp>
        <p:nvSpPr>
          <p:cNvPr id="4" name="Rectangle 3"/>
          <p:cNvSpPr/>
          <p:nvPr/>
        </p:nvSpPr>
        <p:spPr>
          <a:xfrm>
            <a:off x="3848987" y="911866"/>
            <a:ext cx="5231219" cy="3925944"/>
          </a:xfrm>
          <a:prstGeom prst="rect">
            <a:avLst/>
          </a:prstGeom>
          <a:noFill/>
          <a:ln>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Strateg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CM Plan, Processes &amp; Operational activities – No documentation is available for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Naranja</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o refer however Vendor is having all the document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No consolidated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build script references are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identified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No Metrics (</a:t>
            </a:r>
            <a:r>
              <a:rPr lang="en-US" sz="900" i="1" dirty="0">
                <a:solidFill>
                  <a:schemeClr val="tx2"/>
                </a:solidFill>
                <a:latin typeface="Verdana" panose="020B0604030504040204" pitchFamily="34" charset="0"/>
                <a:ea typeface="Verdana" panose="020B0604030504040204" pitchFamily="34" charset="0"/>
                <a:cs typeface="Verdana" panose="020B0604030504040204" pitchFamily="34" charset="0"/>
              </a:rPr>
              <a:t>e.g. LOC, Check-in frequency and # Check-in policies</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re available to monitor the effectiveness of SCM processe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No Manual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approval i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followed for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branching.</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erging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happens on Scrum Master / PM’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decision over mail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Branching &amp;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erging strategy i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documented but there might be some opportunity of improvement.</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Baselining/Tagging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trategy i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documented and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here i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agging for production releases and major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ilestones however there might be some opportunity of improvement.</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Code Quality metrics are monitored via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o ensure Maintainability and Code Quality issues. </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Review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eam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es not track the code review effectiveness through defect leakage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etric.</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No Tool is used for code review.</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Unit Tests &amp; Cod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No Automated unit test suites are available. Hence, the team does not describe the degree to which the source code of a program has been tested.</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here is no tool available to track the code coverage since team follows manual unit testing.</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No auto scripts are available to create/cleanup test data since team follows manual unit testing.</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Unit Test suites are not integrated with CI since team follows manual unit testing</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5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345988" y="3942585"/>
            <a:ext cx="3471099" cy="505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Tool for SCM – </a:t>
            </a:r>
            <a:r>
              <a:rPr lang="en-US" sz="900" dirty="0" err="1" smtClean="0">
                <a:solidFill>
                  <a:srgbClr val="141414"/>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  </a:t>
            </a:r>
          </a:p>
          <a:p>
            <a:endParaRPr lang="en-US" sz="900" dirty="0" smtClean="0">
              <a:solidFill>
                <a:srgbClr val="141414"/>
              </a:solidFill>
            </a:endParaRPr>
          </a:p>
          <a:p>
            <a:r>
              <a:rPr lang="en-US" sz="900" dirty="0" smtClean="0">
                <a:solidFill>
                  <a:srgbClr val="141414"/>
                </a:solidFill>
              </a:rPr>
              <a:t>  	</a:t>
            </a:r>
          </a:p>
          <a:p>
            <a:endParaRPr lang="en-US" sz="900" dirty="0">
              <a:solidFill>
                <a:srgbClr val="141414"/>
              </a:solidFill>
            </a:endParaRPr>
          </a:p>
        </p:txBody>
      </p:sp>
      <p:sp>
        <p:nvSpPr>
          <p:cNvPr id="9" name="TextBox 8"/>
          <p:cNvSpPr txBox="1"/>
          <p:nvPr/>
        </p:nvSpPr>
        <p:spPr>
          <a:xfrm>
            <a:off x="102508" y="3621003"/>
            <a:ext cx="3707282"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p:nvPicPr>
        <p:blipFill>
          <a:blip r:embed="rId3"/>
          <a:stretch>
            <a:fillRect/>
          </a:stretch>
        </p:blipFill>
        <p:spPr>
          <a:xfrm>
            <a:off x="77425" y="3944478"/>
            <a:ext cx="288300" cy="285194"/>
          </a:xfrm>
          <a:prstGeom prst="rect">
            <a:avLst/>
          </a:prstGeom>
        </p:spPr>
      </p:pic>
      <p:sp>
        <p:nvSpPr>
          <p:cNvPr id="14" name="Rectangle 13"/>
          <p:cNvSpPr/>
          <p:nvPr/>
        </p:nvSpPr>
        <p:spPr>
          <a:xfrm>
            <a:off x="3848987" y="649832"/>
            <a:ext cx="2509283" cy="262034"/>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TextBox 14"/>
          <p:cNvSpPr txBox="1"/>
          <p:nvPr/>
        </p:nvSpPr>
        <p:spPr>
          <a:xfrm>
            <a:off x="3870254" y="617936"/>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val="2482150968"/>
              </p:ext>
            </p:extLst>
          </p:nvPr>
        </p:nvGraphicFramePr>
        <p:xfrm>
          <a:off x="102508" y="644515"/>
          <a:ext cx="3707282" cy="2970555"/>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7" name="Picture 2" descr="https://www.naranj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795965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a:t>
            </a:r>
            <a:r>
              <a:rPr lang="en-US" dirty="0" smtClean="0">
                <a:latin typeface="Segoe UI Light" panose="020B0502040204020203" pitchFamily="34" charset="0"/>
              </a:rPr>
              <a:t>Build continues</a:t>
            </a:r>
            <a:endParaRPr lang="en-US" dirty="0"/>
          </a:p>
        </p:txBody>
      </p:sp>
      <p:sp>
        <p:nvSpPr>
          <p:cNvPr id="4" name="Rectangle 3"/>
          <p:cNvSpPr/>
          <p:nvPr/>
        </p:nvSpPr>
        <p:spPr>
          <a:xfrm>
            <a:off x="3891516" y="903597"/>
            <a:ext cx="5167424" cy="1745909"/>
          </a:xfrm>
          <a:prstGeom prst="rect">
            <a:avLst/>
          </a:prstGeom>
          <a:noFill/>
          <a:ln>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Build Automation</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Build artifact check is not don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No integration with third party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packages/libraries. </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aven is used for Build</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hird party Integration</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anual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ependency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nagement in the build script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Clear case is used for versioning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hird party librarie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Integr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CI is not defined and implemented.</a:t>
            </a:r>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pic>
        <p:nvPicPr>
          <p:cNvPr id="9" name="Picture 8"/>
          <p:cNvPicPr>
            <a:picLocks noChangeAspect="1"/>
          </p:cNvPicPr>
          <p:nvPr/>
        </p:nvPicPr>
        <p:blipFill>
          <a:blip r:embed="rId2"/>
          <a:stretch>
            <a:fillRect/>
          </a:stretch>
        </p:blipFill>
        <p:spPr>
          <a:xfrm>
            <a:off x="16145" y="4291328"/>
            <a:ext cx="288300" cy="285194"/>
          </a:xfrm>
          <a:prstGeom prst="rect">
            <a:avLst/>
          </a:prstGeom>
        </p:spPr>
      </p:pic>
      <p:graphicFrame>
        <p:nvGraphicFramePr>
          <p:cNvPr id="10" name="Chart 9"/>
          <p:cNvGraphicFramePr>
            <a:graphicFrameLocks/>
          </p:cNvGraphicFramePr>
          <p:nvPr>
            <p:extLst>
              <p:ext uri="{D42A27DB-BD31-4B8C-83A1-F6EECF244321}">
                <p14:modId xmlns:p14="http://schemas.microsoft.com/office/powerpoint/2010/main" val="3577219079"/>
              </p:ext>
            </p:extLst>
          </p:nvPr>
        </p:nvGraphicFramePr>
        <p:xfrm>
          <a:off x="16146" y="609176"/>
          <a:ext cx="3694618" cy="3242923"/>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p:cNvSpPr/>
          <p:nvPr/>
        </p:nvSpPr>
        <p:spPr>
          <a:xfrm>
            <a:off x="3891516" y="658495"/>
            <a:ext cx="5167424" cy="24510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3" name="TextBox 12"/>
          <p:cNvSpPr txBox="1"/>
          <p:nvPr/>
        </p:nvSpPr>
        <p:spPr>
          <a:xfrm>
            <a:off x="3912783" y="62659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5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7"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345988" y="4240304"/>
            <a:ext cx="3471099" cy="505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Tool for SCM – </a:t>
            </a:r>
            <a:r>
              <a:rPr lang="en-US" sz="900" dirty="0" err="1" smtClean="0">
                <a:solidFill>
                  <a:srgbClr val="141414"/>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rgbClr val="141414"/>
                </a:solidFill>
                <a:latin typeface="Verdana" panose="020B0604030504040204" pitchFamily="34" charset="0"/>
                <a:ea typeface="Verdana" panose="020B0604030504040204" pitchFamily="34" charset="0"/>
                <a:cs typeface="Verdana" panose="020B0604030504040204" pitchFamily="34" charset="0"/>
              </a:rPr>
              <a:t>.  </a:t>
            </a:r>
          </a:p>
          <a:p>
            <a:endParaRPr lang="en-US" sz="900" dirty="0" smtClean="0">
              <a:solidFill>
                <a:srgbClr val="141414"/>
              </a:solidFill>
            </a:endParaRPr>
          </a:p>
          <a:p>
            <a:r>
              <a:rPr lang="en-US" sz="900" dirty="0" smtClean="0">
                <a:solidFill>
                  <a:srgbClr val="141414"/>
                </a:solidFill>
              </a:rPr>
              <a:t>  	</a:t>
            </a:r>
          </a:p>
          <a:p>
            <a:endParaRPr lang="en-US" sz="900" dirty="0">
              <a:solidFill>
                <a:srgbClr val="141414"/>
              </a:solidFill>
            </a:endParaRPr>
          </a:p>
        </p:txBody>
      </p:sp>
      <p:sp>
        <p:nvSpPr>
          <p:cNvPr id="19" name="TextBox 18"/>
          <p:cNvSpPr txBox="1"/>
          <p:nvPr/>
        </p:nvSpPr>
        <p:spPr>
          <a:xfrm>
            <a:off x="16145" y="3865459"/>
            <a:ext cx="3707282" cy="276999"/>
          </a:xfrm>
          <a:prstGeom prst="rect">
            <a:avLst/>
          </a:prstGeom>
          <a:solidFill>
            <a:schemeClr val="tx2">
              <a:lumMod val="75000"/>
            </a:schemeClr>
          </a:solid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p:cNvSpPr/>
          <p:nvPr/>
        </p:nvSpPr>
        <p:spPr>
          <a:xfrm>
            <a:off x="3931177" y="2766914"/>
            <a:ext cx="3264463"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1" name="Rectangle 20"/>
          <p:cNvSpPr/>
          <p:nvPr/>
        </p:nvSpPr>
        <p:spPr>
          <a:xfrm>
            <a:off x="3941810" y="3031281"/>
            <a:ext cx="5109831" cy="1608964"/>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Source Control Management (SCM) Strateg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ation of all SOPs and Guidelines (SCM Strategy, Branching/Merging Strategies, Continuous Integration Process &amp; Techniques) need to be made available in a common repository for team’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reference irrespective of Vendor or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Naranja</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eam,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which helps the team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branching and merging activity thorough organized way to avoid repetitive activities. Master copy to hold production corresponding code bas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nsolidated build scripts’ references to improv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and Track Metrics like LOC, Check-in frequency and # Check-in policies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etc</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hrough SCM tool to monitor the effectiveness of SCM processe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TextBox 21"/>
          <p:cNvSpPr txBox="1"/>
          <p:nvPr/>
        </p:nvSpPr>
        <p:spPr>
          <a:xfrm>
            <a:off x="3952444" y="2735017"/>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56466843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a:t>
            </a:r>
            <a:r>
              <a:rPr lang="en-US" dirty="0" smtClean="0">
                <a:latin typeface="Segoe UI Light" panose="020B0502040204020203" pitchFamily="34" charset="0"/>
              </a:rPr>
              <a:t>Build continues</a:t>
            </a:r>
            <a:endParaRPr lang="en-US" dirty="0"/>
          </a:p>
        </p:txBody>
      </p:sp>
      <p:graphicFrame>
        <p:nvGraphicFramePr>
          <p:cNvPr id="10" name="Chart 9"/>
          <p:cNvGraphicFramePr>
            <a:graphicFrameLocks/>
          </p:cNvGraphicFramePr>
          <p:nvPr>
            <p:extLst/>
          </p:nvPr>
        </p:nvGraphicFramePr>
        <p:xfrm>
          <a:off x="16146" y="609176"/>
          <a:ext cx="3694618" cy="3242923"/>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p:cNvSpPr/>
          <p:nvPr/>
        </p:nvSpPr>
        <p:spPr>
          <a:xfrm>
            <a:off x="6964911" y="92204"/>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5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7"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3895946" y="638074"/>
            <a:ext cx="3600007" cy="258051"/>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4" name="Rectangle 23"/>
          <p:cNvSpPr/>
          <p:nvPr/>
        </p:nvSpPr>
        <p:spPr>
          <a:xfrm>
            <a:off x="3931177" y="912578"/>
            <a:ext cx="5109831" cy="3727667"/>
          </a:xfrm>
          <a:prstGeom prst="rect">
            <a:avLst/>
          </a:prstGeom>
          <a:solidFill>
            <a:schemeClr val="bg1"/>
          </a:solidFill>
          <a:ln w="19050">
            <a:solidFill>
              <a:schemeClr val="tx2">
                <a:lumMod val="60000"/>
                <a:lumOff val="40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Quality &amp; Maintainability </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ocument best practices for architecture &amp; secure coding for team’s reference to improve the planning efficienc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project teams on common coding conventions to avoid code quality and maintainability issues.</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tatic Code analysis using </a:t>
            </a:r>
            <a:r>
              <a:rPr lang="en-US" sz="900" dirty="0" err="1">
                <a:solidFill>
                  <a:schemeClr val="tx2"/>
                </a:solidFill>
                <a:latin typeface="Verdana" panose="020B0604030504040204" pitchFamily="34" charset="0"/>
                <a:ea typeface="Verdana" panose="020B0604030504040204" pitchFamily="34" charset="0"/>
                <a:cs typeface="Verdana" panose="020B0604030504040204" pitchFamily="34" charset="0"/>
              </a:rPr>
              <a:t>SonarQube</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 to be enabled with every single commit for current development process and also to be integrated with Jenkins. This could significantly reduce the peer review effort and helps to identify and track the dead code in the app repository.</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Build failure to be enforced if critical code violations increase. The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base lining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of violation details to be determined and to be agreed with the Customer.</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ystematic Code refactoring strategy / process to be defined in order to address the duplicate/ dead code, circular dependencies and Technical debt., It is recommended to allocate adequate bandwidth ( 10-20%) in each Iteration to handle the technical debt of the code to keep the code base maintainable. </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de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view</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Make use of Code review tool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like Crucible or similar feature available with </a:t>
            </a:r>
            <a:r>
              <a:rPr lang="en-US" sz="9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GitLab</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to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mprove the planning efficiency</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rack Defect leakage metric Sprint wise to monitor the code review effectivenes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Unit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s &amp; Cod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Enable automated Unit test suites, which helps project team to describe the degree to which the source code of a program has been tested.</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Configure Code Coverage tool to monitor the coverage.</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ntegrate Unit test suites with Jenkin tool to improve the testing effectiveness.</a:t>
            </a:r>
          </a:p>
          <a:p>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1000" dirty="0"/>
          </a:p>
        </p:txBody>
      </p:sp>
      <p:sp>
        <p:nvSpPr>
          <p:cNvPr id="25" name="TextBox 24"/>
          <p:cNvSpPr txBox="1"/>
          <p:nvPr/>
        </p:nvSpPr>
        <p:spPr>
          <a:xfrm>
            <a:off x="3952444" y="619127"/>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333807354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Deploy</a:t>
            </a:r>
            <a:endParaRPr lang="en-US" dirty="0"/>
          </a:p>
        </p:txBody>
      </p:sp>
      <p:sp>
        <p:nvSpPr>
          <p:cNvPr id="4" name="Rectangle 3"/>
          <p:cNvSpPr/>
          <p:nvPr/>
        </p:nvSpPr>
        <p:spPr>
          <a:xfrm>
            <a:off x="4060192" y="890611"/>
            <a:ext cx="4972693" cy="2305044"/>
          </a:xfrm>
          <a:prstGeom prst="rect">
            <a:avLst/>
          </a:prstGeom>
          <a:noFill/>
          <a:ln>
            <a:solidFill>
              <a:schemeClr val="tx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rtifact Management</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Artifacts are generated and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anaged via clear case.</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It is not integrated with other tools.</a:t>
            </a:r>
          </a:p>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Continuous </a:t>
            </a: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Deployment (CD</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No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edicated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Dev/QA/SIT environments are available. </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Person-dependent deployments on NPE leads to increased cycle time.</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No automated deployment script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eam is not aware of deployment process in both NPE &amp; Production environments since deployment is controlled by other team.</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Code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Promotions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happen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across the environments after getting manual approvals.</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Deployments get triggered </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anually however no tracking of deployments done in NPE.</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he frequency is not defined to deploy the code across environment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QA approval process is not defined during the deployment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No communication of deployment</a:t>
            </a:r>
            <a:endParaRPr lang="en-US" sz="9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p:cNvPicPr>
            <a:picLocks noChangeAspect="1"/>
          </p:cNvPicPr>
          <p:nvPr/>
        </p:nvPicPr>
        <p:blipFill>
          <a:blip r:embed="rId3"/>
          <a:stretch>
            <a:fillRect/>
          </a:stretch>
        </p:blipFill>
        <p:spPr>
          <a:xfrm>
            <a:off x="41747" y="4059316"/>
            <a:ext cx="288300" cy="285194"/>
          </a:xfrm>
          <a:prstGeom prst="rect">
            <a:avLst/>
          </a:prstGeom>
        </p:spPr>
      </p:pic>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2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4060193" y="636527"/>
            <a:ext cx="2531994" cy="235744"/>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4" name="TextBox 13"/>
          <p:cNvSpPr txBox="1"/>
          <p:nvPr/>
        </p:nvSpPr>
        <p:spPr>
          <a:xfrm>
            <a:off x="4081459" y="604630"/>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hart 14"/>
          <p:cNvGraphicFramePr>
            <a:graphicFrameLocks/>
          </p:cNvGraphicFramePr>
          <p:nvPr>
            <p:extLst>
              <p:ext uri="{D42A27DB-BD31-4B8C-83A1-F6EECF244321}">
                <p14:modId xmlns:p14="http://schemas.microsoft.com/office/powerpoint/2010/main" val="296125892"/>
              </p:ext>
            </p:extLst>
          </p:nvPr>
        </p:nvGraphicFramePr>
        <p:xfrm>
          <a:off x="107005" y="636527"/>
          <a:ext cx="3837674" cy="2932258"/>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p:cNvSpPr/>
          <p:nvPr/>
        </p:nvSpPr>
        <p:spPr>
          <a:xfrm>
            <a:off x="318876" y="3970890"/>
            <a:ext cx="3741315" cy="9201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mi-automated script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e executed using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learC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mp; CTRL-M.</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roduction deployments are controlled using Release and change management process using CA Service Desk</a:t>
            </a:r>
          </a:p>
          <a:p>
            <a:pPr marL="171450" indent="-171450">
              <a:buFont typeface="Wingdings" panose="05000000000000000000" pitchFamily="2" charset="2"/>
              <a:buChar char="q"/>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does all th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ployment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Box 16"/>
          <p:cNvSpPr txBox="1"/>
          <p:nvPr/>
        </p:nvSpPr>
        <p:spPr>
          <a:xfrm>
            <a:off x="41747" y="3675551"/>
            <a:ext cx="4018445"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pic>
        <p:nvPicPr>
          <p:cNvPr id="19" name="Picture 2" descr="https://www.naranj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4081459" y="3241090"/>
            <a:ext cx="3264463"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3" name="TextBox 22"/>
          <p:cNvSpPr txBox="1"/>
          <p:nvPr/>
        </p:nvSpPr>
        <p:spPr>
          <a:xfrm>
            <a:off x="4102726" y="3209193"/>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4" name="Rectangle 23"/>
          <p:cNvSpPr/>
          <p:nvPr/>
        </p:nvSpPr>
        <p:spPr>
          <a:xfrm>
            <a:off x="4117758" y="3536721"/>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exus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rtifact management – to store deployable artifacts.</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Pre and Post Install checks via automatio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cripts/plug-ins.</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timize deployment cycle by collaborating tools lik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enkins, and Deployment tool. This will help to reduce further dependencies on approvals. Enable continuous deployment across the environments in an automated way.</a:t>
            </a:r>
          </a:p>
          <a:p>
            <a:pPr algn="ctr"/>
            <a:endParaRPr lang="en-US"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7217877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Verify</a:t>
            </a:r>
            <a:endParaRPr lang="en-US" dirty="0"/>
          </a:p>
        </p:txBody>
      </p:sp>
      <p:sp>
        <p:nvSpPr>
          <p:cNvPr id="5" name="Rectangle 4"/>
          <p:cNvSpPr/>
          <p:nvPr/>
        </p:nvSpPr>
        <p:spPr>
          <a:xfrm>
            <a:off x="3932602" y="833748"/>
            <a:ext cx="4972693" cy="1547945"/>
          </a:xfrm>
          <a:prstGeom prst="rect">
            <a:avLst/>
          </a:prstGeom>
          <a:solidFill>
            <a:schemeClr val="bg1"/>
          </a:solidFill>
          <a:ln>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est Automation</a:t>
            </a:r>
            <a:endPar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OpenScript is being used for Test Automation.</a:t>
            </a:r>
          </a:p>
          <a:p>
            <a:pPr marL="285750" indent="-2857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ll Testing performed Except SIT, Security &amp; Penetration Testing</a:t>
            </a:r>
          </a:p>
          <a:p>
            <a:pPr marL="285750" indent="-2857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utomated Suites are not updated for each Production Bugs</a:t>
            </a:r>
          </a:p>
          <a:p>
            <a:pPr marL="285750" indent="-2857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esting Team is working in Silos and no handshakes done with Deployment Team</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esting is not integrated with CD Pipeline</a:t>
            </a:r>
          </a:p>
        </p:txBody>
      </p:sp>
      <p:pic>
        <p:nvPicPr>
          <p:cNvPr id="6" name="Picture 5"/>
          <p:cNvPicPr>
            <a:picLocks noChangeAspect="1"/>
          </p:cNvPicPr>
          <p:nvPr/>
        </p:nvPicPr>
        <p:blipFill>
          <a:blip r:embed="rId2"/>
          <a:stretch>
            <a:fillRect/>
          </a:stretch>
        </p:blipFill>
        <p:spPr>
          <a:xfrm>
            <a:off x="57688" y="3496803"/>
            <a:ext cx="288300" cy="285194"/>
          </a:xfrm>
          <a:prstGeom prst="rect">
            <a:avLst/>
          </a:prstGeom>
        </p:spPr>
      </p:pic>
      <p:sp>
        <p:nvSpPr>
          <p:cNvPr id="7" name="Rectangle 6"/>
          <p:cNvSpPr/>
          <p:nvPr/>
        </p:nvSpPr>
        <p:spPr>
          <a:xfrm>
            <a:off x="345988" y="3496803"/>
            <a:ext cx="3332159" cy="10355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Automation done using OpenScript</a:t>
            </a:r>
          </a:p>
          <a:p>
            <a:endParaRPr lang="en-US" sz="900" dirty="0">
              <a:solidFill>
                <a:schemeClr val="tx2">
                  <a:lumMod val="75000"/>
                </a:schemeClr>
              </a:solidFill>
            </a:endParaRPr>
          </a:p>
        </p:txBody>
      </p:sp>
      <p:sp>
        <p:nvSpPr>
          <p:cNvPr id="8" name="TextBox 7"/>
          <p:cNvSpPr txBox="1"/>
          <p:nvPr/>
        </p:nvSpPr>
        <p:spPr>
          <a:xfrm>
            <a:off x="39645" y="3169153"/>
            <a:ext cx="3798707"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2" name="Rectangle 11"/>
          <p:cNvSpPr/>
          <p:nvPr/>
        </p:nvSpPr>
        <p:spPr>
          <a:xfrm>
            <a:off x="3932603" y="610774"/>
            <a:ext cx="2765910" cy="222974"/>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3" name="TextBox 12"/>
          <p:cNvSpPr txBox="1"/>
          <p:nvPr/>
        </p:nvSpPr>
        <p:spPr>
          <a:xfrm>
            <a:off x="3953869" y="578877"/>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6390752" y="113841"/>
            <a:ext cx="207609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4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5278461" y="115661"/>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 name="Chart 15"/>
          <p:cNvGraphicFramePr>
            <a:graphicFrameLocks/>
          </p:cNvGraphicFramePr>
          <p:nvPr>
            <p:extLst>
              <p:ext uri="{D42A27DB-BD31-4B8C-83A1-F6EECF244321}">
                <p14:modId xmlns:p14="http://schemas.microsoft.com/office/powerpoint/2010/main" val="990284923"/>
              </p:ext>
            </p:extLst>
          </p:nvPr>
        </p:nvGraphicFramePr>
        <p:xfrm>
          <a:off x="39647" y="674001"/>
          <a:ext cx="3798706" cy="2388176"/>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8"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a:xfrm>
            <a:off x="3966447" y="2482116"/>
            <a:ext cx="3433813" cy="245102"/>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0" name="TextBox 19"/>
          <p:cNvSpPr txBox="1"/>
          <p:nvPr/>
        </p:nvSpPr>
        <p:spPr>
          <a:xfrm>
            <a:off x="3987714" y="2450219"/>
            <a:ext cx="3243196" cy="276999"/>
          </a:xfrm>
          <a:prstGeom prst="rect">
            <a:avLst/>
          </a:prstGeom>
          <a:noFill/>
        </p:spPr>
        <p:txBody>
          <a:bodyPr wrap="non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1" name="Rectangle 20"/>
          <p:cNvSpPr/>
          <p:nvPr/>
        </p:nvSpPr>
        <p:spPr>
          <a:xfrm>
            <a:off x="4002746" y="2777747"/>
            <a:ext cx="4972693" cy="1239040"/>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defTabSz="914400">
              <a:defRPr/>
            </a:pPr>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Test Automation (CD)</a:t>
            </a:r>
          </a:p>
          <a:p>
            <a:pPr marL="171450" indent="-171450" defTabSz="914400">
              <a:buFont typeface="Wingdings" panose="05000000000000000000" pitchFamily="2" charset="2"/>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automation to be brought in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GEN application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sing existing tool- </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nScript</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his needs to be integrated with CI/CD pipeline as well </a:t>
            </a:r>
            <a:r>
              <a:rPr lang="en-US" sz="900" i="1"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100% integration of test automation suite within CI Lifecycle).</a:t>
            </a:r>
          </a:p>
          <a:p>
            <a:pPr marL="171450" indent="-171450" defTabSz="914400">
              <a:buFont typeface="Arial" panose="020B0604020202020204" pitchFamily="34" charset="0"/>
              <a:buChar char="•"/>
              <a:defRP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sure test automation coverage is enabled via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onarQub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7949837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Release</a:t>
            </a:r>
            <a:endParaRPr lang="en-US" dirty="0"/>
          </a:p>
        </p:txBody>
      </p:sp>
      <p:sp>
        <p:nvSpPr>
          <p:cNvPr id="5" name="Rectangle 4"/>
          <p:cNvSpPr/>
          <p:nvPr/>
        </p:nvSpPr>
        <p:spPr>
          <a:xfrm>
            <a:off x="4171307" y="869343"/>
            <a:ext cx="4972693" cy="1701390"/>
          </a:xfrm>
          <a:prstGeom prst="rect">
            <a:avLst/>
          </a:prstGeom>
          <a:noFill/>
          <a:ln>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a:t>
            </a:r>
            <a:r>
              <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rPr>
              <a:t>Traceability</a:t>
            </a: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raceability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is enabled partially from User Stories to deployments by traversing through existing tool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JIRA)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However, these are not configured in a single workflow</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endParaRPr lang="en-US" sz="900" b="1" dirty="0" smtClean="0">
              <a:solidFill>
                <a:srgbClr val="003366"/>
              </a:solidFill>
              <a:latin typeface="Verdana" panose="020B0604030504040204" pitchFamily="34" charset="0"/>
              <a:ea typeface="Verdana" panose="020B0604030504040204" pitchFamily="34" charset="0"/>
              <a:cs typeface="Verdana" panose="020B0604030504040204" pitchFamily="34" charset="0"/>
            </a:endParaRP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endParaRPr lang="en-US" sz="9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No orchestration tool is available. </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Stage Gate &amp; Approval Criteria – Manual approval process is followed for deployments rather than automated workflow based approvals.</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etrics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reporting culture is followed for Release Management.</a:t>
            </a:r>
          </a:p>
          <a:p>
            <a:pPr marL="171450" indent="-171450">
              <a:buFont typeface="Arial" panose="020B0604020202020204" pitchFamily="34" charset="0"/>
              <a:buChar char="•"/>
            </a:pPr>
            <a:endParaRPr lang="en-US" sz="9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9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algn="ctr"/>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p:cNvPicPr>
            <a:picLocks noChangeAspect="1"/>
          </p:cNvPicPr>
          <p:nvPr/>
        </p:nvPicPr>
        <p:blipFill>
          <a:blip r:embed="rId2"/>
          <a:stretch>
            <a:fillRect/>
          </a:stretch>
        </p:blipFill>
        <p:spPr>
          <a:xfrm>
            <a:off x="65152" y="3718562"/>
            <a:ext cx="288300" cy="285194"/>
          </a:xfrm>
          <a:prstGeom prst="rect">
            <a:avLst/>
          </a:prstGeom>
        </p:spPr>
      </p:pic>
      <p:sp>
        <p:nvSpPr>
          <p:cNvPr id="10" name="Rectangle 9"/>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2.5 / Adapt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4171308" y="615259"/>
            <a:ext cx="2192054" cy="24510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5" name="TextBox 14"/>
          <p:cNvSpPr txBox="1"/>
          <p:nvPr/>
        </p:nvSpPr>
        <p:spPr>
          <a:xfrm>
            <a:off x="4192574" y="583362"/>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4" name="Chart 13"/>
          <p:cNvGraphicFramePr>
            <a:graphicFrameLocks/>
          </p:cNvGraphicFramePr>
          <p:nvPr>
            <p:extLst>
              <p:ext uri="{D42A27DB-BD31-4B8C-83A1-F6EECF244321}">
                <p14:modId xmlns:p14="http://schemas.microsoft.com/office/powerpoint/2010/main" val="1217777260"/>
              </p:ext>
            </p:extLst>
          </p:nvPr>
        </p:nvGraphicFramePr>
        <p:xfrm>
          <a:off x="107004" y="615259"/>
          <a:ext cx="3965266" cy="2629296"/>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p:cNvSpPr/>
          <p:nvPr/>
        </p:nvSpPr>
        <p:spPr>
          <a:xfrm>
            <a:off x="288579" y="3575964"/>
            <a:ext cx="3767909" cy="11277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is used for release and change management</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Release calendar is available but not widely published.</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Dedicated Release Management team is available</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Operation Team performs Release and Chang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agemen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nctions.</a:t>
            </a:r>
          </a:p>
        </p:txBody>
      </p:sp>
      <p:sp>
        <p:nvSpPr>
          <p:cNvPr id="17" name="TextBox 16"/>
          <p:cNvSpPr txBox="1"/>
          <p:nvPr/>
        </p:nvSpPr>
        <p:spPr>
          <a:xfrm>
            <a:off x="107004" y="3271760"/>
            <a:ext cx="3965266"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8" name="Rectangle 17"/>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9"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4156430" y="2668919"/>
            <a:ext cx="3467114" cy="237891"/>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1" name="TextBox 20"/>
          <p:cNvSpPr txBox="1"/>
          <p:nvPr/>
        </p:nvSpPr>
        <p:spPr>
          <a:xfrm>
            <a:off x="4177695" y="2637022"/>
            <a:ext cx="3339523"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2" name="Rectangle 21"/>
          <p:cNvSpPr/>
          <p:nvPr/>
        </p:nvSpPr>
        <p:spPr>
          <a:xfrm>
            <a:off x="4192729" y="2964550"/>
            <a:ext cx="4844946" cy="1629884"/>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Release Managemen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traceability and approvals using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XL-Release/</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uRelease</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Plutora</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able release dashboards with Phase wise data analysis in order to track / Monitor the metrics for release management.</a:t>
            </a:r>
          </a:p>
          <a:p>
            <a:r>
              <a:rPr lang="en-US" sz="900" b="1" dirty="0">
                <a:solidFill>
                  <a:srgbClr val="003366"/>
                </a:solidFill>
                <a:latin typeface="Verdana" panose="020B0604030504040204" pitchFamily="34" charset="0"/>
                <a:ea typeface="Verdana" panose="020B0604030504040204" pitchFamily="34" charset="0"/>
                <a:cs typeface="Verdana" panose="020B0604030504040204" pitchFamily="34" charset="0"/>
              </a:rPr>
              <a:t>End to End Traceability</a:t>
            </a:r>
          </a:p>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ake use of </a:t>
            </a:r>
            <a:r>
              <a:rPr lang="en-US" sz="900" dirty="0" err="1">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Sight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for end-to-end traceability and Ensure DevOps adoption by integrating it with all the existing DevOps tools(ALM, CI, SCM, Deployment tool, Code Review, Artifact management, Environment, ITSM, CMDB, Feedback and Monitoring ) seamless release in a single work flow.</a:t>
            </a:r>
          </a:p>
        </p:txBody>
      </p:sp>
    </p:spTree>
    <p:extLst>
      <p:ext uri="{BB962C8B-B14F-4D97-AF65-F5344CB8AC3E}">
        <p14:creationId xmlns:p14="http://schemas.microsoft.com/office/powerpoint/2010/main" val="180430077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Measure and Monitor</a:t>
            </a:r>
            <a:endParaRPr lang="en-US" dirty="0"/>
          </a:p>
        </p:txBody>
      </p:sp>
      <p:sp>
        <p:nvSpPr>
          <p:cNvPr id="6" name="Rectangle 5"/>
          <p:cNvSpPr/>
          <p:nvPr/>
        </p:nvSpPr>
        <p:spPr>
          <a:xfrm>
            <a:off x="4025769" y="892825"/>
            <a:ext cx="4972693" cy="1403808"/>
          </a:xfrm>
          <a:prstGeom prst="rect">
            <a:avLst/>
          </a:prstGeom>
          <a:noFill/>
          <a:ln>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Team is aware of Logging strategy. </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Logging strategy is defined.</a:t>
            </a:r>
          </a:p>
          <a:p>
            <a:pPr marL="171450" indent="-171450">
              <a:buFont typeface="Arial" panose="020B0604020202020204" pitchFamily="34" charset="0"/>
              <a:buChar char="•"/>
            </a:pP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Pre/Production logs are not collected centrally.</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Dashboards </a:t>
            </a:r>
            <a:r>
              <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rPr>
              <a:t>or alerts set up is available to monitor key application metrics or key business metrics</a:t>
            </a: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Monitoring Tools not integrated with ALM or ITIL Tools for Self-Ticketing and Self-Healing.</a:t>
            </a:r>
            <a:endParaRPr lang="en-US" sz="9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9"/>
          <p:cNvSpPr/>
          <p:nvPr/>
        </p:nvSpPr>
        <p:spPr>
          <a:xfrm>
            <a:off x="7004557" y="32082"/>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3.5 /Established</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5892266" y="33902"/>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4017287" y="642617"/>
            <a:ext cx="2192054" cy="245102"/>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7" name="TextBox 16"/>
          <p:cNvSpPr txBox="1"/>
          <p:nvPr/>
        </p:nvSpPr>
        <p:spPr>
          <a:xfrm>
            <a:off x="4038553" y="610720"/>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val="2830138522"/>
              </p:ext>
            </p:extLst>
          </p:nvPr>
        </p:nvGraphicFramePr>
        <p:xfrm>
          <a:off x="39646" y="642617"/>
          <a:ext cx="3819973" cy="3993178"/>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8"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980978" y="2415309"/>
            <a:ext cx="3259794" cy="240883"/>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4" name="Rectangle 13"/>
          <p:cNvSpPr/>
          <p:nvPr/>
        </p:nvSpPr>
        <p:spPr>
          <a:xfrm>
            <a:off x="4017277" y="2710940"/>
            <a:ext cx="5017484" cy="810155"/>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Monitoring system/tools to be linked with defect management system –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JIRA and ITIL Ticketing Tools like CA-</a:t>
            </a:r>
            <a:r>
              <a:rPr lang="en-US" sz="900" dirty="0" err="1"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erviceDesk</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hich can automatically create defects for every new exceptions for quicker resolution.</a:t>
            </a:r>
          </a:p>
          <a:p>
            <a:pPr marL="285750" indent="-285750">
              <a:buFont typeface="Arial" panose="020B0604020202020204" pitchFamily="34" charset="0"/>
              <a:buChar char="•"/>
            </a:pPr>
            <a:endParaRPr lang="en-US" sz="900" dirty="0">
              <a:solidFill>
                <a:schemeClr val="tx2">
                  <a:lumMod val="75000"/>
                </a:schemeClr>
              </a:solidFill>
            </a:endParaRPr>
          </a:p>
        </p:txBody>
      </p:sp>
      <p:sp>
        <p:nvSpPr>
          <p:cNvPr id="19" name="TextBox 18"/>
          <p:cNvSpPr txBox="1"/>
          <p:nvPr/>
        </p:nvSpPr>
        <p:spPr>
          <a:xfrm>
            <a:off x="3980978" y="2399360"/>
            <a:ext cx="3259794"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Tree>
    <p:extLst>
      <p:ext uri="{BB962C8B-B14F-4D97-AF65-F5344CB8AC3E}">
        <p14:creationId xmlns:p14="http://schemas.microsoft.com/office/powerpoint/2010/main" val="138937737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GEN – Environment Management</a:t>
            </a:r>
            <a:endParaRPr lang="en-US" dirty="0"/>
          </a:p>
        </p:txBody>
      </p:sp>
      <p:pic>
        <p:nvPicPr>
          <p:cNvPr id="6" name="Picture 5"/>
          <p:cNvPicPr>
            <a:picLocks noChangeAspect="1"/>
          </p:cNvPicPr>
          <p:nvPr/>
        </p:nvPicPr>
        <p:blipFill>
          <a:blip r:embed="rId2"/>
          <a:stretch>
            <a:fillRect/>
          </a:stretch>
        </p:blipFill>
        <p:spPr>
          <a:xfrm>
            <a:off x="27738" y="4199939"/>
            <a:ext cx="288300" cy="285194"/>
          </a:xfrm>
          <a:prstGeom prst="rect">
            <a:avLst/>
          </a:prstGeom>
        </p:spPr>
      </p:pic>
      <p:sp>
        <p:nvSpPr>
          <p:cNvPr id="8" name="Rectangle 7"/>
          <p:cNvSpPr/>
          <p:nvPr/>
        </p:nvSpPr>
        <p:spPr>
          <a:xfrm>
            <a:off x="6964911" y="92204"/>
            <a:ext cx="1993905"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1.9 / Embracing</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5852620" y="94024"/>
            <a:ext cx="1041337" cy="30952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b="1" dirty="0" smtClean="0">
                <a:latin typeface="Verdana" panose="020B0604030504040204" pitchFamily="34" charset="0"/>
                <a:ea typeface="Verdana" panose="020B0604030504040204" pitchFamily="34" charset="0"/>
                <a:cs typeface="Verdana" panose="020B0604030504040204" pitchFamily="34" charset="0"/>
              </a:rPr>
              <a:t>Score</a:t>
            </a:r>
            <a:endParaRPr lang="en-US" sz="1400" b="1" dirty="0">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p:cNvSpPr txBox="1"/>
          <p:nvPr/>
        </p:nvSpPr>
        <p:spPr>
          <a:xfrm>
            <a:off x="4721216" y="631248"/>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4770559" y="924704"/>
            <a:ext cx="4258867" cy="1976358"/>
          </a:xfrm>
          <a:prstGeom prst="rect">
            <a:avLst/>
          </a:prstGeom>
          <a:noFill/>
          <a:ln w="19050">
            <a:solidFill>
              <a:schemeClr val="tx2">
                <a:lumMod val="75000"/>
              </a:schemeClr>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Environment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ontroll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mp; managed environments through defined process and manual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workflows.</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configuration 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Self Service Tools Available.</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service virtualization.</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No template for  environment requirement gathering from Users/Test Team.</a:t>
            </a:r>
          </a:p>
          <a:p>
            <a:r>
              <a:rPr lang="en-US" sz="9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est Data Management</a:t>
            </a:r>
          </a:p>
          <a:p>
            <a:pPr marL="171450" indent="-171450">
              <a:buFont typeface="Arial" panose="020B0604020202020204" pitchFamily="34" charset="0"/>
              <a:buChar char="•"/>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Test Data is created using scripts during the test design phase</a:t>
            </a:r>
            <a:endPar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4758487" y="650246"/>
            <a:ext cx="2245215" cy="272270"/>
          </a:xfrm>
          <a:prstGeom prst="rect">
            <a:avLst/>
          </a:prstGeom>
          <a:solidFill>
            <a:schemeClr val="accent3"/>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7" name="Rectangle 16"/>
          <p:cNvSpPr/>
          <p:nvPr/>
        </p:nvSpPr>
        <p:spPr>
          <a:xfrm>
            <a:off x="251464" y="4107262"/>
            <a:ext cx="4342557" cy="60496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CA Service Desk used for ITIL Configurations Items.</a:t>
            </a:r>
          </a:p>
          <a:p>
            <a:pPr marL="171450" indent="-171450">
              <a:buFont typeface="Wingdings" panose="05000000000000000000" pitchFamily="2" charset="2"/>
              <a:buChar char="q"/>
            </a:pP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Management is performed by Operations.</a:t>
            </a:r>
          </a:p>
        </p:txBody>
      </p:sp>
      <p:sp>
        <p:nvSpPr>
          <p:cNvPr id="18" name="TextBox 17"/>
          <p:cNvSpPr txBox="1"/>
          <p:nvPr/>
        </p:nvSpPr>
        <p:spPr>
          <a:xfrm>
            <a:off x="42429" y="3815631"/>
            <a:ext cx="4551591" cy="276999"/>
          </a:xfrm>
          <a:prstGeom prst="rect">
            <a:avLst/>
          </a:prstGeom>
          <a:solidFill>
            <a:schemeClr val="tx2">
              <a:lumMod val="75000"/>
            </a:schemeClr>
          </a:solid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Key Highlights</a:t>
            </a:r>
          </a:p>
        </p:txBody>
      </p:sp>
      <p:sp>
        <p:nvSpPr>
          <p:cNvPr id="19" name="TextBox 18"/>
          <p:cNvSpPr txBox="1"/>
          <p:nvPr/>
        </p:nvSpPr>
        <p:spPr>
          <a:xfrm>
            <a:off x="4832915" y="631625"/>
            <a:ext cx="2170787" cy="276999"/>
          </a:xfrm>
          <a:prstGeom prst="rect">
            <a:avLst/>
          </a:prstGeom>
          <a:noFill/>
        </p:spPr>
        <p:txBody>
          <a:bodyPr wrap="non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Key Risks and Findings</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0" name="Chart 19"/>
          <p:cNvGraphicFramePr>
            <a:graphicFrameLocks/>
          </p:cNvGraphicFramePr>
          <p:nvPr>
            <p:extLst>
              <p:ext uri="{D42A27DB-BD31-4B8C-83A1-F6EECF244321}">
                <p14:modId xmlns:p14="http://schemas.microsoft.com/office/powerpoint/2010/main" val="2571727982"/>
              </p:ext>
            </p:extLst>
          </p:nvPr>
        </p:nvGraphicFramePr>
        <p:xfrm>
          <a:off x="55997" y="640575"/>
          <a:ext cx="4538024" cy="3067747"/>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22"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4770559" y="3010940"/>
            <a:ext cx="3331450" cy="281560"/>
          </a:xfrm>
          <a:prstGeom prst="rect">
            <a:avLst/>
          </a:prstGeom>
          <a:solidFill>
            <a:srgbClr val="00B050"/>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4" name="TextBox 23"/>
          <p:cNvSpPr txBox="1"/>
          <p:nvPr/>
        </p:nvSpPr>
        <p:spPr>
          <a:xfrm>
            <a:off x="4792163" y="3025209"/>
            <a:ext cx="3458702" cy="276999"/>
          </a:xfrm>
          <a:prstGeom prst="rect">
            <a:avLst/>
          </a:prstGeom>
          <a:noFill/>
        </p:spPr>
        <p:txBody>
          <a:bodyPr wrap="square" rtlCol="0">
            <a:spAutoFit/>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Recommendations &amp; Best Practices</a:t>
            </a:r>
          </a:p>
        </p:txBody>
      </p:sp>
      <p:sp>
        <p:nvSpPr>
          <p:cNvPr id="25" name="Rectangle 24"/>
          <p:cNvSpPr/>
          <p:nvPr/>
        </p:nvSpPr>
        <p:spPr>
          <a:xfrm>
            <a:off x="4803889" y="3305575"/>
            <a:ext cx="4225537" cy="1179557"/>
          </a:xfrm>
          <a:prstGeom prst="rect">
            <a:avLst/>
          </a:prstGeom>
          <a:solidFill>
            <a:schemeClr val="bg1"/>
          </a:solidFill>
          <a:ln w="19050">
            <a:solidFill>
              <a:schemeClr val="accent1"/>
            </a:solidFill>
            <a:prstDash val="dashDot"/>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nsible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for Environment configuration and provisioning.</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ntroduce self service enablement towards booking and scheduling – Leverag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SharePoint/Confluence and similar other tools</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a:t>
            </a:r>
          </a:p>
          <a:p>
            <a:pPr marL="171450" indent="-171450">
              <a:buFont typeface="Wingdings" panose="05000000000000000000" pitchFamily="2" charset="2"/>
              <a:buChar char="§"/>
            </a:pP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Implement Recipe </a:t>
            </a:r>
            <a:r>
              <a:rPr lang="en-US" sz="900" dirty="0" smtClean="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based </a:t>
            </a:r>
            <a:r>
              <a:rPr lang="en-US" sz="900" dirty="0">
                <a:solidFill>
                  <a:schemeClr val="tx2">
                    <a:lumMod val="75000"/>
                  </a:schemeClr>
                </a:solidFill>
                <a:latin typeface="Verdana" panose="020B0604030504040204" pitchFamily="34" charset="0"/>
                <a:ea typeface="Verdana" panose="020B0604030504040204" pitchFamily="34" charset="0"/>
                <a:cs typeface="Verdana" panose="020B0604030504040204" pitchFamily="34" charset="0"/>
              </a:rPr>
              <a:t>environment provisioning and build for quicker turnaround</a:t>
            </a:r>
          </a:p>
        </p:txBody>
      </p:sp>
    </p:spTree>
    <p:extLst>
      <p:ext uri="{BB962C8B-B14F-4D97-AF65-F5344CB8AC3E}">
        <p14:creationId xmlns:p14="http://schemas.microsoft.com/office/powerpoint/2010/main" val="34249907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Phase 1 – Interview Statu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50013884"/>
              </p:ext>
            </p:extLst>
          </p:nvPr>
        </p:nvGraphicFramePr>
        <p:xfrm>
          <a:off x="182848" y="883513"/>
          <a:ext cx="4357258" cy="3794760"/>
        </p:xfrm>
        <a:graphic>
          <a:graphicData uri="http://schemas.openxmlformats.org/drawingml/2006/table">
            <a:tbl>
              <a:tblPr firstRow="1" bandRow="1">
                <a:tableStyleId>{69012ECD-51FC-41F1-AA8D-1B2483CD663E}</a:tableStyleId>
              </a:tblPr>
              <a:tblGrid>
                <a:gridCol w="731554"/>
                <a:gridCol w="2179406"/>
                <a:gridCol w="808343"/>
                <a:gridCol w="637955"/>
              </a:tblGrid>
              <a:tr h="315979">
                <a:tc>
                  <a:txBody>
                    <a:bodyPr/>
                    <a:lstStyle/>
                    <a:p>
                      <a:r>
                        <a:rPr lang="en-US" sz="1100" dirty="0" smtClean="0">
                          <a:solidFill>
                            <a:schemeClr val="bg1"/>
                          </a:solidFill>
                        </a:rPr>
                        <a:t>Team/</a:t>
                      </a:r>
                    </a:p>
                    <a:p>
                      <a:r>
                        <a:rPr lang="en-US" sz="1100" dirty="0" smtClean="0">
                          <a:solidFill>
                            <a:schemeClr val="bg1"/>
                          </a:solidFill>
                        </a:rPr>
                        <a:t>Portfolio</a:t>
                      </a:r>
                      <a:endParaRPr lang="en-US" sz="1100" dirty="0">
                        <a:solidFill>
                          <a:schemeClr val="bg1"/>
                        </a:solidFill>
                      </a:endParaRPr>
                    </a:p>
                  </a:txBody>
                  <a:tcPr marL="68580" marR="68580" marT="34290" marB="34290"/>
                </a:tc>
                <a:tc>
                  <a:txBody>
                    <a:bodyPr/>
                    <a:lstStyle/>
                    <a:p>
                      <a:r>
                        <a:rPr lang="en-US" sz="1100" dirty="0" smtClean="0">
                          <a:solidFill>
                            <a:schemeClr val="bg1"/>
                          </a:solidFill>
                        </a:rPr>
                        <a:t>Member(s)</a:t>
                      </a:r>
                      <a:endParaRPr lang="en-US" sz="1100" dirty="0">
                        <a:solidFill>
                          <a:schemeClr val="bg1"/>
                        </a:solidFill>
                      </a:endParaRPr>
                    </a:p>
                  </a:txBody>
                  <a:tcPr marL="68580" marR="68580" marT="34290" marB="34290"/>
                </a:tc>
                <a:tc>
                  <a:txBody>
                    <a:bodyPr/>
                    <a:lstStyle/>
                    <a:p>
                      <a:pPr marL="0" algn="l" defTabSz="914251" rtl="0" eaLnBrk="1" latinLnBrk="0" hangingPunct="1"/>
                      <a:r>
                        <a:rPr lang="en-US" sz="1100" kern="1200" dirty="0" smtClean="0">
                          <a:solidFill>
                            <a:schemeClr val="bg1"/>
                          </a:solidFill>
                        </a:rPr>
                        <a:t>Interview Schedule</a:t>
                      </a:r>
                      <a:endParaRPr lang="en-US" sz="1100" b="1" kern="1200" dirty="0">
                        <a:solidFill>
                          <a:schemeClr val="bg1"/>
                        </a:solidFill>
                        <a:latin typeface="+mn-lt"/>
                        <a:ea typeface="+mn-ea"/>
                        <a:cs typeface="+mn-cs"/>
                      </a:endParaRPr>
                    </a:p>
                  </a:txBody>
                  <a:tcPr marL="68580" marR="68580" marT="34290" marB="34290"/>
                </a:tc>
                <a:tc>
                  <a:txBody>
                    <a:bodyPr/>
                    <a:lstStyle/>
                    <a:p>
                      <a:pPr marL="0" algn="l" defTabSz="914251" rtl="0" eaLnBrk="1" latinLnBrk="0" hangingPunct="1"/>
                      <a:r>
                        <a:rPr lang="en-US" sz="1100" kern="1200" dirty="0" smtClean="0">
                          <a:solidFill>
                            <a:schemeClr val="bg1"/>
                          </a:solidFill>
                        </a:rPr>
                        <a:t>Status</a:t>
                      </a:r>
                      <a:endParaRPr lang="en-US" sz="1100" b="1" kern="1200" dirty="0">
                        <a:solidFill>
                          <a:schemeClr val="bg1"/>
                        </a:solidFill>
                        <a:latin typeface="+mn-lt"/>
                        <a:ea typeface="+mn-ea"/>
                        <a:cs typeface="+mn-cs"/>
                      </a:endParaRPr>
                    </a:p>
                  </a:txBody>
                  <a:tcPr marL="68580" marR="68580" marT="34290" marB="34290"/>
                </a:tc>
              </a:tr>
              <a:tr h="242279">
                <a:tc>
                  <a:txBody>
                    <a:bodyPr/>
                    <a:lstStyle/>
                    <a:p>
                      <a:r>
                        <a:rPr lang="en-US" sz="800" b="0" dirty="0" smtClean="0">
                          <a:solidFill>
                            <a:schemeClr val="tx1"/>
                          </a:solidFill>
                        </a:rPr>
                        <a:t>GEN</a:t>
                      </a:r>
                      <a:endParaRPr lang="en-US" sz="800" b="0" dirty="0">
                        <a:solidFill>
                          <a:schemeClr val="tx1"/>
                        </a:solidFill>
                      </a:endParaRPr>
                    </a:p>
                  </a:txBody>
                  <a:tcPr marL="68580" marR="68580" marT="34290" marB="34290"/>
                </a:tc>
                <a:tc>
                  <a:txBody>
                    <a:bodyPr/>
                    <a:lstStyle/>
                    <a:p>
                      <a:r>
                        <a:rPr lang="en-US" sz="800" b="0" kern="1200" dirty="0" err="1" smtClean="0">
                          <a:solidFill>
                            <a:schemeClr val="tx1"/>
                          </a:solidFill>
                          <a:effectLst/>
                          <a:latin typeface="+mn-lt"/>
                          <a:ea typeface="+mn-ea"/>
                          <a:cs typeface="+mn-cs"/>
                        </a:rPr>
                        <a:t>Baltazar</a:t>
                      </a:r>
                      <a:r>
                        <a:rPr lang="en-US" sz="800" b="0" kern="1200" dirty="0" smtClean="0">
                          <a:solidFill>
                            <a:schemeClr val="tx1"/>
                          </a:solidFill>
                          <a:effectLst/>
                          <a:latin typeface="+mn-lt"/>
                          <a:ea typeface="+mn-ea"/>
                          <a:cs typeface="+mn-cs"/>
                        </a:rPr>
                        <a:t> </a:t>
                      </a:r>
                      <a:r>
                        <a:rPr lang="en-US" sz="800" b="0" kern="1200" dirty="0" err="1" smtClean="0">
                          <a:solidFill>
                            <a:schemeClr val="tx1"/>
                          </a:solidFill>
                          <a:effectLst/>
                          <a:latin typeface="+mn-lt"/>
                          <a:ea typeface="+mn-ea"/>
                          <a:cs typeface="+mn-cs"/>
                        </a:rPr>
                        <a:t>Landerreche</a:t>
                      </a:r>
                      <a:r>
                        <a:rPr lang="en-US" sz="800" b="0" kern="1200" dirty="0" smtClean="0">
                          <a:solidFill>
                            <a:schemeClr val="tx1"/>
                          </a:solidFill>
                          <a:effectLst/>
                          <a:latin typeface="+mn-lt"/>
                          <a:ea typeface="+mn-ea"/>
                          <a:cs typeface="+mn-cs"/>
                        </a:rPr>
                        <a:t> (Project Leader - </a:t>
                      </a:r>
                      <a:r>
                        <a:rPr lang="en-US" sz="800" b="0" kern="1200" dirty="0" err="1" smtClean="0">
                          <a:solidFill>
                            <a:schemeClr val="tx1"/>
                          </a:solidFill>
                          <a:effectLst/>
                          <a:latin typeface="+mn-lt"/>
                          <a:ea typeface="+mn-ea"/>
                          <a:cs typeface="+mn-cs"/>
                        </a:rPr>
                        <a:t>Naranja</a:t>
                      </a:r>
                      <a:r>
                        <a:rPr lang="en-US" sz="800" b="0" kern="1200" dirty="0" smtClean="0">
                          <a:solidFill>
                            <a:schemeClr val="tx1"/>
                          </a:solidFill>
                          <a:effectLst/>
                          <a:latin typeface="+mn-lt"/>
                          <a:ea typeface="+mn-ea"/>
                          <a:cs typeface="+mn-cs"/>
                        </a:rPr>
                        <a:t>)</a:t>
                      </a:r>
                      <a:r>
                        <a:rPr lang="en-US" sz="800" b="0" kern="1200" baseline="0" dirty="0" smtClean="0">
                          <a:solidFill>
                            <a:schemeClr val="tx1"/>
                          </a:solidFill>
                          <a:effectLst/>
                          <a:latin typeface="+mn-lt"/>
                          <a:ea typeface="+mn-ea"/>
                          <a:cs typeface="+mn-cs"/>
                        </a:rPr>
                        <a:t> </a:t>
                      </a:r>
                    </a:p>
                    <a:p>
                      <a:r>
                        <a:rPr lang="en-US" sz="800" b="0" kern="1200" dirty="0" smtClean="0">
                          <a:solidFill>
                            <a:schemeClr val="tx1"/>
                          </a:solidFill>
                          <a:effectLst/>
                          <a:latin typeface="+mn-lt"/>
                          <a:ea typeface="+mn-ea"/>
                          <a:cs typeface="+mn-cs"/>
                        </a:rPr>
                        <a:t>Carlos </a:t>
                      </a:r>
                      <a:r>
                        <a:rPr lang="en-US" sz="800" b="0" kern="1200" dirty="0" err="1" smtClean="0">
                          <a:solidFill>
                            <a:schemeClr val="tx1"/>
                          </a:solidFill>
                          <a:effectLst/>
                          <a:latin typeface="+mn-lt"/>
                          <a:ea typeface="+mn-ea"/>
                          <a:cs typeface="+mn-cs"/>
                        </a:rPr>
                        <a:t>Maidana</a:t>
                      </a:r>
                      <a:r>
                        <a:rPr lang="en-US" sz="800" b="0" kern="1200" dirty="0" smtClean="0">
                          <a:solidFill>
                            <a:schemeClr val="tx1"/>
                          </a:solidFill>
                          <a:effectLst/>
                          <a:latin typeface="+mn-lt"/>
                          <a:ea typeface="+mn-ea"/>
                          <a:cs typeface="+mn-cs"/>
                        </a:rPr>
                        <a:t> (Technical Developer - AYI)</a:t>
                      </a:r>
                    </a:p>
                  </a:txBody>
                  <a:tcPr marL="68580" marR="68580" marT="34290" marB="34290"/>
                </a:tc>
                <a:tc>
                  <a:txBody>
                    <a:bodyPr/>
                    <a:lstStyle/>
                    <a:p>
                      <a:r>
                        <a:rPr lang="en-US" sz="800" dirty="0" smtClean="0"/>
                        <a:t>02/06/2018</a:t>
                      </a:r>
                      <a:r>
                        <a:rPr lang="en-US" sz="800" baseline="0" dirty="0" smtClean="0"/>
                        <a:t> </a:t>
                      </a:r>
                      <a:endParaRPr lang="en-US" sz="800" dirty="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226018">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App </a:t>
                      </a:r>
                      <a:r>
                        <a:rPr lang="en-US" sz="800" b="0" dirty="0" err="1" smtClean="0">
                          <a:solidFill>
                            <a:schemeClr val="tx1"/>
                          </a:solidFill>
                        </a:rPr>
                        <a:t>Naranja</a:t>
                      </a:r>
                      <a:endParaRPr lang="en-US" sz="800" b="0" dirty="0" smtClean="0">
                        <a:solidFill>
                          <a:schemeClr val="tx1"/>
                        </a:solidFill>
                      </a:endParaRPr>
                    </a:p>
                    <a:p>
                      <a:endParaRPr lang="en-US" sz="800" b="0" dirty="0" smtClean="0">
                        <a:solidFill>
                          <a:schemeClr val="tx1"/>
                        </a:solidFill>
                      </a:endParaRPr>
                    </a:p>
                  </a:txBody>
                  <a:tcPr marL="68580" marR="68580" marT="34290" marB="34290"/>
                </a:tc>
                <a:tc>
                  <a:txBody>
                    <a:bodyPr/>
                    <a:lstStyle/>
                    <a:p>
                      <a:r>
                        <a:rPr lang="en-US" sz="800" b="0" dirty="0" smtClean="0">
                          <a:solidFill>
                            <a:schemeClr val="tx1"/>
                          </a:solidFill>
                        </a:rPr>
                        <a:t>Enzo </a:t>
                      </a:r>
                      <a:r>
                        <a:rPr lang="en-US" sz="800" b="0" dirty="0" err="1" smtClean="0">
                          <a:solidFill>
                            <a:schemeClr val="tx1"/>
                          </a:solidFill>
                        </a:rPr>
                        <a:t>Rigonatto</a:t>
                      </a:r>
                      <a:r>
                        <a:rPr lang="en-US" sz="800" b="0" dirty="0" smtClean="0">
                          <a:solidFill>
                            <a:schemeClr val="tx1"/>
                          </a:solidFill>
                        </a:rPr>
                        <a:t> (Governor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Gabriela Sesto (Functional Leader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Sofia Paoli (DevOps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Juan </a:t>
                      </a:r>
                      <a:r>
                        <a:rPr lang="en-US" sz="800" b="0" dirty="0" err="1" smtClean="0">
                          <a:solidFill>
                            <a:schemeClr val="tx1"/>
                          </a:solidFill>
                        </a:rPr>
                        <a:t>Caivano</a:t>
                      </a:r>
                      <a:r>
                        <a:rPr lang="en-US" sz="800" b="0" dirty="0" smtClean="0">
                          <a:solidFill>
                            <a:schemeClr val="tx1"/>
                          </a:solidFill>
                        </a:rPr>
                        <a:t> (DevOps – 3XM Group)</a:t>
                      </a:r>
                    </a:p>
                    <a:p>
                      <a:r>
                        <a:rPr lang="en-US" sz="800" b="0" dirty="0" smtClean="0">
                          <a:solidFill>
                            <a:schemeClr val="tx1"/>
                          </a:solidFill>
                        </a:rPr>
                        <a:t>Damian </a:t>
                      </a:r>
                      <a:r>
                        <a:rPr lang="en-US" sz="800" b="0" dirty="0" err="1" smtClean="0">
                          <a:solidFill>
                            <a:schemeClr val="tx1"/>
                          </a:solidFill>
                        </a:rPr>
                        <a:t>Bringas</a:t>
                      </a:r>
                      <a:r>
                        <a:rPr lang="en-US" sz="800" b="0" dirty="0" smtClean="0">
                          <a:solidFill>
                            <a:schemeClr val="tx1"/>
                          </a:solidFill>
                        </a:rPr>
                        <a:t> (Technical Developer - IBM)</a:t>
                      </a:r>
                    </a:p>
                    <a:p>
                      <a:r>
                        <a:rPr lang="en-US" sz="800" b="0" dirty="0" smtClean="0">
                          <a:solidFill>
                            <a:schemeClr val="tx1"/>
                          </a:solidFill>
                        </a:rPr>
                        <a:t>Joel de la </a:t>
                      </a:r>
                      <a:r>
                        <a:rPr lang="en-US" sz="800" b="0" dirty="0" err="1" smtClean="0">
                          <a:solidFill>
                            <a:schemeClr val="tx1"/>
                          </a:solidFill>
                        </a:rPr>
                        <a:t>Torriente</a:t>
                      </a:r>
                      <a:r>
                        <a:rPr lang="en-US" sz="800" b="0" dirty="0" smtClean="0">
                          <a:solidFill>
                            <a:schemeClr val="tx1"/>
                          </a:solidFill>
                        </a:rPr>
                        <a:t> (Technical Developer - IBM)</a:t>
                      </a:r>
                    </a:p>
                  </a:txBody>
                  <a:tcPr marL="68580" marR="68580" marT="34290" marB="34290"/>
                </a:tc>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dirty="0" smtClean="0"/>
                        <a:t>02/07/2018</a:t>
                      </a:r>
                      <a:endParaRPr lang="en-US" sz="800" dirty="0" smtClean="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202226">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NOL</a:t>
                      </a:r>
                    </a:p>
                    <a:p>
                      <a:endParaRPr lang="en-US" sz="800" b="0" dirty="0" smtClean="0">
                        <a:solidFill>
                          <a:schemeClr val="tx1"/>
                        </a:solidFill>
                      </a:endParaRPr>
                    </a:p>
                  </a:txBody>
                  <a:tcPr marL="68580" marR="68580" marT="34290" marB="34290"/>
                </a:tc>
                <a:tc>
                  <a:txBody>
                    <a:bodyPr/>
                    <a:lstStyle/>
                    <a:p>
                      <a:r>
                        <a:rPr lang="en-US" sz="800" b="0" dirty="0" smtClean="0">
                          <a:solidFill>
                            <a:schemeClr val="tx1"/>
                          </a:solidFill>
                        </a:rPr>
                        <a:t>Paola </a:t>
                      </a:r>
                      <a:r>
                        <a:rPr lang="en-US" sz="800" b="0" dirty="0" err="1" smtClean="0">
                          <a:solidFill>
                            <a:schemeClr val="tx1"/>
                          </a:solidFill>
                        </a:rPr>
                        <a:t>Margara</a:t>
                      </a:r>
                      <a:r>
                        <a:rPr lang="en-US" sz="800" b="0" dirty="0" smtClean="0">
                          <a:solidFill>
                            <a:schemeClr val="tx1"/>
                          </a:solidFill>
                        </a:rPr>
                        <a:t> (Coordinator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Gabriela Sesto (Functional Leader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Gustavo Ferrero (Technical Developer - </a:t>
                      </a:r>
                      <a:r>
                        <a:rPr lang="en-US" sz="800" b="0" dirty="0" err="1" smtClean="0">
                          <a:solidFill>
                            <a:schemeClr val="tx1"/>
                          </a:solidFill>
                        </a:rPr>
                        <a:t>Globant</a:t>
                      </a:r>
                      <a:r>
                        <a:rPr lang="en-US" sz="800" b="0" dirty="0" smtClean="0">
                          <a:solidFill>
                            <a:schemeClr val="tx1"/>
                          </a:solidFill>
                        </a:rPr>
                        <a:t>)</a:t>
                      </a:r>
                    </a:p>
                    <a:p>
                      <a:r>
                        <a:rPr lang="en-US" sz="800" b="0" dirty="0" smtClean="0">
                          <a:solidFill>
                            <a:schemeClr val="tx1"/>
                          </a:solidFill>
                        </a:rPr>
                        <a:t>Sofia Paoli (DevOps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Juan </a:t>
                      </a:r>
                      <a:r>
                        <a:rPr lang="en-US" sz="800" b="0" dirty="0" err="1" smtClean="0">
                          <a:solidFill>
                            <a:schemeClr val="tx1"/>
                          </a:solidFill>
                        </a:rPr>
                        <a:t>Caivano</a:t>
                      </a:r>
                      <a:r>
                        <a:rPr lang="en-US" sz="800" b="0" dirty="0" smtClean="0">
                          <a:solidFill>
                            <a:schemeClr val="tx1"/>
                          </a:solidFill>
                        </a:rPr>
                        <a:t> (DevOps - 3XM Group)</a:t>
                      </a:r>
                    </a:p>
                  </a:txBody>
                  <a:tcPr marL="68580" marR="68580" marT="34290" marB="34290"/>
                </a:tc>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dirty="0" smtClean="0"/>
                        <a:t>02/07/2018</a:t>
                      </a:r>
                      <a:endParaRPr lang="en-US" sz="800" dirty="0" smtClean="0">
                        <a:solidFill>
                          <a:schemeClr val="tx1"/>
                        </a:solidFill>
                      </a:endParaRPr>
                    </a:p>
                    <a:p>
                      <a:endParaRPr lang="en-US" sz="800" dirty="0"/>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276919">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NOL CA</a:t>
                      </a:r>
                    </a:p>
                    <a:p>
                      <a:endParaRPr lang="en-US" sz="800" b="0" dirty="0">
                        <a:solidFill>
                          <a:schemeClr val="tx1"/>
                        </a:solidFill>
                      </a:endParaRPr>
                    </a:p>
                  </a:txBody>
                  <a:tcPr marL="68580" marR="68580" marT="34290" marB="34290"/>
                </a:tc>
                <a:tc>
                  <a:txBody>
                    <a:bodyPr/>
                    <a:lstStyle/>
                    <a:p>
                      <a:r>
                        <a:rPr lang="en-US" sz="800" b="0" dirty="0" smtClean="0">
                          <a:solidFill>
                            <a:schemeClr val="tx1"/>
                          </a:solidFill>
                        </a:rPr>
                        <a:t>Paola </a:t>
                      </a:r>
                      <a:r>
                        <a:rPr lang="en-US" sz="800" b="0" dirty="0" err="1" smtClean="0">
                          <a:solidFill>
                            <a:schemeClr val="tx1"/>
                          </a:solidFill>
                        </a:rPr>
                        <a:t>Margara</a:t>
                      </a:r>
                      <a:r>
                        <a:rPr lang="en-US" sz="800" b="0" dirty="0" smtClean="0">
                          <a:solidFill>
                            <a:schemeClr val="tx1"/>
                          </a:solidFill>
                        </a:rPr>
                        <a:t> (Coordinator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Mario Cabrera (Functional Leader -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Marcos Aguirre (Technical Developer - AYI)</a:t>
                      </a:r>
                    </a:p>
                    <a:p>
                      <a:endParaRPr lang="en-US" sz="800" b="0" dirty="0">
                        <a:solidFill>
                          <a:schemeClr val="tx1"/>
                        </a:solidFill>
                      </a:endParaRPr>
                    </a:p>
                  </a:txBody>
                  <a:tcPr marL="68580" marR="68580" marT="34290" marB="34290"/>
                </a:tc>
                <a:tc>
                  <a:txBody>
                    <a:bodyPr/>
                    <a:lstStyle/>
                    <a:p>
                      <a:r>
                        <a:rPr lang="en-US" sz="800" dirty="0" smtClean="0"/>
                        <a:t>02/09/2018</a:t>
                      </a:r>
                      <a:endParaRPr lang="en-US" sz="800" dirty="0"/>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243861">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BPM</a:t>
                      </a:r>
                    </a:p>
                    <a:p>
                      <a:endParaRPr lang="en-US" sz="800" b="0" dirty="0" smtClean="0">
                        <a:solidFill>
                          <a:schemeClr val="tx1"/>
                        </a:solidFill>
                      </a:endParaRPr>
                    </a:p>
                  </a:txBody>
                  <a:tcPr marL="68580" marR="68580" marT="34290" marB="34290"/>
                </a:tc>
                <a:tc>
                  <a:txBody>
                    <a:bodyPr/>
                    <a:lstStyle/>
                    <a:p>
                      <a:r>
                        <a:rPr lang="en-US" sz="800" b="0" dirty="0" smtClean="0">
                          <a:solidFill>
                            <a:schemeClr val="tx1"/>
                          </a:solidFill>
                        </a:rPr>
                        <a:t>Gustavo </a:t>
                      </a:r>
                      <a:r>
                        <a:rPr lang="en-US" sz="800" b="0" dirty="0" err="1" smtClean="0">
                          <a:solidFill>
                            <a:schemeClr val="tx1"/>
                          </a:solidFill>
                        </a:rPr>
                        <a:t>Tissera</a:t>
                      </a:r>
                      <a:r>
                        <a:rPr lang="en-US" sz="800" b="0" dirty="0" smtClean="0">
                          <a:solidFill>
                            <a:schemeClr val="tx1"/>
                          </a:solidFill>
                        </a:rPr>
                        <a:t> (Leader- </a:t>
                      </a:r>
                      <a:r>
                        <a:rPr lang="en-US" sz="800" b="0" dirty="0" err="1" smtClean="0">
                          <a:solidFill>
                            <a:schemeClr val="tx1"/>
                          </a:solidFill>
                        </a:rPr>
                        <a:t>Naranja</a:t>
                      </a:r>
                      <a:r>
                        <a:rPr lang="en-US" sz="800" b="0" dirty="0" smtClean="0">
                          <a:solidFill>
                            <a:schemeClr val="tx1"/>
                          </a:solidFill>
                        </a:rPr>
                        <a:t>)</a:t>
                      </a:r>
                    </a:p>
                    <a:p>
                      <a:r>
                        <a:rPr lang="en-US" sz="800" b="0" dirty="0" smtClean="0">
                          <a:solidFill>
                            <a:schemeClr val="tx1"/>
                          </a:solidFill>
                        </a:rPr>
                        <a:t>Juan </a:t>
                      </a:r>
                      <a:r>
                        <a:rPr lang="en-US" sz="800" b="0" dirty="0" err="1" smtClean="0">
                          <a:solidFill>
                            <a:schemeClr val="tx1"/>
                          </a:solidFill>
                        </a:rPr>
                        <a:t>Cavallo</a:t>
                      </a:r>
                      <a:r>
                        <a:rPr lang="en-US" sz="800" b="0" dirty="0" smtClean="0">
                          <a:solidFill>
                            <a:schemeClr val="tx1"/>
                          </a:solidFill>
                        </a:rPr>
                        <a:t>  (Technical Developer – </a:t>
                      </a:r>
                      <a:r>
                        <a:rPr lang="en-US" sz="800" b="0" dirty="0" err="1" smtClean="0">
                          <a:solidFill>
                            <a:schemeClr val="tx1"/>
                          </a:solidFill>
                        </a:rPr>
                        <a:t>Naranja</a:t>
                      </a:r>
                      <a:r>
                        <a:rPr lang="en-US" sz="800" b="0" dirty="0" smtClean="0">
                          <a:solidFill>
                            <a:schemeClr val="tx1"/>
                          </a:solidFill>
                        </a:rPr>
                        <a:t>) </a:t>
                      </a:r>
                    </a:p>
                    <a:p>
                      <a:r>
                        <a:rPr lang="en-US" sz="800" b="0" dirty="0" smtClean="0">
                          <a:solidFill>
                            <a:schemeClr val="tx1"/>
                          </a:solidFill>
                        </a:rPr>
                        <a:t>Guillermo Toledo – </a:t>
                      </a:r>
                      <a:r>
                        <a:rPr lang="en-US" sz="800" b="0" dirty="0" err="1" smtClean="0">
                          <a:solidFill>
                            <a:schemeClr val="tx1"/>
                          </a:solidFill>
                        </a:rPr>
                        <a:t>Naranja</a:t>
                      </a:r>
                      <a:r>
                        <a:rPr lang="en-US" sz="800" b="0" dirty="0" smtClean="0">
                          <a:solidFill>
                            <a:schemeClr val="tx1"/>
                          </a:solidFill>
                        </a:rPr>
                        <a:t> (</a:t>
                      </a:r>
                      <a:r>
                        <a:rPr lang="en-US" sz="800" b="0" dirty="0" err="1" smtClean="0">
                          <a:solidFill>
                            <a:schemeClr val="tx1"/>
                          </a:solidFill>
                        </a:rPr>
                        <a:t>ClearCase</a:t>
                      </a:r>
                      <a:r>
                        <a:rPr lang="en-US" sz="800" b="0" dirty="0" smtClean="0">
                          <a:solidFill>
                            <a:schemeClr val="tx1"/>
                          </a:solidFill>
                        </a:rPr>
                        <a:t> Administrator )</a:t>
                      </a:r>
                    </a:p>
                  </a:txBody>
                  <a:tcPr marL="68580" marR="68580" marT="34290" marB="34290"/>
                </a:tc>
                <a:tc>
                  <a:txBody>
                    <a:bodyPr/>
                    <a:lstStyle/>
                    <a:p>
                      <a:r>
                        <a:rPr lang="en-US" sz="800" dirty="0" smtClean="0"/>
                        <a:t>02/08/2018</a:t>
                      </a:r>
                      <a:endParaRPr lang="en-US" sz="800" dirty="0"/>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bl>
          </a:graphicData>
        </a:graphic>
      </p:graphicFrame>
      <p:sp>
        <p:nvSpPr>
          <p:cNvPr id="5" name="Title 1"/>
          <p:cNvSpPr txBox="1">
            <a:spLocks/>
          </p:cNvSpPr>
          <p:nvPr/>
        </p:nvSpPr>
        <p:spPr>
          <a:xfrm>
            <a:off x="1886113" y="636030"/>
            <a:ext cx="959868" cy="3275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defTabSz="457200">
              <a:defRPr sz="2400">
                <a:ea typeface="+mj-ea"/>
                <a:cs typeface="Frutiger LT Std 55 Roman"/>
              </a:defRPr>
            </a:lvl1pPr>
          </a:lstStyle>
          <a:p>
            <a:r>
              <a:rPr lang="en-US" sz="1500" b="1" dirty="0">
                <a:solidFill>
                  <a:srgbClr val="0070C0"/>
                </a:solidFill>
                <a:latin typeface="+mj-lt"/>
                <a:ea typeface="+mn-ea"/>
                <a:cs typeface="Arial" charset="0"/>
              </a:rPr>
              <a:t>Week </a:t>
            </a:r>
            <a:r>
              <a:rPr lang="en-US" sz="1500" b="1" dirty="0" smtClean="0">
                <a:solidFill>
                  <a:srgbClr val="0070C0"/>
                </a:solidFill>
                <a:latin typeface="+mj-lt"/>
                <a:ea typeface="+mn-ea"/>
                <a:cs typeface="Arial" charset="0"/>
              </a:rPr>
              <a:t>1</a:t>
            </a:r>
            <a:endParaRPr lang="en-US" sz="1500" b="1" dirty="0">
              <a:solidFill>
                <a:srgbClr val="0070C0"/>
              </a:solidFill>
              <a:latin typeface="+mj-lt"/>
              <a:ea typeface="+mn-ea"/>
              <a:cs typeface="Arial"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536243139"/>
              </p:ext>
            </p:extLst>
          </p:nvPr>
        </p:nvGraphicFramePr>
        <p:xfrm>
          <a:off x="4673316" y="900494"/>
          <a:ext cx="4226137" cy="3777778"/>
        </p:xfrm>
        <a:graphic>
          <a:graphicData uri="http://schemas.openxmlformats.org/drawingml/2006/table">
            <a:tbl>
              <a:tblPr firstRow="1" bandRow="1">
                <a:tableStyleId>{69012ECD-51FC-41F1-AA8D-1B2483CD663E}</a:tableStyleId>
              </a:tblPr>
              <a:tblGrid>
                <a:gridCol w="830719"/>
                <a:gridCol w="1789902"/>
                <a:gridCol w="893135"/>
                <a:gridCol w="712381"/>
              </a:tblGrid>
              <a:tr h="421520">
                <a:tc>
                  <a:txBody>
                    <a:bodyPr/>
                    <a:lstStyle/>
                    <a:p>
                      <a:r>
                        <a:rPr lang="en-US" sz="1100" dirty="0" smtClean="0">
                          <a:solidFill>
                            <a:schemeClr val="bg1"/>
                          </a:solidFill>
                        </a:rPr>
                        <a:t>Team/</a:t>
                      </a:r>
                    </a:p>
                    <a:p>
                      <a:r>
                        <a:rPr lang="en-US" sz="1100" dirty="0" smtClean="0">
                          <a:solidFill>
                            <a:schemeClr val="bg1"/>
                          </a:solidFill>
                        </a:rPr>
                        <a:t>Portfolio</a:t>
                      </a:r>
                      <a:endParaRPr lang="en-US" sz="1100" dirty="0">
                        <a:solidFill>
                          <a:schemeClr val="bg1"/>
                        </a:solidFill>
                      </a:endParaRPr>
                    </a:p>
                  </a:txBody>
                  <a:tcPr marL="68580" marR="68580" marT="34290" marB="34290"/>
                </a:tc>
                <a:tc>
                  <a:txBody>
                    <a:bodyPr/>
                    <a:lstStyle/>
                    <a:p>
                      <a:r>
                        <a:rPr lang="en-US" sz="1100" dirty="0" smtClean="0">
                          <a:solidFill>
                            <a:schemeClr val="bg1"/>
                          </a:solidFill>
                        </a:rPr>
                        <a:t>Member(s)</a:t>
                      </a:r>
                      <a:endParaRPr lang="en-US" sz="1100" dirty="0">
                        <a:solidFill>
                          <a:schemeClr val="bg1"/>
                        </a:solidFill>
                      </a:endParaRPr>
                    </a:p>
                  </a:txBody>
                  <a:tcPr marL="68580" marR="68580" marT="34290" marB="34290"/>
                </a:tc>
                <a:tc>
                  <a:txBody>
                    <a:bodyPr/>
                    <a:lstStyle/>
                    <a:p>
                      <a:pPr marL="0" algn="l" defTabSz="914251" rtl="0" eaLnBrk="1" latinLnBrk="0" hangingPunct="1"/>
                      <a:r>
                        <a:rPr lang="en-US" sz="1100" kern="1200" dirty="0" smtClean="0">
                          <a:solidFill>
                            <a:schemeClr val="bg1"/>
                          </a:solidFill>
                        </a:rPr>
                        <a:t>Interview Schedule</a:t>
                      </a:r>
                      <a:endParaRPr lang="en-US" sz="1100" b="1" kern="1200" dirty="0">
                        <a:solidFill>
                          <a:schemeClr val="bg1"/>
                        </a:solidFill>
                        <a:latin typeface="+mn-lt"/>
                        <a:ea typeface="+mn-ea"/>
                        <a:cs typeface="+mn-cs"/>
                      </a:endParaRPr>
                    </a:p>
                  </a:txBody>
                  <a:tcPr marL="68580" marR="68580" marT="34290" marB="34290"/>
                </a:tc>
                <a:tc>
                  <a:txBody>
                    <a:bodyPr/>
                    <a:lstStyle/>
                    <a:p>
                      <a:pPr marL="0" algn="l" defTabSz="914251" rtl="0" eaLnBrk="1" latinLnBrk="0" hangingPunct="1"/>
                      <a:r>
                        <a:rPr lang="en-US" sz="1100" kern="1200" dirty="0" smtClean="0">
                          <a:solidFill>
                            <a:schemeClr val="bg1"/>
                          </a:solidFill>
                        </a:rPr>
                        <a:t>Status</a:t>
                      </a:r>
                      <a:endParaRPr lang="en-US" sz="1100" b="1" kern="1200" dirty="0">
                        <a:solidFill>
                          <a:schemeClr val="bg1"/>
                        </a:solidFill>
                        <a:latin typeface="+mn-lt"/>
                        <a:ea typeface="+mn-ea"/>
                        <a:cs typeface="+mn-cs"/>
                      </a:endParaRPr>
                    </a:p>
                  </a:txBody>
                  <a:tcPr marL="68580" marR="68580" marT="34290" marB="34290"/>
                </a:tc>
              </a:tr>
              <a:tr h="580585">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smtClean="0">
                          <a:solidFill>
                            <a:schemeClr val="tx1"/>
                          </a:solidFill>
                        </a:rPr>
                        <a:t>APP</a:t>
                      </a:r>
                      <a:r>
                        <a:rPr lang="en-US" sz="800" b="0" baseline="0" smtClean="0">
                          <a:solidFill>
                            <a:schemeClr val="tx1"/>
                          </a:solidFill>
                        </a:rPr>
                        <a:t> Naranja</a:t>
                      </a:r>
                      <a:endParaRPr lang="en-US" sz="800" b="0" smtClean="0">
                        <a:solidFill>
                          <a:schemeClr val="tx1"/>
                        </a:solidFill>
                      </a:endParaRPr>
                    </a:p>
                    <a:p>
                      <a:endParaRPr lang="it-IT" sz="800" b="0" kern="1200" baseline="0" dirty="0" smtClean="0">
                        <a:solidFill>
                          <a:schemeClr val="tx1"/>
                        </a:solidFill>
                        <a:effectLst/>
                        <a:latin typeface="+mn-lt"/>
                        <a:ea typeface="+mn-ea"/>
                        <a:cs typeface="+mn-cs"/>
                      </a:endParaRPr>
                    </a:p>
                  </a:txBody>
                  <a:tcPr marL="68580" marR="68580" marT="34290" marB="34290"/>
                </a:tc>
                <a:tc>
                  <a:txBody>
                    <a:bodyPr/>
                    <a:lstStyle/>
                    <a:p>
                      <a:r>
                        <a:rPr lang="it-IT" sz="800" b="0" kern="1200" smtClean="0">
                          <a:solidFill>
                            <a:schemeClr val="tx1"/>
                          </a:solidFill>
                          <a:effectLst/>
                          <a:latin typeface="+mn-lt"/>
                          <a:ea typeface="+mn-ea"/>
                          <a:cs typeface="+mn-cs"/>
                        </a:rPr>
                        <a:t>Mara del Vecchio  (Scrum Master – Naranja)</a:t>
                      </a:r>
                    </a:p>
                    <a:p>
                      <a:endParaRPr lang="it-IT" sz="800" b="0" kern="1200" baseline="0" smtClean="0">
                        <a:solidFill>
                          <a:schemeClr val="tx1"/>
                        </a:solidFill>
                        <a:effectLst/>
                        <a:latin typeface="+mn-lt"/>
                        <a:ea typeface="+mn-ea"/>
                        <a:cs typeface="+mn-cs"/>
                      </a:endParaRPr>
                    </a:p>
                    <a:p>
                      <a:endParaRPr lang="en-US" sz="800" b="0" kern="1200" baseline="0" dirty="0" smtClean="0">
                        <a:solidFill>
                          <a:schemeClr val="tx1"/>
                        </a:solidFill>
                        <a:effectLst/>
                        <a:latin typeface="+mn-lt"/>
                        <a:ea typeface="+mn-ea"/>
                        <a:cs typeface="+mn-cs"/>
                      </a:endParaRPr>
                    </a:p>
                  </a:txBody>
                  <a:tcPr marL="68580" marR="68580" marT="34290" marB="34290"/>
                </a:tc>
                <a:tc>
                  <a:txBody>
                    <a:bodyPr/>
                    <a:lstStyle/>
                    <a:p>
                      <a:r>
                        <a:rPr lang="en-US" sz="800" b="0" dirty="0" smtClean="0">
                          <a:solidFill>
                            <a:schemeClr val="tx1"/>
                          </a:solidFill>
                        </a:rPr>
                        <a:t>02/14/2018</a:t>
                      </a:r>
                      <a:endParaRPr lang="en-US" sz="800" b="0" dirty="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580585">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kern="1200" baseline="0" smtClean="0">
                          <a:solidFill>
                            <a:schemeClr val="tx1"/>
                          </a:solidFill>
                          <a:effectLst/>
                          <a:latin typeface="+mn-lt"/>
                          <a:ea typeface="+mn-ea"/>
                          <a:cs typeface="+mn-cs"/>
                        </a:rPr>
                        <a:t>GDD (Demand Management)</a:t>
                      </a:r>
                    </a:p>
                    <a:p>
                      <a:endParaRPr lang="it-IT" sz="800" b="0" kern="1200" baseline="0" dirty="0" smtClean="0">
                        <a:solidFill>
                          <a:schemeClr val="tx1"/>
                        </a:solidFill>
                        <a:effectLst/>
                        <a:latin typeface="+mn-lt"/>
                        <a:ea typeface="+mn-ea"/>
                        <a:cs typeface="+mn-cs"/>
                      </a:endParaRPr>
                    </a:p>
                  </a:txBody>
                  <a:tcPr marL="68580" marR="68580" marT="34290" marB="34290"/>
                </a:tc>
                <a:tc>
                  <a:txBody>
                    <a:bodyPr/>
                    <a:lstStyle/>
                    <a:p>
                      <a:r>
                        <a:rPr lang="en-US" sz="800" b="0" kern="1200" baseline="0" smtClean="0">
                          <a:solidFill>
                            <a:schemeClr val="tx1"/>
                          </a:solidFill>
                          <a:effectLst/>
                          <a:latin typeface="+mn-lt"/>
                          <a:ea typeface="+mn-ea"/>
                          <a:cs typeface="+mn-cs"/>
                        </a:rPr>
                        <a:t>Otto Bisig (Leader – Naranja)</a:t>
                      </a:r>
                    </a:p>
                    <a:p>
                      <a:r>
                        <a:rPr lang="it-IT" sz="800" b="0" kern="1200" baseline="0" smtClean="0">
                          <a:solidFill>
                            <a:schemeClr val="tx1"/>
                          </a:solidFill>
                          <a:effectLst/>
                          <a:latin typeface="+mn-lt"/>
                          <a:ea typeface="+mn-ea"/>
                          <a:cs typeface="+mn-cs"/>
                        </a:rPr>
                        <a:t>Mario Company (IBM)</a:t>
                      </a:r>
                    </a:p>
                    <a:p>
                      <a:r>
                        <a:rPr lang="it-IT" sz="800" b="0" kern="1200" baseline="0" smtClean="0">
                          <a:solidFill>
                            <a:schemeClr val="tx1"/>
                          </a:solidFill>
                          <a:effectLst/>
                          <a:latin typeface="+mn-lt"/>
                          <a:ea typeface="+mn-ea"/>
                          <a:cs typeface="+mn-cs"/>
                        </a:rPr>
                        <a:t>Benjamin Tosello (IBM)</a:t>
                      </a:r>
                    </a:p>
                    <a:p>
                      <a:endParaRPr lang="it-IT" sz="800" b="0" kern="1200" baseline="0" dirty="0" smtClean="0">
                        <a:solidFill>
                          <a:schemeClr val="tx1"/>
                        </a:solidFill>
                        <a:effectLst/>
                        <a:latin typeface="+mn-lt"/>
                        <a:ea typeface="+mn-ea"/>
                        <a:cs typeface="+mn-cs"/>
                      </a:endParaRPr>
                    </a:p>
                  </a:txBody>
                  <a:tcPr marL="68580" marR="68580" marT="34290" marB="34290"/>
                </a:tc>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02/14/2018</a:t>
                      </a:r>
                    </a:p>
                    <a:p>
                      <a:endParaRPr lang="en-US" sz="800" b="0" dirty="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580585">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smtClean="0">
                          <a:solidFill>
                            <a:schemeClr val="tx1"/>
                          </a:solidFill>
                        </a:rPr>
                        <a:t>Monitoring</a:t>
                      </a:r>
                      <a:r>
                        <a:rPr lang="en-US" sz="800" b="0" baseline="0" smtClean="0">
                          <a:solidFill>
                            <a:schemeClr val="tx1"/>
                          </a:solidFill>
                        </a:rPr>
                        <a:t> &amp; Release</a:t>
                      </a:r>
                      <a:endParaRPr lang="en-US" sz="800" b="0" smtClean="0">
                        <a:solidFill>
                          <a:schemeClr val="tx1"/>
                        </a:solidFill>
                      </a:endParaRPr>
                    </a:p>
                    <a:p>
                      <a:endParaRPr lang="en-US" sz="800" b="0" dirty="0" smtClean="0">
                        <a:solidFill>
                          <a:schemeClr val="tx1"/>
                        </a:solidFill>
                      </a:endParaRPr>
                    </a:p>
                  </a:txBody>
                  <a:tcPr marL="68580" marR="68580" marT="34290" marB="34290"/>
                </a:tc>
                <a:tc>
                  <a:txBody>
                    <a:bodyPr/>
                    <a:lstStyle/>
                    <a:p>
                      <a:r>
                        <a:rPr lang="en-US" sz="800" b="0" smtClean="0">
                          <a:solidFill>
                            <a:schemeClr val="tx1"/>
                          </a:solidFill>
                        </a:rPr>
                        <a:t>Nadir Juri – Naranja</a:t>
                      </a:r>
                    </a:p>
                    <a:p>
                      <a:r>
                        <a:rPr lang="en-US" sz="800" b="0" smtClean="0">
                          <a:solidFill>
                            <a:schemeClr val="tx1"/>
                          </a:solidFill>
                        </a:rPr>
                        <a:t>Leonardo Palacios – Naranja</a:t>
                      </a:r>
                    </a:p>
                    <a:p>
                      <a:endParaRPr lang="en-US" sz="800" b="0" smtClean="0">
                        <a:solidFill>
                          <a:schemeClr val="tx1"/>
                        </a:solidFill>
                      </a:endParaRPr>
                    </a:p>
                    <a:p>
                      <a:endParaRPr lang="en-US" sz="800" b="0" baseline="0" dirty="0" smtClean="0">
                        <a:solidFill>
                          <a:schemeClr val="tx1"/>
                        </a:solidFill>
                      </a:endParaRPr>
                    </a:p>
                  </a:txBody>
                  <a:tcPr marL="68580" marR="68580" marT="34290" marB="34290"/>
                </a:tc>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02/15/2018</a:t>
                      </a:r>
                      <a:r>
                        <a:rPr lang="en-US" sz="800" b="0" baseline="0" dirty="0" smtClean="0">
                          <a:solidFill>
                            <a:schemeClr val="tx1"/>
                          </a:solidFill>
                        </a:rPr>
                        <a:t> </a:t>
                      </a:r>
                      <a:endParaRPr lang="en-US" sz="800" b="0" dirty="0" smtClean="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326082">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smtClean="0">
                          <a:solidFill>
                            <a:schemeClr val="tx1"/>
                          </a:solidFill>
                        </a:rPr>
                        <a:t>Code Quality</a:t>
                      </a:r>
                      <a:r>
                        <a:rPr lang="en-US" sz="800" b="0" baseline="0" smtClean="0">
                          <a:solidFill>
                            <a:schemeClr val="tx1"/>
                          </a:solidFill>
                        </a:rPr>
                        <a:t> Assurance</a:t>
                      </a:r>
                      <a:endParaRPr lang="en-US" sz="800" b="0" baseline="0" dirty="0" smtClean="0">
                        <a:solidFill>
                          <a:schemeClr val="tx1"/>
                        </a:solidFill>
                      </a:endParaRPr>
                    </a:p>
                  </a:txBody>
                  <a:tcPr marL="68580" marR="68580" marT="34290" marB="34290"/>
                </a:tc>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smtClean="0">
                          <a:solidFill>
                            <a:schemeClr val="tx1"/>
                          </a:solidFill>
                        </a:rPr>
                        <a:t>Marcos Mambrin – Naranja</a:t>
                      </a:r>
                    </a:p>
                    <a:p>
                      <a:endParaRPr lang="en-US" sz="800" b="0" dirty="0" smtClean="0">
                        <a:solidFill>
                          <a:schemeClr val="tx1"/>
                        </a:solidFill>
                      </a:endParaRPr>
                    </a:p>
                  </a:txBody>
                  <a:tcPr marL="68580" marR="68580" marT="34290" marB="34290"/>
                </a:tc>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02/15/2018</a:t>
                      </a:r>
                      <a:r>
                        <a:rPr lang="en-US" sz="800" b="0" baseline="0" dirty="0" smtClean="0">
                          <a:solidFill>
                            <a:schemeClr val="tx1"/>
                          </a:solidFill>
                        </a:rPr>
                        <a:t> </a:t>
                      </a:r>
                      <a:endParaRPr lang="en-US" sz="800" b="0" dirty="0" smtClean="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707836">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smtClean="0">
                          <a:solidFill>
                            <a:schemeClr val="tx1"/>
                          </a:solidFill>
                        </a:rPr>
                        <a:t>Environment Management: </a:t>
                      </a:r>
                    </a:p>
                    <a:p>
                      <a:endParaRPr lang="en-US" sz="800" b="0" dirty="0" smtClean="0">
                        <a:solidFill>
                          <a:schemeClr val="tx1"/>
                        </a:solidFill>
                      </a:endParaRPr>
                    </a:p>
                  </a:txBody>
                  <a:tcPr marL="68580" marR="68580" marT="34290" marB="34290"/>
                </a:tc>
                <a:tc>
                  <a:txBody>
                    <a:bodyPr/>
                    <a:lstStyle/>
                    <a:p>
                      <a:r>
                        <a:rPr lang="en-US" sz="800" b="0" smtClean="0">
                          <a:solidFill>
                            <a:schemeClr val="tx1"/>
                          </a:solidFill>
                        </a:rPr>
                        <a:t>Federico Haedo (DevOps – Unix - Naranja)</a:t>
                      </a:r>
                    </a:p>
                    <a:p>
                      <a:r>
                        <a:rPr lang="en-US" sz="800" b="0" smtClean="0">
                          <a:solidFill>
                            <a:schemeClr val="tx1"/>
                          </a:solidFill>
                        </a:rPr>
                        <a:t>Carlos Arroyo (Windows - Naranja)</a:t>
                      </a:r>
                    </a:p>
                    <a:p>
                      <a:r>
                        <a:rPr lang="en-US" sz="800" b="0" smtClean="0">
                          <a:solidFill>
                            <a:schemeClr val="tx1"/>
                          </a:solidFill>
                        </a:rPr>
                        <a:t>Daniel Oviedo (Leader Windows – Naranja)</a:t>
                      </a:r>
                      <a:endParaRPr lang="en-US" sz="800" b="0" dirty="0" smtClean="0">
                        <a:solidFill>
                          <a:schemeClr val="tx1"/>
                        </a:solidFill>
                      </a:endParaRPr>
                    </a:p>
                  </a:txBody>
                  <a:tcPr marL="68580" marR="68580" marT="34290" marB="34290"/>
                </a:tc>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rPr>
                        <a:t>02/16/2018</a:t>
                      </a:r>
                      <a:r>
                        <a:rPr lang="en-US" sz="800" b="0" baseline="0" dirty="0" smtClean="0">
                          <a:solidFill>
                            <a:schemeClr val="tx1"/>
                          </a:solidFill>
                        </a:rPr>
                        <a:t> </a:t>
                      </a:r>
                      <a:endParaRPr lang="en-US" sz="800" b="0" dirty="0" smtClean="0">
                        <a:solidFill>
                          <a:schemeClr val="tx1"/>
                        </a:solidFill>
                      </a:endParaRPr>
                    </a:p>
                    <a:p>
                      <a:endParaRPr lang="en-US" sz="800" b="0" dirty="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r h="580585">
                <a:tc>
                  <a:txBody>
                    <a:bodyPr/>
                    <a:lstStyle/>
                    <a:p>
                      <a:pPr marL="0" marR="0" lvl="0" indent="0" algn="l" defTabSz="910286" rtl="0" eaLnBrk="1" fontAlgn="auto" latinLnBrk="0" hangingPunct="1">
                        <a:lnSpc>
                          <a:spcPct val="100000"/>
                        </a:lnSpc>
                        <a:spcBef>
                          <a:spcPts val="0"/>
                        </a:spcBef>
                        <a:spcAft>
                          <a:spcPts val="0"/>
                        </a:spcAft>
                        <a:buClrTx/>
                        <a:buSzTx/>
                        <a:buFontTx/>
                        <a:buNone/>
                        <a:tabLst/>
                        <a:defRPr/>
                      </a:pPr>
                      <a:r>
                        <a:rPr lang="en-US" sz="800" b="0" smtClean="0">
                          <a:solidFill>
                            <a:schemeClr val="tx1"/>
                          </a:solidFill>
                        </a:rPr>
                        <a:t>Channels </a:t>
                      </a:r>
                    </a:p>
                    <a:p>
                      <a:endParaRPr lang="it-IT" sz="800" b="0" dirty="0" smtClean="0">
                        <a:solidFill>
                          <a:schemeClr val="tx1"/>
                        </a:solidFill>
                      </a:endParaRPr>
                    </a:p>
                  </a:txBody>
                  <a:tcPr marL="68580" marR="68580" marT="34290" marB="34290"/>
                </a:tc>
                <a:tc>
                  <a:txBody>
                    <a:bodyPr/>
                    <a:lstStyle/>
                    <a:p>
                      <a:r>
                        <a:rPr lang="it-IT" sz="800" b="0" smtClean="0">
                          <a:solidFill>
                            <a:schemeClr val="tx1"/>
                          </a:solidFill>
                        </a:rPr>
                        <a:t>Carolina Marconetto (Channels Manager – Naranja )</a:t>
                      </a:r>
                    </a:p>
                    <a:p>
                      <a:r>
                        <a:rPr lang="it-IT" sz="800" b="0" smtClean="0">
                          <a:solidFill>
                            <a:schemeClr val="tx1"/>
                          </a:solidFill>
                        </a:rPr>
                        <a:t>Cecilia Balduzzi (NOL Coordinator - Naranja)</a:t>
                      </a:r>
                      <a:endParaRPr lang="it-IT" sz="800" b="0" dirty="0" smtClean="0">
                        <a:solidFill>
                          <a:schemeClr val="tx1"/>
                        </a:solidFill>
                      </a:endParaRPr>
                    </a:p>
                  </a:txBody>
                  <a:tcPr marL="68580" marR="68580" marT="34290" marB="34290"/>
                </a:tc>
                <a:tc>
                  <a:txBody>
                    <a:bodyPr/>
                    <a:lstStyle/>
                    <a:p>
                      <a:r>
                        <a:rPr lang="en-US" sz="800" b="0" dirty="0" smtClean="0">
                          <a:solidFill>
                            <a:schemeClr val="tx1"/>
                          </a:solidFill>
                        </a:rPr>
                        <a:t>02/162018</a:t>
                      </a:r>
                      <a:r>
                        <a:rPr lang="en-US" sz="800" b="0" baseline="0" dirty="0" smtClean="0">
                          <a:solidFill>
                            <a:schemeClr val="tx1"/>
                          </a:solidFill>
                        </a:rPr>
                        <a:t> </a:t>
                      </a:r>
                      <a:endParaRPr lang="en-US" sz="800" b="0" dirty="0">
                        <a:solidFill>
                          <a:schemeClr val="tx1"/>
                        </a:solidFill>
                      </a:endParaRPr>
                    </a:p>
                  </a:txBody>
                  <a:tcPr marL="68580" marR="68580" marT="34290" marB="34290"/>
                </a:tc>
                <a:tc>
                  <a:txBody>
                    <a:bodyPr/>
                    <a:lstStyle/>
                    <a:p>
                      <a:r>
                        <a:rPr lang="en-US" sz="800" dirty="0" smtClean="0">
                          <a:solidFill>
                            <a:srgbClr val="00B050"/>
                          </a:solidFill>
                        </a:rPr>
                        <a:t>Completed</a:t>
                      </a:r>
                      <a:endParaRPr lang="en-US" sz="800" dirty="0">
                        <a:solidFill>
                          <a:srgbClr val="00B050"/>
                        </a:solidFill>
                      </a:endParaRPr>
                    </a:p>
                  </a:txBody>
                  <a:tcPr marL="68580" marR="68580" marT="34290" marB="34290"/>
                </a:tc>
              </a:tr>
            </a:tbl>
          </a:graphicData>
        </a:graphic>
      </p:graphicFrame>
      <p:sp>
        <p:nvSpPr>
          <p:cNvPr id="7" name="Title 1"/>
          <p:cNvSpPr txBox="1">
            <a:spLocks/>
          </p:cNvSpPr>
          <p:nvPr/>
        </p:nvSpPr>
        <p:spPr>
          <a:xfrm>
            <a:off x="6061167" y="647308"/>
            <a:ext cx="959868" cy="3275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defTabSz="457200">
              <a:defRPr sz="2400">
                <a:ea typeface="+mj-ea"/>
                <a:cs typeface="Frutiger LT Std 55 Roman"/>
              </a:defRPr>
            </a:lvl1pPr>
          </a:lstStyle>
          <a:p>
            <a:r>
              <a:rPr lang="en-US" sz="1500" b="1" dirty="0">
                <a:solidFill>
                  <a:srgbClr val="0070C0"/>
                </a:solidFill>
                <a:latin typeface="+mj-lt"/>
                <a:ea typeface="+mn-ea"/>
                <a:cs typeface="Arial" charset="0"/>
              </a:rPr>
              <a:t>Week </a:t>
            </a:r>
            <a:r>
              <a:rPr lang="en-US" sz="1500" b="1" dirty="0" smtClean="0">
                <a:solidFill>
                  <a:srgbClr val="0070C0"/>
                </a:solidFill>
                <a:latin typeface="+mj-lt"/>
                <a:ea typeface="+mn-ea"/>
                <a:cs typeface="Arial" charset="0"/>
              </a:rPr>
              <a:t>2</a:t>
            </a:r>
            <a:endParaRPr lang="en-US" sz="1500" b="1" dirty="0">
              <a:solidFill>
                <a:srgbClr val="0070C0"/>
              </a:solidFill>
              <a:latin typeface="+mj-lt"/>
              <a:ea typeface="+mn-ea"/>
              <a:cs typeface="Arial" charset="0"/>
            </a:endParaRPr>
          </a:p>
        </p:txBody>
      </p:sp>
      <p:sp>
        <p:nvSpPr>
          <p:cNvPr id="8" name="Rectangle 7"/>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9" name="Picture 2" descr="https://www.naranja.com/images/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15346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ectangle 208"/>
          <p:cNvSpPr/>
          <p:nvPr/>
        </p:nvSpPr>
        <p:spPr>
          <a:xfrm>
            <a:off x="1631696" y="4664479"/>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148" name="Rectangle 147"/>
          <p:cNvSpPr/>
          <p:nvPr/>
        </p:nvSpPr>
        <p:spPr bwMode="auto">
          <a:xfrm>
            <a:off x="3026806" y="961342"/>
            <a:ext cx="3729059" cy="3396856"/>
          </a:xfrm>
          <a:prstGeom prst="rect">
            <a:avLst/>
          </a:prstGeom>
          <a:ln w="19050">
            <a:solidFill>
              <a:schemeClr val="tx1">
                <a:lumMod val="50000"/>
                <a:lumOff val="50000"/>
              </a:schemeClr>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CI Engine</a:t>
            </a:r>
          </a:p>
        </p:txBody>
      </p:sp>
      <p:sp>
        <p:nvSpPr>
          <p:cNvPr id="146" name="Chevron 145"/>
          <p:cNvSpPr/>
          <p:nvPr/>
        </p:nvSpPr>
        <p:spPr>
          <a:xfrm rot="5400000" flipV="1">
            <a:off x="3174482" y="2796583"/>
            <a:ext cx="753243" cy="822960"/>
          </a:xfrm>
          <a:prstGeom prst="chevron">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 rtlCol="0" anchor="ctr"/>
          <a:lstStyle/>
          <a:p>
            <a:pPr algn="ctr"/>
            <a:endParaRPr lang="en-US" sz="600" b="1" dirty="0">
              <a:solidFill>
                <a:schemeClr val="accent6">
                  <a:lumMod val="50000"/>
                </a:schemeClr>
              </a:solidFill>
            </a:endParaRPr>
          </a:p>
        </p:txBody>
      </p:sp>
      <p:sp>
        <p:nvSpPr>
          <p:cNvPr id="71" name="Rectangle 70"/>
          <p:cNvSpPr/>
          <p:nvPr/>
        </p:nvSpPr>
        <p:spPr bwMode="auto">
          <a:xfrm>
            <a:off x="1317234" y="3344919"/>
            <a:ext cx="761876" cy="934613"/>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Unit Test</a:t>
            </a:r>
          </a:p>
        </p:txBody>
      </p:sp>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Future State – CI/CD Architecture</a:t>
            </a:r>
            <a:endParaRPr lang="en-US" dirty="0"/>
          </a:p>
        </p:txBody>
      </p:sp>
      <p:sp>
        <p:nvSpPr>
          <p:cNvPr id="5" name="Rectangle 4"/>
          <p:cNvSpPr/>
          <p:nvPr/>
        </p:nvSpPr>
        <p:spPr bwMode="auto">
          <a:xfrm>
            <a:off x="6859873" y="955095"/>
            <a:ext cx="2157436" cy="1475891"/>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Smart Environment</a:t>
            </a:r>
          </a:p>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Container Service</a:t>
            </a:r>
          </a:p>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Automate Infra Provisioning</a:t>
            </a:r>
            <a:endParaRPr lang="en-US" sz="800" b="1" dirty="0">
              <a:solidFill>
                <a:schemeClr val="tx2"/>
              </a:solidFill>
              <a:ea typeface="Segoe UI" panose="020B0502040204020203" pitchFamily="34" charset="0"/>
              <a:cs typeface="Segoe UI" panose="020B0502040204020203" pitchFamily="34" charset="0"/>
            </a:endParaRPr>
          </a:p>
        </p:txBody>
      </p:sp>
      <p:sp>
        <p:nvSpPr>
          <p:cNvPr id="8" name="Rectangle 7"/>
          <p:cNvSpPr/>
          <p:nvPr/>
        </p:nvSpPr>
        <p:spPr bwMode="auto">
          <a:xfrm>
            <a:off x="1301570" y="2600874"/>
            <a:ext cx="761876" cy="627300"/>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Code</a:t>
            </a:r>
          </a:p>
        </p:txBody>
      </p:sp>
      <p:pic>
        <p:nvPicPr>
          <p:cNvPr id="16" name="Picture 15"/>
          <p:cNvPicPr>
            <a:picLocks noChangeAspect="1"/>
          </p:cNvPicPr>
          <p:nvPr/>
        </p:nvPicPr>
        <p:blipFill>
          <a:blip r:embed="rId3"/>
          <a:stretch>
            <a:fillRect/>
          </a:stretch>
        </p:blipFill>
        <p:spPr>
          <a:xfrm>
            <a:off x="6938763" y="1367801"/>
            <a:ext cx="610260" cy="152632"/>
          </a:xfrm>
          <a:prstGeom prst="rect">
            <a:avLst/>
          </a:prstGeom>
        </p:spPr>
        <p:style>
          <a:lnRef idx="1">
            <a:schemeClr val="accent2"/>
          </a:lnRef>
          <a:fillRef idx="2">
            <a:schemeClr val="accent2"/>
          </a:fillRef>
          <a:effectRef idx="1">
            <a:schemeClr val="accent2"/>
          </a:effectRef>
          <a:fontRef idx="minor">
            <a:schemeClr val="dk1"/>
          </a:fontRef>
        </p:style>
      </p:pic>
      <p:sp>
        <p:nvSpPr>
          <p:cNvPr id="17" name="TextBox 16"/>
          <p:cNvSpPr txBox="1"/>
          <p:nvPr/>
        </p:nvSpPr>
        <p:spPr>
          <a:xfrm>
            <a:off x="1251919" y="670397"/>
            <a:ext cx="5658113" cy="221569"/>
          </a:xfrm>
          <a:prstGeom prst="chevron">
            <a:avLst/>
          </a:prstGeom>
          <a:solidFill>
            <a:srgbClr val="6DB33F"/>
          </a:solidFill>
        </p:spPr>
        <p:txBody>
          <a:bodyPr wrap="square" rtlCol="0">
            <a:spAutoFit/>
          </a:bodyPr>
          <a:lstStyle/>
          <a:p>
            <a:pPr algn="ctr" defTabSz="1462981">
              <a:defRPr/>
            </a:pPr>
            <a:r>
              <a:rPr lang="en-US" sz="800" b="1" kern="0" dirty="0">
                <a:solidFill>
                  <a:schemeClr val="bg1"/>
                </a:solidFill>
                <a:cs typeface="Arial" panose="020B0604020202020204" pitchFamily="34" charset="0"/>
              </a:rPr>
              <a:t>Continuous </a:t>
            </a:r>
            <a:r>
              <a:rPr lang="en-US" sz="800" b="1" kern="0" dirty="0" smtClean="0">
                <a:solidFill>
                  <a:schemeClr val="bg1"/>
                </a:solidFill>
                <a:cs typeface="Arial" panose="020B0604020202020204" pitchFamily="34" charset="0"/>
              </a:rPr>
              <a:t>Integration</a:t>
            </a:r>
            <a:endParaRPr lang="en-US" sz="800" b="1" kern="0" dirty="0">
              <a:solidFill>
                <a:schemeClr val="bg1"/>
              </a:solidFill>
              <a:cs typeface="Arial" panose="020B0604020202020204" pitchFamily="34" charset="0"/>
            </a:endParaRPr>
          </a:p>
        </p:txBody>
      </p:sp>
      <p:pic>
        <p:nvPicPr>
          <p:cNvPr id="26" name="Picture 8" descr="Image result for nexus repository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72577" y="3759337"/>
            <a:ext cx="383791" cy="23832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a:blip r:embed="rId5"/>
          <a:stretch>
            <a:fillRect/>
          </a:stretch>
        </p:blipFill>
        <p:spPr>
          <a:xfrm>
            <a:off x="4763431" y="3627006"/>
            <a:ext cx="558859" cy="442068"/>
          </a:xfrm>
          <a:prstGeom prst="rect">
            <a:avLst/>
          </a:prstGeom>
        </p:spPr>
        <p:style>
          <a:lnRef idx="0">
            <a:schemeClr val="accent5"/>
          </a:lnRef>
          <a:fillRef idx="3">
            <a:schemeClr val="accent5"/>
          </a:fillRef>
          <a:effectRef idx="3">
            <a:schemeClr val="accent5"/>
          </a:effectRef>
          <a:fontRef idx="minor">
            <a:schemeClr val="lt1"/>
          </a:fontRef>
        </p:style>
      </p:pic>
      <p:sp>
        <p:nvSpPr>
          <p:cNvPr id="31" name="Right Bracket 30"/>
          <p:cNvSpPr/>
          <p:nvPr/>
        </p:nvSpPr>
        <p:spPr>
          <a:xfrm>
            <a:off x="4006619" y="2168869"/>
            <a:ext cx="102644" cy="1049157"/>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a:p>
        </p:txBody>
      </p:sp>
      <p:sp>
        <p:nvSpPr>
          <p:cNvPr id="32" name="Rectangle 31"/>
          <p:cNvSpPr/>
          <p:nvPr/>
        </p:nvSpPr>
        <p:spPr bwMode="auto">
          <a:xfrm>
            <a:off x="6859873" y="2498328"/>
            <a:ext cx="891298" cy="1859869"/>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Automated Configuration Management</a:t>
            </a:r>
          </a:p>
        </p:txBody>
      </p:sp>
      <p:sp>
        <p:nvSpPr>
          <p:cNvPr id="33" name="TextBox 32"/>
          <p:cNvSpPr txBox="1"/>
          <p:nvPr/>
        </p:nvSpPr>
        <p:spPr>
          <a:xfrm>
            <a:off x="6838606" y="671019"/>
            <a:ext cx="2154421" cy="215444"/>
          </a:xfrm>
          <a:prstGeom prst="chevron">
            <a:avLst/>
          </a:prstGeom>
          <a:solidFill>
            <a:srgbClr val="6DB33F"/>
          </a:solidFill>
        </p:spPr>
        <p:txBody>
          <a:bodyPr wrap="square" rtlCol="0">
            <a:spAutoFit/>
          </a:bodyPr>
          <a:lstStyle/>
          <a:p>
            <a:pPr algn="ctr" defTabSz="1462981">
              <a:defRPr/>
            </a:pPr>
            <a:r>
              <a:rPr lang="en-US" sz="800" b="1" kern="0" dirty="0">
                <a:solidFill>
                  <a:schemeClr val="bg1"/>
                </a:solidFill>
                <a:cs typeface="Arial" panose="020B0604020202020204" pitchFamily="34" charset="0"/>
              </a:rPr>
              <a:t>Continuous </a:t>
            </a:r>
            <a:r>
              <a:rPr lang="en-US" sz="800" b="1" kern="0" dirty="0" smtClean="0">
                <a:solidFill>
                  <a:schemeClr val="bg1"/>
                </a:solidFill>
                <a:cs typeface="Arial" panose="020B0604020202020204" pitchFamily="34" charset="0"/>
              </a:rPr>
              <a:t>Deployment</a:t>
            </a:r>
            <a:endParaRPr lang="en-US" sz="800" b="1" kern="0" dirty="0">
              <a:solidFill>
                <a:schemeClr val="bg1"/>
              </a:solidFill>
              <a:cs typeface="Arial" panose="020B0604020202020204" pitchFamily="34" charset="0"/>
            </a:endParaRPr>
          </a:p>
        </p:txBody>
      </p:sp>
      <p:sp>
        <p:nvSpPr>
          <p:cNvPr id="34" name="Rectangle 33"/>
          <p:cNvSpPr/>
          <p:nvPr/>
        </p:nvSpPr>
        <p:spPr bwMode="auto">
          <a:xfrm>
            <a:off x="7990089" y="2510319"/>
            <a:ext cx="1024205" cy="1847878"/>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Automated Deployment Pipeline</a:t>
            </a:r>
          </a:p>
        </p:txBody>
      </p:sp>
      <p:sp>
        <p:nvSpPr>
          <p:cNvPr id="35" name="TextBox 34"/>
          <p:cNvSpPr txBox="1"/>
          <p:nvPr/>
        </p:nvSpPr>
        <p:spPr>
          <a:xfrm>
            <a:off x="76887" y="669850"/>
            <a:ext cx="1250979" cy="215444"/>
          </a:xfrm>
          <a:prstGeom prst="chevron">
            <a:avLst/>
          </a:prstGeom>
          <a:solidFill>
            <a:srgbClr val="6DB33F"/>
          </a:solidFill>
        </p:spPr>
        <p:txBody>
          <a:bodyPr wrap="square" rtlCol="0">
            <a:spAutoFit/>
          </a:bodyPr>
          <a:lstStyle/>
          <a:p>
            <a:pPr algn="ctr" defTabSz="1462981">
              <a:defRPr/>
            </a:pPr>
            <a:r>
              <a:rPr lang="en-US" sz="800" b="1" kern="0" dirty="0" err="1" smtClean="0">
                <a:solidFill>
                  <a:schemeClr val="bg1"/>
                </a:solidFill>
                <a:cs typeface="Arial" panose="020B0604020202020204" pitchFamily="34" charset="0"/>
              </a:rPr>
              <a:t>Docker</a:t>
            </a:r>
            <a:r>
              <a:rPr lang="en-US" sz="800" b="1" kern="0" dirty="0" smtClean="0">
                <a:solidFill>
                  <a:schemeClr val="bg1"/>
                </a:solidFill>
                <a:cs typeface="Arial" panose="020B0604020202020204" pitchFamily="34" charset="0"/>
              </a:rPr>
              <a:t> Registry</a:t>
            </a:r>
            <a:endParaRPr lang="en-US" sz="800" b="1" kern="0" dirty="0">
              <a:solidFill>
                <a:schemeClr val="bg1"/>
              </a:solidFill>
              <a:cs typeface="Arial" panose="020B0604020202020204" pitchFamily="34" charset="0"/>
            </a:endParaRPr>
          </a:p>
        </p:txBody>
      </p:sp>
      <p:grpSp>
        <p:nvGrpSpPr>
          <p:cNvPr id="80" name="Group 79"/>
          <p:cNvGrpSpPr/>
          <p:nvPr/>
        </p:nvGrpSpPr>
        <p:grpSpPr>
          <a:xfrm>
            <a:off x="1273185" y="957631"/>
            <a:ext cx="861897" cy="644175"/>
            <a:chOff x="1804930" y="1179302"/>
            <a:chExt cx="861897" cy="644175"/>
          </a:xfrm>
        </p:grpSpPr>
        <p:sp>
          <p:nvSpPr>
            <p:cNvPr id="9" name="Rectangle 8"/>
            <p:cNvSpPr/>
            <p:nvPr/>
          </p:nvSpPr>
          <p:spPr bwMode="auto">
            <a:xfrm>
              <a:off x="1804930" y="1179302"/>
              <a:ext cx="861897" cy="644175"/>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Artifact Repository</a:t>
              </a:r>
              <a:endParaRPr lang="en-US" sz="800" b="1" dirty="0">
                <a:solidFill>
                  <a:schemeClr val="tx2"/>
                </a:solidFill>
                <a:ea typeface="Segoe UI" panose="020B0502040204020203" pitchFamily="34" charset="0"/>
                <a:cs typeface="Segoe UI" panose="020B0502040204020203" pitchFamily="34" charset="0"/>
              </a:endParaRPr>
            </a:p>
          </p:txBody>
        </p:sp>
        <p:pic>
          <p:nvPicPr>
            <p:cNvPr id="36" name="Picture 8" descr="Image result for nexus repository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7087" y="1500408"/>
              <a:ext cx="341732" cy="212203"/>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cxnSp>
        <p:nvCxnSpPr>
          <p:cNvPr id="38" name="Straight Arrow Connector 37"/>
          <p:cNvCxnSpPr/>
          <p:nvPr/>
        </p:nvCxnSpPr>
        <p:spPr bwMode="auto">
          <a:xfrm flipH="1">
            <a:off x="2135082" y="1434404"/>
            <a:ext cx="841565" cy="4804"/>
          </a:xfrm>
          <a:prstGeom prst="straightConnector1">
            <a:avLst/>
          </a:prstGeom>
          <a:ln>
            <a:headEnd type="none" w="med" len="med"/>
            <a:tailEnd type="triangle"/>
          </a:ln>
        </p:spPr>
        <p:style>
          <a:lnRef idx="2">
            <a:schemeClr val="dk1"/>
          </a:lnRef>
          <a:fillRef idx="1">
            <a:schemeClr val="lt1"/>
          </a:fillRef>
          <a:effectRef idx="0">
            <a:schemeClr val="dk1"/>
          </a:effectRef>
          <a:fontRef idx="minor">
            <a:schemeClr val="dk1"/>
          </a:fontRef>
        </p:style>
      </p:cxnSp>
      <p:pic>
        <p:nvPicPr>
          <p:cNvPr id="39" name="Picture 8" descr="Related im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64490" y="3010885"/>
            <a:ext cx="615881" cy="67208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2" descr="Image resul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48120" y="1243388"/>
            <a:ext cx="180546" cy="49510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63632" y="1371076"/>
            <a:ext cx="350938" cy="149053"/>
          </a:xfrm>
          <a:prstGeom prst="rect">
            <a:avLst/>
          </a:prstGeom>
          <a:noFill/>
          <a:extLst>
            <a:ext uri="{909E8E84-426E-40DD-AFC4-6F175D3DCCD1}">
              <a14:hiddenFill xmlns:a14="http://schemas.microsoft.com/office/drawing/2010/main">
                <a:solidFill>
                  <a:srgbClr val="FFFFFF"/>
                </a:solidFill>
              </a14:hiddenFill>
            </a:ext>
          </a:extLst>
        </p:spPr>
      </p:pic>
      <p:grpSp>
        <p:nvGrpSpPr>
          <p:cNvPr id="81" name="Group 80"/>
          <p:cNvGrpSpPr/>
          <p:nvPr/>
        </p:nvGrpSpPr>
        <p:grpSpPr>
          <a:xfrm>
            <a:off x="75343" y="955366"/>
            <a:ext cx="1081062" cy="3390849"/>
            <a:chOff x="245043" y="955366"/>
            <a:chExt cx="911361" cy="3430291"/>
          </a:xfrm>
        </p:grpSpPr>
        <p:sp>
          <p:nvSpPr>
            <p:cNvPr id="15" name="Rectangle 14"/>
            <p:cNvSpPr/>
            <p:nvPr/>
          </p:nvSpPr>
          <p:spPr bwMode="auto">
            <a:xfrm>
              <a:off x="245043" y="955366"/>
              <a:ext cx="911361" cy="3430291"/>
            </a:xfrm>
            <a:prstGeom prst="rect">
              <a:avLst/>
            </a:prstGeom>
            <a:ln w="19050">
              <a:solidFill>
                <a:schemeClr val="tx1">
                  <a:lumMod val="50000"/>
                  <a:lumOff val="50000"/>
                </a:schemeClr>
              </a:solidFill>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dirty="0" err="1" smtClean="0">
                  <a:ln w="0"/>
                  <a:solidFill>
                    <a:schemeClr val="accent1"/>
                  </a:solidFill>
                  <a:effectLst>
                    <a:outerShdw blurRad="38100" dist="25400" dir="5400000" algn="ctr" rotWithShape="0">
                      <a:srgbClr val="6E747A">
                        <a:alpha val="43000"/>
                      </a:srgbClr>
                    </a:outerShdw>
                  </a:effectLst>
                  <a:ea typeface="Segoe UI" panose="020B0502040204020203" pitchFamily="34" charset="0"/>
                  <a:cs typeface="Segoe UI" panose="020B0502040204020203" pitchFamily="34" charset="0"/>
                </a:rPr>
                <a:t>Docker</a:t>
              </a:r>
              <a:r>
                <a:rPr lang="en-US" sz="800" dirty="0" smtClean="0">
                  <a:ln w="0"/>
                  <a:solidFill>
                    <a:schemeClr val="accent1"/>
                  </a:solidFill>
                  <a:effectLst>
                    <a:outerShdw blurRad="38100" dist="25400" dir="5400000" algn="ctr" rotWithShape="0">
                      <a:srgbClr val="6E747A">
                        <a:alpha val="43000"/>
                      </a:srgbClr>
                    </a:outerShdw>
                  </a:effectLst>
                  <a:ea typeface="Segoe UI" panose="020B0502040204020203" pitchFamily="34" charset="0"/>
                  <a:cs typeface="Segoe UI" panose="020B0502040204020203" pitchFamily="34" charset="0"/>
                </a:rPr>
                <a:t> Image Registry</a:t>
              </a:r>
              <a:endParaRPr lang="en-US" sz="800" dirty="0">
                <a:ln w="0"/>
                <a:solidFill>
                  <a:schemeClr val="accent1"/>
                </a:solidFill>
                <a:effectLst>
                  <a:outerShdw blurRad="38100" dist="25400" dir="5400000" algn="ctr" rotWithShape="0">
                    <a:srgbClr val="6E747A">
                      <a:alpha val="43000"/>
                    </a:srgbClr>
                  </a:outerShdw>
                </a:effectLst>
                <a:ea typeface="Segoe UI" panose="020B0502040204020203" pitchFamily="34" charset="0"/>
                <a:cs typeface="Segoe UI" panose="020B0502040204020203" pitchFamily="34" charset="0"/>
              </a:endParaRPr>
            </a:p>
          </p:txBody>
        </p:sp>
        <p:pic>
          <p:nvPicPr>
            <p:cNvPr id="47" name="Picture 46"/>
            <p:cNvPicPr>
              <a:picLocks noChangeAspect="1"/>
            </p:cNvPicPr>
            <p:nvPr/>
          </p:nvPicPr>
          <p:blipFill>
            <a:blip r:embed="rId9"/>
            <a:stretch>
              <a:fillRect/>
            </a:stretch>
          </p:blipFill>
          <p:spPr>
            <a:xfrm>
              <a:off x="402501" y="1339644"/>
              <a:ext cx="574880" cy="138165"/>
            </a:xfrm>
            <a:prstGeom prst="rect">
              <a:avLst/>
            </a:prstGeom>
          </p:spPr>
        </p:pic>
      </p:grpSp>
      <p:grpSp>
        <p:nvGrpSpPr>
          <p:cNvPr id="114" name="Group 113"/>
          <p:cNvGrpSpPr/>
          <p:nvPr/>
        </p:nvGrpSpPr>
        <p:grpSpPr>
          <a:xfrm>
            <a:off x="7097563" y="1335581"/>
            <a:ext cx="1815738" cy="940338"/>
            <a:chOff x="7130759" y="1335581"/>
            <a:chExt cx="1782542" cy="766295"/>
          </a:xfrm>
        </p:grpSpPr>
        <p:sp>
          <p:nvSpPr>
            <p:cNvPr id="10" name="Rectangle 9"/>
            <p:cNvSpPr/>
            <p:nvPr/>
          </p:nvSpPr>
          <p:spPr bwMode="auto">
            <a:xfrm>
              <a:off x="7130759" y="1553236"/>
              <a:ext cx="220656" cy="54864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vert270" wrap="square" lIns="71803" tIns="35901" rIns="71803" bIns="35901" numCol="1" spcCol="0" rtlCol="0" fromWordArt="0" anchor="ctr"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Dev</a:t>
              </a:r>
              <a:endParaRPr lang="en-US" sz="800" b="1" dirty="0">
                <a:solidFill>
                  <a:schemeClr val="tx2"/>
                </a:solidFill>
                <a:ea typeface="Segoe UI" panose="020B0502040204020203" pitchFamily="34" charset="0"/>
                <a:cs typeface="Segoe UI" panose="020B0502040204020203" pitchFamily="34" charset="0"/>
              </a:endParaRPr>
            </a:p>
          </p:txBody>
        </p:sp>
        <p:sp>
          <p:nvSpPr>
            <p:cNvPr id="11" name="Rectangle 10"/>
            <p:cNvSpPr/>
            <p:nvPr/>
          </p:nvSpPr>
          <p:spPr bwMode="auto">
            <a:xfrm>
              <a:off x="7752333" y="1553236"/>
              <a:ext cx="242537" cy="54864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vert270" wrap="square" lIns="71803" tIns="35901" rIns="71803" bIns="35901" numCol="1" spcCol="0" rtlCol="0" fromWordArt="0" anchor="ctr"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QA</a:t>
              </a:r>
              <a:endParaRPr lang="en-US" sz="800" b="1" dirty="0">
                <a:solidFill>
                  <a:schemeClr val="tx2"/>
                </a:solidFill>
                <a:ea typeface="Segoe UI" panose="020B0502040204020203" pitchFamily="34" charset="0"/>
                <a:cs typeface="Segoe UI" panose="020B0502040204020203" pitchFamily="34" charset="0"/>
              </a:endParaRPr>
            </a:p>
          </p:txBody>
        </p:sp>
        <p:sp>
          <p:nvSpPr>
            <p:cNvPr id="12" name="Rectangle 11"/>
            <p:cNvSpPr/>
            <p:nvPr/>
          </p:nvSpPr>
          <p:spPr bwMode="auto">
            <a:xfrm>
              <a:off x="8415418" y="1553236"/>
              <a:ext cx="151234" cy="54864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vert270" wrap="square" lIns="71803" tIns="35901" rIns="71803" bIns="35901" numCol="1" spcCol="0" rtlCol="0" fromWordArt="0" anchor="ctr"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Prod</a:t>
              </a:r>
              <a:endParaRPr lang="en-US" sz="800" b="1" dirty="0">
                <a:solidFill>
                  <a:schemeClr val="tx2"/>
                </a:solidFill>
                <a:ea typeface="Segoe UI" panose="020B0502040204020203" pitchFamily="34" charset="0"/>
                <a:cs typeface="Segoe UI" panose="020B0502040204020203" pitchFamily="34" charset="0"/>
              </a:endParaRPr>
            </a:p>
          </p:txBody>
        </p:sp>
        <p:pic>
          <p:nvPicPr>
            <p:cNvPr id="48" name="Picture 47"/>
            <p:cNvPicPr>
              <a:picLocks noChangeAspect="1"/>
            </p:cNvPicPr>
            <p:nvPr/>
          </p:nvPicPr>
          <p:blipFill>
            <a:blip r:embed="rId10"/>
            <a:stretch>
              <a:fillRect/>
            </a:stretch>
          </p:blipFill>
          <p:spPr>
            <a:xfrm>
              <a:off x="7292572" y="1553235"/>
              <a:ext cx="379200" cy="548640"/>
            </a:xfrm>
            <a:prstGeom prst="rect">
              <a:avLst/>
            </a:prstGeom>
          </p:spPr>
        </p:pic>
        <p:pic>
          <p:nvPicPr>
            <p:cNvPr id="49" name="Picture 48"/>
            <p:cNvPicPr>
              <a:picLocks noChangeAspect="1"/>
            </p:cNvPicPr>
            <p:nvPr/>
          </p:nvPicPr>
          <p:blipFill>
            <a:blip r:embed="rId10"/>
            <a:stretch>
              <a:fillRect/>
            </a:stretch>
          </p:blipFill>
          <p:spPr>
            <a:xfrm>
              <a:off x="7899455" y="1553235"/>
              <a:ext cx="379200" cy="548640"/>
            </a:xfrm>
            <a:prstGeom prst="rect">
              <a:avLst/>
            </a:prstGeom>
          </p:spPr>
        </p:pic>
        <p:pic>
          <p:nvPicPr>
            <p:cNvPr id="50" name="Picture 49"/>
            <p:cNvPicPr>
              <a:picLocks noChangeAspect="1"/>
            </p:cNvPicPr>
            <p:nvPr/>
          </p:nvPicPr>
          <p:blipFill>
            <a:blip r:embed="rId10"/>
            <a:stretch>
              <a:fillRect/>
            </a:stretch>
          </p:blipFill>
          <p:spPr>
            <a:xfrm>
              <a:off x="8534101" y="1553235"/>
              <a:ext cx="379200" cy="548640"/>
            </a:xfrm>
            <a:prstGeom prst="rect">
              <a:avLst/>
            </a:prstGeom>
          </p:spPr>
        </p:pic>
        <p:sp>
          <p:nvSpPr>
            <p:cNvPr id="56" name="Curved Down Arrow 55"/>
            <p:cNvSpPr/>
            <p:nvPr/>
          </p:nvSpPr>
          <p:spPr>
            <a:xfrm>
              <a:off x="7635347" y="1335581"/>
              <a:ext cx="349750" cy="176895"/>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800">
                <a:solidFill>
                  <a:schemeClr val="tx1"/>
                </a:solidFill>
              </a:endParaRPr>
            </a:p>
          </p:txBody>
        </p:sp>
        <p:sp>
          <p:nvSpPr>
            <p:cNvPr id="57" name="Curved Down Arrow 56"/>
            <p:cNvSpPr/>
            <p:nvPr/>
          </p:nvSpPr>
          <p:spPr>
            <a:xfrm>
              <a:off x="8250516" y="1344436"/>
              <a:ext cx="349750" cy="176895"/>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800">
                <a:solidFill>
                  <a:schemeClr val="tx1"/>
                </a:solidFill>
              </a:endParaRPr>
            </a:p>
          </p:txBody>
        </p:sp>
      </p:grpSp>
      <p:sp>
        <p:nvSpPr>
          <p:cNvPr id="27" name="Chevron 26"/>
          <p:cNvSpPr/>
          <p:nvPr/>
        </p:nvSpPr>
        <p:spPr>
          <a:xfrm rot="5400000">
            <a:off x="3192611" y="3150689"/>
            <a:ext cx="716984" cy="822960"/>
          </a:xfrm>
          <a:prstGeom prst="chevron">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a:endParaRPr lang="en-US" sz="600" b="1" dirty="0">
              <a:solidFill>
                <a:schemeClr val="accent6">
                  <a:lumMod val="50000"/>
                </a:schemeClr>
              </a:solidFill>
              <a:latin typeface="+mj-lt"/>
            </a:endParaRPr>
          </a:p>
        </p:txBody>
      </p:sp>
      <p:sp>
        <p:nvSpPr>
          <p:cNvPr id="60" name="Rectangle 59"/>
          <p:cNvSpPr/>
          <p:nvPr/>
        </p:nvSpPr>
        <p:spPr>
          <a:xfrm>
            <a:off x="8104974" y="3720965"/>
            <a:ext cx="902597" cy="495843"/>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dirty="0" smtClean="0">
                <a:solidFill>
                  <a:schemeClr val="tx2"/>
                </a:solidFill>
              </a:rPr>
              <a:t>Download </a:t>
            </a:r>
            <a:r>
              <a:rPr lang="en-US" sz="600" dirty="0" err="1" smtClean="0">
                <a:solidFill>
                  <a:schemeClr val="tx2"/>
                </a:solidFill>
              </a:rPr>
              <a:t>Artifatcs</a:t>
            </a:r>
            <a:endParaRPr lang="en-US" sz="600" dirty="0" smtClean="0">
              <a:solidFill>
                <a:schemeClr val="tx2"/>
              </a:solidFill>
            </a:endParaRPr>
          </a:p>
          <a:p>
            <a:pPr algn="ctr"/>
            <a:r>
              <a:rPr lang="en-US" sz="600" dirty="0" smtClean="0">
                <a:solidFill>
                  <a:schemeClr val="tx2"/>
                </a:solidFill>
              </a:rPr>
              <a:t>Build </a:t>
            </a:r>
            <a:r>
              <a:rPr lang="en-US" sz="600" dirty="0" err="1" smtClean="0">
                <a:solidFill>
                  <a:schemeClr val="tx2"/>
                </a:solidFill>
              </a:rPr>
              <a:t>Docker</a:t>
            </a:r>
            <a:r>
              <a:rPr lang="en-US" sz="600" dirty="0" smtClean="0">
                <a:solidFill>
                  <a:schemeClr val="tx2"/>
                </a:solidFill>
              </a:rPr>
              <a:t> Image</a:t>
            </a:r>
          </a:p>
          <a:p>
            <a:pPr algn="ctr"/>
            <a:r>
              <a:rPr lang="en-US" sz="600" dirty="0" smtClean="0">
                <a:solidFill>
                  <a:schemeClr val="tx2"/>
                </a:solidFill>
              </a:rPr>
              <a:t>Deploy </a:t>
            </a:r>
            <a:r>
              <a:rPr lang="en-US" sz="600" dirty="0" err="1" smtClean="0">
                <a:solidFill>
                  <a:schemeClr val="tx2"/>
                </a:solidFill>
              </a:rPr>
              <a:t>Docker</a:t>
            </a:r>
            <a:r>
              <a:rPr lang="en-US" sz="600" dirty="0" smtClean="0">
                <a:solidFill>
                  <a:schemeClr val="tx2"/>
                </a:solidFill>
              </a:rPr>
              <a:t> Image</a:t>
            </a:r>
          </a:p>
        </p:txBody>
      </p:sp>
      <p:cxnSp>
        <p:nvCxnSpPr>
          <p:cNvPr id="64" name="Straight Arrow Connector 63"/>
          <p:cNvCxnSpPr/>
          <p:nvPr/>
        </p:nvCxnSpPr>
        <p:spPr>
          <a:xfrm flipV="1">
            <a:off x="8113359" y="4313443"/>
            <a:ext cx="0" cy="247920"/>
          </a:xfrm>
          <a:prstGeom prst="straightConnector1">
            <a:avLst/>
          </a:prstGeom>
          <a:ln w="28575">
            <a:tailEnd type="triangle"/>
          </a:ln>
        </p:spPr>
        <p:style>
          <a:lnRef idx="2">
            <a:schemeClr val="accent1"/>
          </a:lnRef>
          <a:fillRef idx="0">
            <a:schemeClr val="accent1"/>
          </a:fillRef>
          <a:effectRef idx="1">
            <a:schemeClr val="accent1"/>
          </a:effectRef>
          <a:fontRef idx="minor">
            <a:schemeClr val="tx1"/>
          </a:fontRef>
        </p:style>
      </p:cxnSp>
      <p:pic>
        <p:nvPicPr>
          <p:cNvPr id="67" name="Picture 26"/>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1387385" y="2771204"/>
            <a:ext cx="286209" cy="15957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4"/>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458992" y="3732770"/>
            <a:ext cx="553500" cy="176655"/>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536848" y="3509966"/>
            <a:ext cx="396676" cy="153430"/>
          </a:xfrm>
          <a:prstGeom prst="rect">
            <a:avLst/>
          </a:prstGeom>
        </p:spPr>
      </p:pic>
      <p:pic>
        <p:nvPicPr>
          <p:cNvPr id="70" name="Picture 26" descr="Image result for VS 2013 Logo"/>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7354" t="37619" r="9305" b="38482"/>
          <a:stretch/>
        </p:blipFill>
        <p:spPr bwMode="auto">
          <a:xfrm>
            <a:off x="1374318" y="2948098"/>
            <a:ext cx="573841" cy="101333"/>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2"/>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3863555" y="1160773"/>
            <a:ext cx="704067" cy="160013"/>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p:cNvSpPr/>
          <p:nvPr/>
        </p:nvSpPr>
        <p:spPr>
          <a:xfrm>
            <a:off x="5329694" y="1181604"/>
            <a:ext cx="509662" cy="185128"/>
          </a:xfrm>
          <a:prstGeom prst="rect">
            <a:avLst/>
          </a:prstGeom>
          <a:solidFill>
            <a:schemeClr val="accent4"/>
          </a:solidFill>
          <a:ln>
            <a:solidFill>
              <a:schemeClr val="accent4">
                <a:lumMod val="60000"/>
                <a:lumOff val="40000"/>
              </a:schemeClr>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600" dirty="0" smtClean="0"/>
              <a:t>MSBuild</a:t>
            </a:r>
            <a:endParaRPr lang="en-US" sz="600" dirty="0"/>
          </a:p>
        </p:txBody>
      </p:sp>
      <p:pic>
        <p:nvPicPr>
          <p:cNvPr id="40" name="Picture 39"/>
          <p:cNvPicPr>
            <a:picLocks noChangeAspect="1"/>
          </p:cNvPicPr>
          <p:nvPr/>
        </p:nvPicPr>
        <p:blipFill>
          <a:blip r:embed="rId5"/>
          <a:stretch>
            <a:fillRect/>
          </a:stretch>
        </p:blipFill>
        <p:spPr>
          <a:xfrm>
            <a:off x="8422899" y="2954360"/>
            <a:ext cx="558859" cy="442068"/>
          </a:xfrm>
          <a:prstGeom prst="rect">
            <a:avLst/>
          </a:prstGeom>
        </p:spPr>
        <p:style>
          <a:lnRef idx="0">
            <a:schemeClr val="accent5"/>
          </a:lnRef>
          <a:fillRef idx="3">
            <a:schemeClr val="accent5"/>
          </a:fillRef>
          <a:effectRef idx="3">
            <a:schemeClr val="accent5"/>
          </a:effectRef>
          <a:fontRef idx="minor">
            <a:schemeClr val="lt1"/>
          </a:fontRef>
        </p:style>
      </p:pic>
      <p:cxnSp>
        <p:nvCxnSpPr>
          <p:cNvPr id="101" name="Straight Arrow Connector 100"/>
          <p:cNvCxnSpPr>
            <a:stCxn id="83" idx="2"/>
            <a:endCxn id="93" idx="0"/>
          </p:cNvCxnSpPr>
          <p:nvPr/>
        </p:nvCxnSpPr>
        <p:spPr bwMode="auto">
          <a:xfrm flipH="1">
            <a:off x="4204957" y="1320786"/>
            <a:ext cx="10632" cy="393838"/>
          </a:xfrm>
          <a:prstGeom prst="straightConnector1">
            <a:avLst/>
          </a:prstGeom>
          <a:ln w="28575">
            <a:solidFill>
              <a:schemeClr val="accent3">
                <a:lumMod val="60000"/>
                <a:lumOff val="40000"/>
              </a:schemeClr>
            </a:solidFill>
            <a:headEnd type="none" w="med" len="med"/>
            <a:tailEnd type="triangle"/>
          </a:ln>
        </p:spPr>
        <p:style>
          <a:lnRef idx="2">
            <a:schemeClr val="dk1"/>
          </a:lnRef>
          <a:fillRef idx="1">
            <a:schemeClr val="lt1"/>
          </a:fillRef>
          <a:effectRef idx="0">
            <a:schemeClr val="dk1"/>
          </a:effectRef>
          <a:fontRef idx="minor">
            <a:schemeClr val="dk1"/>
          </a:fontRef>
        </p:style>
      </p:cxnSp>
      <p:pic>
        <p:nvPicPr>
          <p:cNvPr id="110" name="Picture 12"/>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4125780" y="2849026"/>
            <a:ext cx="477387" cy="257789"/>
          </a:xfrm>
          <a:prstGeom prst="rect">
            <a:avLst/>
          </a:prstGeom>
          <a:noFill/>
          <a:extLst>
            <a:ext uri="{909E8E84-426E-40DD-AFC4-6F175D3DCCD1}">
              <a14:hiddenFill xmlns:a14="http://schemas.microsoft.com/office/drawing/2010/main">
                <a:solidFill>
                  <a:srgbClr val="FFFFFF"/>
                </a:solidFill>
              </a14:hiddenFill>
            </a:ext>
          </a:extLst>
        </p:spPr>
      </p:pic>
      <p:cxnSp>
        <p:nvCxnSpPr>
          <p:cNvPr id="112" name="Elbow Connector 111"/>
          <p:cNvCxnSpPr>
            <a:stCxn id="93" idx="2"/>
            <a:endCxn id="110" idx="0"/>
          </p:cNvCxnSpPr>
          <p:nvPr/>
        </p:nvCxnSpPr>
        <p:spPr>
          <a:xfrm rot="16200000" flipH="1">
            <a:off x="3794229" y="2278781"/>
            <a:ext cx="980972" cy="159517"/>
          </a:xfrm>
          <a:prstGeom prst="bentConnector3">
            <a:avLst>
              <a:gd name="adj1" fmla="val 50000"/>
            </a:avLst>
          </a:prstGeom>
          <a:ln w="28575">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92" idx="2"/>
            <a:endCxn id="166" idx="0"/>
          </p:cNvCxnSpPr>
          <p:nvPr/>
        </p:nvCxnSpPr>
        <p:spPr bwMode="auto">
          <a:xfrm>
            <a:off x="5584525" y="1366732"/>
            <a:ext cx="0" cy="273483"/>
          </a:xfrm>
          <a:prstGeom prst="straightConnector1">
            <a:avLst/>
          </a:prstGeom>
          <a:ln w="28575">
            <a:solidFill>
              <a:schemeClr val="accent6">
                <a:lumMod val="75000"/>
              </a:schemeClr>
            </a:solidFill>
            <a:headEnd type="none" w="med" len="med"/>
            <a:tailEnd type="triangle"/>
          </a:ln>
        </p:spPr>
        <p:style>
          <a:lnRef idx="2">
            <a:schemeClr val="dk1"/>
          </a:lnRef>
          <a:fillRef idx="1">
            <a:schemeClr val="lt1"/>
          </a:fillRef>
          <a:effectRef idx="0">
            <a:schemeClr val="dk1"/>
          </a:effectRef>
          <a:fontRef idx="minor">
            <a:schemeClr val="dk1"/>
          </a:fontRef>
        </p:style>
      </p:cxnSp>
      <p:cxnSp>
        <p:nvCxnSpPr>
          <p:cNvPr id="120" name="Elbow Connector 119"/>
          <p:cNvCxnSpPr>
            <a:stCxn id="166" idx="2"/>
            <a:endCxn id="130" idx="0"/>
          </p:cNvCxnSpPr>
          <p:nvPr/>
        </p:nvCxnSpPr>
        <p:spPr>
          <a:xfrm rot="5400000">
            <a:off x="4602098" y="1875846"/>
            <a:ext cx="834640" cy="1130215"/>
          </a:xfrm>
          <a:prstGeom prst="bentConnector3">
            <a:avLst>
              <a:gd name="adj1" fmla="val 50000"/>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a:xfrm>
            <a:off x="4124730" y="2858273"/>
            <a:ext cx="659159" cy="262129"/>
          </a:xfrm>
          <a:prstGeom prst="rect">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cxnSp>
        <p:nvCxnSpPr>
          <p:cNvPr id="138" name="Straight Arrow Connector 137"/>
          <p:cNvCxnSpPr>
            <a:stCxn id="110" idx="2"/>
            <a:endCxn id="26" idx="0"/>
          </p:cNvCxnSpPr>
          <p:nvPr/>
        </p:nvCxnSpPr>
        <p:spPr bwMode="auto">
          <a:xfrm flipH="1">
            <a:off x="4364473" y="3106815"/>
            <a:ext cx="1" cy="652522"/>
          </a:xfrm>
          <a:prstGeom prst="straightConnector1">
            <a:avLst/>
          </a:prstGeom>
          <a:ln w="28575">
            <a:solidFill>
              <a:schemeClr val="accent3">
                <a:lumMod val="60000"/>
                <a:lumOff val="40000"/>
              </a:schemeClr>
            </a:solidFill>
            <a:headEnd type="none" w="med" len="med"/>
            <a:tailEnd type="triangle"/>
          </a:ln>
        </p:spPr>
        <p:style>
          <a:lnRef idx="2">
            <a:schemeClr val="dk1"/>
          </a:lnRef>
          <a:fillRef idx="1">
            <a:schemeClr val="lt1"/>
          </a:fillRef>
          <a:effectRef idx="0">
            <a:schemeClr val="dk1"/>
          </a:effectRef>
          <a:fontRef idx="minor">
            <a:schemeClr val="dk1"/>
          </a:fontRef>
        </p:style>
      </p:cxnSp>
      <p:cxnSp>
        <p:nvCxnSpPr>
          <p:cNvPr id="142" name="Straight Arrow Connector 141"/>
          <p:cNvCxnSpPr>
            <a:stCxn id="130" idx="2"/>
            <a:endCxn id="150" idx="0"/>
          </p:cNvCxnSpPr>
          <p:nvPr/>
        </p:nvCxnSpPr>
        <p:spPr bwMode="auto">
          <a:xfrm>
            <a:off x="4454310" y="3120402"/>
            <a:ext cx="6347" cy="617789"/>
          </a:xfrm>
          <a:prstGeom prst="straightConnector1">
            <a:avLst/>
          </a:prstGeom>
          <a:ln w="28575">
            <a:solidFill>
              <a:schemeClr val="accent6">
                <a:lumMod val="75000"/>
              </a:schemeClr>
            </a:solidFill>
            <a:headEnd type="none" w="med" len="med"/>
            <a:tailEnd type="triangle"/>
          </a:ln>
        </p:spPr>
        <p:style>
          <a:lnRef idx="2">
            <a:schemeClr val="dk1"/>
          </a:lnRef>
          <a:fillRef idx="1">
            <a:schemeClr val="lt1"/>
          </a:fillRef>
          <a:effectRef idx="0">
            <a:schemeClr val="dk1"/>
          </a:effectRef>
          <a:fontRef idx="minor">
            <a:schemeClr val="dk1"/>
          </a:fontRef>
        </p:style>
      </p:cxnSp>
      <p:sp>
        <p:nvSpPr>
          <p:cNvPr id="150" name="Rectangle 149"/>
          <p:cNvSpPr/>
          <p:nvPr/>
        </p:nvSpPr>
        <p:spPr>
          <a:xfrm>
            <a:off x="4131077" y="3738191"/>
            <a:ext cx="659159" cy="199594"/>
          </a:xfrm>
          <a:prstGeom prst="rect">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nvGrpSpPr>
          <p:cNvPr id="167" name="Group 166"/>
          <p:cNvGrpSpPr/>
          <p:nvPr/>
        </p:nvGrpSpPr>
        <p:grpSpPr>
          <a:xfrm>
            <a:off x="5016912" y="1640215"/>
            <a:ext cx="1135226" cy="383418"/>
            <a:chOff x="5543456" y="1813888"/>
            <a:chExt cx="1135226" cy="383418"/>
          </a:xfrm>
        </p:grpSpPr>
        <p:pic>
          <p:nvPicPr>
            <p:cNvPr id="85" name="Picture 14" descr="NUnit.or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89824" y="1873995"/>
              <a:ext cx="430109" cy="229608"/>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p:cNvSpPr/>
            <p:nvPr/>
          </p:nvSpPr>
          <p:spPr>
            <a:xfrm>
              <a:off x="5620346" y="1873995"/>
              <a:ext cx="509662" cy="18512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600" dirty="0" smtClean="0"/>
                <a:t>MSTest</a:t>
              </a:r>
              <a:endParaRPr lang="en-US" sz="600" dirty="0"/>
            </a:p>
          </p:txBody>
        </p:sp>
        <p:sp>
          <p:nvSpPr>
            <p:cNvPr id="166" name="Rectangle 165"/>
            <p:cNvSpPr/>
            <p:nvPr/>
          </p:nvSpPr>
          <p:spPr>
            <a:xfrm>
              <a:off x="5543456" y="1813888"/>
              <a:ext cx="1135226" cy="383418"/>
            </a:xfrm>
            <a:prstGeom prst="rect">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sp>
        <p:nvSpPr>
          <p:cNvPr id="174" name="Rectangle 173"/>
          <p:cNvSpPr/>
          <p:nvPr/>
        </p:nvSpPr>
        <p:spPr bwMode="auto">
          <a:xfrm>
            <a:off x="2390460" y="2541030"/>
            <a:ext cx="505395" cy="663587"/>
          </a:xfrm>
          <a:prstGeom prst="rect">
            <a:avLst/>
          </a:prstGeom>
          <a:ln>
            <a:prstDash val="sys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SCM</a:t>
            </a:r>
          </a:p>
        </p:txBody>
      </p:sp>
      <p:cxnSp>
        <p:nvCxnSpPr>
          <p:cNvPr id="175" name="Elbow Connector 174"/>
          <p:cNvCxnSpPr/>
          <p:nvPr/>
        </p:nvCxnSpPr>
        <p:spPr>
          <a:xfrm rot="5400000" flipH="1" flipV="1">
            <a:off x="2117305" y="1476841"/>
            <a:ext cx="1364188" cy="620673"/>
          </a:xfrm>
          <a:prstGeom prst="bentConnector3">
            <a:avLst>
              <a:gd name="adj1" fmla="val 99882"/>
            </a:avLst>
          </a:prstGeom>
          <a:ln w="28575">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Elbow Connector 185"/>
          <p:cNvCxnSpPr/>
          <p:nvPr/>
        </p:nvCxnSpPr>
        <p:spPr>
          <a:xfrm flipV="1">
            <a:off x="1699147" y="2817763"/>
            <a:ext cx="676061" cy="1945"/>
          </a:xfrm>
          <a:prstGeom prst="bentConnector3">
            <a:avLst>
              <a:gd name="adj1" fmla="val 50000"/>
            </a:avLst>
          </a:prstGeom>
          <a:ln w="28575">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Elbow Connector 189"/>
          <p:cNvCxnSpPr>
            <a:stCxn id="70" idx="3"/>
          </p:cNvCxnSpPr>
          <p:nvPr/>
        </p:nvCxnSpPr>
        <p:spPr>
          <a:xfrm>
            <a:off x="1948159" y="2998765"/>
            <a:ext cx="439897" cy="3198"/>
          </a:xfrm>
          <a:prstGeom prst="bentConnector3">
            <a:avLst>
              <a:gd name="adj1" fmla="val 50000"/>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Elbow Connector 194"/>
          <p:cNvCxnSpPr>
            <a:endCxn id="24" idx="2"/>
          </p:cNvCxnSpPr>
          <p:nvPr/>
        </p:nvCxnSpPr>
        <p:spPr>
          <a:xfrm rot="5400000" flipH="1" flipV="1">
            <a:off x="2365562" y="1705716"/>
            <a:ext cx="1193934" cy="354189"/>
          </a:xfrm>
          <a:prstGeom prst="bentConnector2">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0" name="Rectangle 199"/>
          <p:cNvSpPr/>
          <p:nvPr/>
        </p:nvSpPr>
        <p:spPr>
          <a:xfrm>
            <a:off x="3141440" y="1158833"/>
            <a:ext cx="746894" cy="339380"/>
          </a:xfrm>
          <a:prstGeom prst="rect">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cxnSp>
        <p:nvCxnSpPr>
          <p:cNvPr id="213" name="Elbow Connector 212"/>
          <p:cNvCxnSpPr>
            <a:stCxn id="235" idx="3"/>
          </p:cNvCxnSpPr>
          <p:nvPr/>
        </p:nvCxnSpPr>
        <p:spPr>
          <a:xfrm flipV="1">
            <a:off x="1955865" y="3169951"/>
            <a:ext cx="805443" cy="884892"/>
          </a:xfrm>
          <a:prstGeom prst="bentConnector2">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Elbow Connector 219"/>
          <p:cNvCxnSpPr>
            <a:stCxn id="69" idx="3"/>
          </p:cNvCxnSpPr>
          <p:nvPr/>
        </p:nvCxnSpPr>
        <p:spPr>
          <a:xfrm flipV="1">
            <a:off x="1933524" y="3218026"/>
            <a:ext cx="533159" cy="368655"/>
          </a:xfrm>
          <a:prstGeom prst="bentConnector3">
            <a:avLst>
              <a:gd name="adj1" fmla="val 103845"/>
            </a:avLst>
          </a:prstGeom>
          <a:ln w="28575">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5" name="Rectangle 234"/>
          <p:cNvSpPr/>
          <p:nvPr/>
        </p:nvSpPr>
        <p:spPr>
          <a:xfrm>
            <a:off x="1446203" y="3962279"/>
            <a:ext cx="509662" cy="18512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600" dirty="0" smtClean="0"/>
              <a:t>MSTest</a:t>
            </a:r>
            <a:endParaRPr lang="en-US" sz="600" dirty="0"/>
          </a:p>
        </p:txBody>
      </p:sp>
      <p:pic>
        <p:nvPicPr>
          <p:cNvPr id="93" name="Picture 9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06619" y="1714624"/>
            <a:ext cx="396676" cy="153430"/>
          </a:xfrm>
          <a:prstGeom prst="rect">
            <a:avLst/>
          </a:prstGeom>
        </p:spPr>
      </p:pic>
      <p:pic>
        <p:nvPicPr>
          <p:cNvPr id="94" name="Picture 24"/>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4349513" y="1714624"/>
            <a:ext cx="553500" cy="176655"/>
          </a:xfrm>
          <a:prstGeom prst="rect">
            <a:avLst/>
          </a:prstGeom>
          <a:noFill/>
          <a:extLst>
            <a:ext uri="{909E8E84-426E-40DD-AFC4-6F175D3DCCD1}">
              <a14:hiddenFill xmlns:a14="http://schemas.microsoft.com/office/drawing/2010/main">
                <a:solidFill>
                  <a:srgbClr val="FFFFFF"/>
                </a:solidFill>
              </a14:hiddenFill>
            </a:ext>
          </a:extLst>
        </p:spPr>
      </p:pic>
      <p:cxnSp>
        <p:nvCxnSpPr>
          <p:cNvPr id="95" name="Elbow Connector 94"/>
          <p:cNvCxnSpPr>
            <a:stCxn id="68" idx="3"/>
          </p:cNvCxnSpPr>
          <p:nvPr/>
        </p:nvCxnSpPr>
        <p:spPr>
          <a:xfrm flipV="1">
            <a:off x="2012492" y="3175326"/>
            <a:ext cx="602431" cy="645772"/>
          </a:xfrm>
          <a:prstGeom prst="bentConnector2">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Elbow Connector 95"/>
          <p:cNvCxnSpPr/>
          <p:nvPr/>
        </p:nvCxnSpPr>
        <p:spPr>
          <a:xfrm rot="5400000" flipH="1" flipV="1">
            <a:off x="2208490" y="1567727"/>
            <a:ext cx="1276797" cy="500412"/>
          </a:xfrm>
          <a:prstGeom prst="bentConnector3">
            <a:avLst>
              <a:gd name="adj1" fmla="val 983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43" idx="2"/>
            <a:endCxn id="94" idx="0"/>
          </p:cNvCxnSpPr>
          <p:nvPr/>
        </p:nvCxnSpPr>
        <p:spPr bwMode="auto">
          <a:xfrm flipH="1">
            <a:off x="4626263" y="1520129"/>
            <a:ext cx="12838" cy="194495"/>
          </a:xfrm>
          <a:prstGeom prst="straightConnector1">
            <a:avLst/>
          </a:prstGeom>
          <a:ln w="28575">
            <a:solidFill>
              <a:schemeClr val="accent3"/>
            </a:solidFill>
            <a:headEnd type="none" w="med" len="med"/>
            <a:tailEnd type="triangle"/>
          </a:ln>
        </p:spPr>
        <p:style>
          <a:lnRef idx="2">
            <a:schemeClr val="dk1"/>
          </a:lnRef>
          <a:fillRef idx="1">
            <a:schemeClr val="lt1"/>
          </a:fillRef>
          <a:effectRef idx="0">
            <a:schemeClr val="dk1"/>
          </a:effectRef>
          <a:fontRef idx="minor">
            <a:schemeClr val="dk1"/>
          </a:fontRef>
        </p:style>
      </p:cxnSp>
      <p:cxnSp>
        <p:nvCxnSpPr>
          <p:cNvPr id="108" name="Elbow Connector 107"/>
          <p:cNvCxnSpPr>
            <a:stCxn id="94" idx="2"/>
          </p:cNvCxnSpPr>
          <p:nvPr/>
        </p:nvCxnSpPr>
        <p:spPr>
          <a:xfrm rot="5400000">
            <a:off x="4010471" y="2274823"/>
            <a:ext cx="999336" cy="232249"/>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3139623" y="1099919"/>
            <a:ext cx="1032998" cy="3211511"/>
            <a:chOff x="3065192" y="972323"/>
            <a:chExt cx="1032998" cy="3211511"/>
          </a:xfrm>
        </p:grpSpPr>
        <p:sp>
          <p:nvSpPr>
            <p:cNvPr id="145" name="Chevron 144"/>
            <p:cNvSpPr/>
            <p:nvPr/>
          </p:nvSpPr>
          <p:spPr>
            <a:xfrm rot="5400000" flipV="1">
              <a:off x="3100051" y="2303931"/>
              <a:ext cx="753243" cy="822960"/>
            </a:xfrm>
            <a:prstGeom prst="chevron">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 rtlCol="0" anchor="ctr"/>
            <a:lstStyle/>
            <a:p>
              <a:pPr algn="ctr"/>
              <a:endParaRPr lang="en-US" sz="600" b="1" dirty="0">
                <a:solidFill>
                  <a:schemeClr val="accent6">
                    <a:lumMod val="50000"/>
                  </a:schemeClr>
                </a:solidFill>
              </a:endParaRPr>
            </a:p>
          </p:txBody>
        </p:sp>
        <p:sp>
          <p:nvSpPr>
            <p:cNvPr id="20" name="Chevron 19"/>
            <p:cNvSpPr/>
            <p:nvPr/>
          </p:nvSpPr>
          <p:spPr>
            <a:xfrm rot="5400000" flipV="1">
              <a:off x="3100051" y="1957398"/>
              <a:ext cx="753243" cy="822960"/>
            </a:xfrm>
            <a:prstGeom prst="chevron">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 rtlCol="0" anchor="ctr"/>
            <a:lstStyle/>
            <a:p>
              <a:pPr algn="ctr"/>
              <a:endParaRPr lang="en-US" sz="600" b="1" dirty="0">
                <a:solidFill>
                  <a:schemeClr val="accent6">
                    <a:lumMod val="50000"/>
                  </a:schemeClr>
                </a:solidFill>
              </a:endParaRPr>
            </a:p>
          </p:txBody>
        </p:sp>
        <p:sp>
          <p:nvSpPr>
            <p:cNvPr id="21" name="Chevron 20"/>
            <p:cNvSpPr/>
            <p:nvPr/>
          </p:nvSpPr>
          <p:spPr>
            <a:xfrm rot="5400000" flipV="1">
              <a:off x="3099909" y="1601286"/>
              <a:ext cx="753527" cy="822960"/>
            </a:xfrm>
            <a:prstGeom prst="chevron">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 rtlCol="0" anchor="ctr"/>
            <a:lstStyle/>
            <a:p>
              <a:pPr algn="ctr"/>
              <a:endParaRPr lang="en-US" sz="600" b="1" dirty="0">
                <a:solidFill>
                  <a:schemeClr val="accent6">
                    <a:lumMod val="50000"/>
                  </a:schemeClr>
                </a:solidFill>
              </a:endParaRPr>
            </a:p>
          </p:txBody>
        </p:sp>
        <p:sp>
          <p:nvSpPr>
            <p:cNvPr id="24" name="Pentagon 23"/>
            <p:cNvSpPr/>
            <p:nvPr/>
          </p:nvSpPr>
          <p:spPr>
            <a:xfrm rot="5400000">
              <a:off x="3104825" y="932691"/>
              <a:ext cx="743696" cy="822960"/>
            </a:xfrm>
            <a:prstGeom prst="homePlate">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a:endParaRPr lang="en-US" sz="600" b="1" dirty="0">
                <a:solidFill>
                  <a:schemeClr val="accent6">
                    <a:lumMod val="50000"/>
                  </a:schemeClr>
                </a:solidFill>
              </a:endParaRPr>
            </a:p>
          </p:txBody>
        </p:sp>
        <p:sp>
          <p:nvSpPr>
            <p:cNvPr id="25" name="Chevron 24"/>
            <p:cNvSpPr/>
            <p:nvPr/>
          </p:nvSpPr>
          <p:spPr>
            <a:xfrm rot="5400000">
              <a:off x="3108183" y="1253775"/>
              <a:ext cx="736979" cy="822960"/>
            </a:xfrm>
            <a:prstGeom prst="chevron">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a:endParaRPr lang="en-US" sz="600" b="1" dirty="0">
                <a:solidFill>
                  <a:schemeClr val="accent6">
                    <a:lumMod val="50000"/>
                  </a:schemeClr>
                </a:solidFill>
              </a:endParaRPr>
            </a:p>
          </p:txBody>
        </p:sp>
        <p:sp>
          <p:nvSpPr>
            <p:cNvPr id="59" name="Chevron 58"/>
            <p:cNvSpPr/>
            <p:nvPr/>
          </p:nvSpPr>
          <p:spPr>
            <a:xfrm rot="5400000">
              <a:off x="3083728" y="3379410"/>
              <a:ext cx="785888" cy="822960"/>
            </a:xfrm>
            <a:prstGeom prst="chevron">
              <a:avLst/>
            </a:prstGeom>
            <a:solidFill>
              <a:schemeClr val="bg2">
                <a:lumMod val="20000"/>
                <a:lumOff val="80000"/>
              </a:schemeClr>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a:endParaRPr lang="en-US" sz="600" b="1" dirty="0">
                <a:solidFill>
                  <a:schemeClr val="accent6">
                    <a:lumMod val="50000"/>
                  </a:schemeClr>
                </a:solidFill>
                <a:latin typeface="+mj-lt"/>
              </a:endParaRPr>
            </a:p>
          </p:txBody>
        </p:sp>
        <p:sp>
          <p:nvSpPr>
            <p:cNvPr id="109" name="TextBox 108"/>
            <p:cNvSpPr txBox="1"/>
            <p:nvPr/>
          </p:nvSpPr>
          <p:spPr>
            <a:xfrm>
              <a:off x="3267926" y="1181094"/>
              <a:ext cx="616113" cy="184666"/>
            </a:xfrm>
            <a:prstGeom prst="rect">
              <a:avLst/>
            </a:prstGeom>
            <a:noFill/>
          </p:spPr>
          <p:txBody>
            <a:bodyPr wrap="square" rtlCol="0">
              <a:spAutoFit/>
            </a:bodyPr>
            <a:lstStyle/>
            <a:p>
              <a:r>
                <a:rPr lang="en-US" sz="600" b="1" dirty="0" smtClean="0">
                  <a:solidFill>
                    <a:schemeClr val="accent6">
                      <a:lumMod val="50000"/>
                    </a:schemeClr>
                  </a:solidFill>
                </a:rPr>
                <a:t>Compile</a:t>
              </a:r>
              <a:endParaRPr lang="en-US" sz="600" b="1" dirty="0">
                <a:solidFill>
                  <a:schemeClr val="accent6">
                    <a:lumMod val="50000"/>
                  </a:schemeClr>
                </a:solidFill>
              </a:endParaRPr>
            </a:p>
          </p:txBody>
        </p:sp>
        <p:sp>
          <p:nvSpPr>
            <p:cNvPr id="133" name="TextBox 132"/>
            <p:cNvSpPr txBox="1"/>
            <p:nvPr/>
          </p:nvSpPr>
          <p:spPr>
            <a:xfrm>
              <a:off x="3260765" y="1718405"/>
              <a:ext cx="719850" cy="184666"/>
            </a:xfrm>
            <a:prstGeom prst="rect">
              <a:avLst/>
            </a:prstGeom>
            <a:noFill/>
          </p:spPr>
          <p:txBody>
            <a:bodyPr wrap="square" rtlCol="0">
              <a:spAutoFit/>
            </a:bodyPr>
            <a:lstStyle/>
            <a:p>
              <a:r>
                <a:rPr lang="en-US" sz="600" b="1" dirty="0" smtClean="0">
                  <a:solidFill>
                    <a:schemeClr val="accent6">
                      <a:lumMod val="50000"/>
                    </a:schemeClr>
                  </a:solidFill>
                </a:rPr>
                <a:t>Unit Test</a:t>
              </a:r>
              <a:endParaRPr lang="en-US" sz="600" b="1" dirty="0">
                <a:solidFill>
                  <a:schemeClr val="accent6">
                    <a:lumMod val="50000"/>
                  </a:schemeClr>
                </a:solidFill>
              </a:endParaRPr>
            </a:p>
          </p:txBody>
        </p:sp>
        <p:sp>
          <p:nvSpPr>
            <p:cNvPr id="134" name="TextBox 133"/>
            <p:cNvSpPr txBox="1"/>
            <p:nvPr/>
          </p:nvSpPr>
          <p:spPr>
            <a:xfrm>
              <a:off x="3271412" y="2046897"/>
              <a:ext cx="616113" cy="184666"/>
            </a:xfrm>
            <a:prstGeom prst="rect">
              <a:avLst/>
            </a:prstGeom>
            <a:noFill/>
          </p:spPr>
          <p:txBody>
            <a:bodyPr wrap="square" rtlCol="0">
              <a:spAutoFit/>
            </a:bodyPr>
            <a:lstStyle/>
            <a:p>
              <a:r>
                <a:rPr lang="en-US" sz="600" b="1" dirty="0" smtClean="0">
                  <a:solidFill>
                    <a:schemeClr val="accent6">
                      <a:lumMod val="50000"/>
                    </a:schemeClr>
                  </a:solidFill>
                </a:rPr>
                <a:t>Package</a:t>
              </a:r>
              <a:endParaRPr lang="en-US" sz="600" b="1" dirty="0">
                <a:solidFill>
                  <a:schemeClr val="accent6">
                    <a:lumMod val="50000"/>
                  </a:schemeClr>
                </a:solidFill>
              </a:endParaRPr>
            </a:p>
          </p:txBody>
        </p:sp>
        <p:sp>
          <p:nvSpPr>
            <p:cNvPr id="135" name="TextBox 134"/>
            <p:cNvSpPr txBox="1"/>
            <p:nvPr/>
          </p:nvSpPr>
          <p:spPr>
            <a:xfrm>
              <a:off x="3166469" y="2345682"/>
              <a:ext cx="931721" cy="184666"/>
            </a:xfrm>
            <a:prstGeom prst="rect">
              <a:avLst/>
            </a:prstGeom>
            <a:noFill/>
          </p:spPr>
          <p:txBody>
            <a:bodyPr wrap="square" rtlCol="0">
              <a:spAutoFit/>
            </a:bodyPr>
            <a:lstStyle/>
            <a:p>
              <a:r>
                <a:rPr lang="en-US" sz="600" b="1" dirty="0" smtClean="0">
                  <a:solidFill>
                    <a:schemeClr val="accent6">
                      <a:lumMod val="50000"/>
                    </a:schemeClr>
                  </a:solidFill>
                </a:rPr>
                <a:t>Code Analysis</a:t>
              </a:r>
              <a:endParaRPr lang="en-US" sz="600" b="1" dirty="0">
                <a:solidFill>
                  <a:schemeClr val="accent6">
                    <a:lumMod val="50000"/>
                  </a:schemeClr>
                </a:solidFill>
              </a:endParaRPr>
            </a:p>
          </p:txBody>
        </p:sp>
        <p:sp>
          <p:nvSpPr>
            <p:cNvPr id="136" name="TextBox 135"/>
            <p:cNvSpPr txBox="1"/>
            <p:nvPr/>
          </p:nvSpPr>
          <p:spPr>
            <a:xfrm>
              <a:off x="3136343" y="2700371"/>
              <a:ext cx="931721" cy="184666"/>
            </a:xfrm>
            <a:prstGeom prst="rect">
              <a:avLst/>
            </a:prstGeom>
            <a:noFill/>
          </p:spPr>
          <p:txBody>
            <a:bodyPr wrap="square" rtlCol="0">
              <a:spAutoFit/>
            </a:bodyPr>
            <a:lstStyle/>
            <a:p>
              <a:r>
                <a:rPr lang="en-US" sz="600" b="1" dirty="0" smtClean="0">
                  <a:solidFill>
                    <a:schemeClr val="accent6">
                      <a:lumMod val="50000"/>
                    </a:schemeClr>
                  </a:solidFill>
                </a:rPr>
                <a:t>Code Coverage</a:t>
              </a:r>
              <a:endParaRPr lang="en-US" sz="600" b="1" dirty="0">
                <a:solidFill>
                  <a:schemeClr val="accent6">
                    <a:lumMod val="50000"/>
                  </a:schemeClr>
                </a:solidFill>
              </a:endParaRPr>
            </a:p>
          </p:txBody>
        </p:sp>
        <p:sp>
          <p:nvSpPr>
            <p:cNvPr id="137" name="TextBox 136"/>
            <p:cNvSpPr txBox="1"/>
            <p:nvPr/>
          </p:nvSpPr>
          <p:spPr>
            <a:xfrm>
              <a:off x="3180027" y="3072504"/>
              <a:ext cx="746178" cy="276999"/>
            </a:xfrm>
            <a:prstGeom prst="rect">
              <a:avLst/>
            </a:prstGeom>
            <a:noFill/>
          </p:spPr>
          <p:txBody>
            <a:bodyPr wrap="square" rtlCol="0">
              <a:spAutoFit/>
            </a:bodyPr>
            <a:lstStyle/>
            <a:p>
              <a:r>
                <a:rPr lang="en-US" sz="600" b="1" dirty="0" smtClean="0">
                  <a:solidFill>
                    <a:schemeClr val="accent6">
                      <a:lumMod val="50000"/>
                    </a:schemeClr>
                  </a:solidFill>
                </a:rPr>
                <a:t>Check Quality</a:t>
              </a:r>
            </a:p>
            <a:p>
              <a:r>
                <a:rPr lang="en-US" sz="600" b="1" dirty="0" smtClean="0">
                  <a:solidFill>
                    <a:schemeClr val="accent6">
                      <a:lumMod val="50000"/>
                    </a:schemeClr>
                  </a:solidFill>
                </a:rPr>
                <a:t>       Gate</a:t>
              </a:r>
              <a:endParaRPr lang="en-US" sz="600" b="1" dirty="0">
                <a:solidFill>
                  <a:schemeClr val="accent6">
                    <a:lumMod val="50000"/>
                  </a:schemeClr>
                </a:solidFill>
              </a:endParaRPr>
            </a:p>
          </p:txBody>
        </p:sp>
        <p:sp>
          <p:nvSpPr>
            <p:cNvPr id="139" name="TextBox 138"/>
            <p:cNvSpPr txBox="1"/>
            <p:nvPr/>
          </p:nvSpPr>
          <p:spPr>
            <a:xfrm>
              <a:off x="3105797" y="3401512"/>
              <a:ext cx="931721" cy="276999"/>
            </a:xfrm>
            <a:prstGeom prst="rect">
              <a:avLst/>
            </a:prstGeom>
            <a:noFill/>
          </p:spPr>
          <p:txBody>
            <a:bodyPr wrap="square" rtlCol="0">
              <a:spAutoFit/>
            </a:bodyPr>
            <a:lstStyle/>
            <a:p>
              <a:r>
                <a:rPr lang="en-US" sz="600" b="1" dirty="0" smtClean="0">
                  <a:solidFill>
                    <a:schemeClr val="accent6">
                      <a:lumMod val="50000"/>
                    </a:schemeClr>
                  </a:solidFill>
                </a:rPr>
                <a:t>Deploy to Artifact</a:t>
              </a:r>
            </a:p>
            <a:p>
              <a:r>
                <a:rPr lang="en-US" sz="600" b="1" dirty="0">
                  <a:solidFill>
                    <a:schemeClr val="accent6">
                      <a:lumMod val="50000"/>
                    </a:schemeClr>
                  </a:solidFill>
                </a:rPr>
                <a:t> </a:t>
              </a:r>
              <a:r>
                <a:rPr lang="en-US" sz="600" b="1" dirty="0" smtClean="0">
                  <a:solidFill>
                    <a:schemeClr val="accent6">
                      <a:lumMod val="50000"/>
                    </a:schemeClr>
                  </a:solidFill>
                </a:rPr>
                <a:t>    Repository</a:t>
              </a:r>
              <a:endParaRPr lang="en-US" sz="600" b="1" dirty="0">
                <a:solidFill>
                  <a:schemeClr val="accent6">
                    <a:lumMod val="50000"/>
                  </a:schemeClr>
                </a:solidFill>
              </a:endParaRPr>
            </a:p>
          </p:txBody>
        </p:sp>
        <p:sp>
          <p:nvSpPr>
            <p:cNvPr id="140" name="TextBox 139"/>
            <p:cNvSpPr txBox="1"/>
            <p:nvPr/>
          </p:nvSpPr>
          <p:spPr>
            <a:xfrm>
              <a:off x="3156824" y="3720444"/>
              <a:ext cx="931721" cy="276999"/>
            </a:xfrm>
            <a:prstGeom prst="rect">
              <a:avLst/>
            </a:prstGeom>
            <a:noFill/>
          </p:spPr>
          <p:txBody>
            <a:bodyPr wrap="square" rtlCol="0">
              <a:spAutoFit/>
            </a:bodyPr>
            <a:lstStyle/>
            <a:p>
              <a:r>
                <a:rPr lang="en-US" sz="600" b="1" dirty="0" smtClean="0">
                  <a:solidFill>
                    <a:schemeClr val="accent6">
                      <a:lumMod val="50000"/>
                    </a:schemeClr>
                  </a:solidFill>
                </a:rPr>
                <a:t>Build and Push </a:t>
              </a:r>
              <a:r>
                <a:rPr lang="en-US" sz="600" b="1" dirty="0" err="1" smtClean="0">
                  <a:solidFill>
                    <a:schemeClr val="accent6">
                      <a:lumMod val="50000"/>
                    </a:schemeClr>
                  </a:solidFill>
                </a:rPr>
                <a:t>Docker</a:t>
              </a:r>
              <a:r>
                <a:rPr lang="en-US" sz="600" b="1" dirty="0" smtClean="0">
                  <a:solidFill>
                    <a:schemeClr val="accent6">
                      <a:lumMod val="50000"/>
                    </a:schemeClr>
                  </a:solidFill>
                </a:rPr>
                <a:t> Image</a:t>
              </a:r>
              <a:endParaRPr lang="en-US" sz="600" b="1" dirty="0">
                <a:solidFill>
                  <a:schemeClr val="accent6">
                    <a:lumMod val="50000"/>
                  </a:schemeClr>
                </a:solidFill>
              </a:endParaRPr>
            </a:p>
          </p:txBody>
        </p:sp>
      </p:grpSp>
      <p:cxnSp>
        <p:nvCxnSpPr>
          <p:cNvPr id="115" name="Elbow Connector 114"/>
          <p:cNvCxnSpPr/>
          <p:nvPr/>
        </p:nvCxnSpPr>
        <p:spPr>
          <a:xfrm>
            <a:off x="1701785" y="2890236"/>
            <a:ext cx="686271" cy="1333"/>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18"/>
          <a:stretch>
            <a:fillRect/>
          </a:stretch>
        </p:blipFill>
        <p:spPr>
          <a:xfrm>
            <a:off x="2452921" y="2697835"/>
            <a:ext cx="411568" cy="451269"/>
          </a:xfrm>
          <a:prstGeom prst="rect">
            <a:avLst/>
          </a:prstGeom>
        </p:spPr>
      </p:pic>
      <p:cxnSp>
        <p:nvCxnSpPr>
          <p:cNvPr id="183" name="Straight Connector 182"/>
          <p:cNvCxnSpPr>
            <a:stCxn id="15" idx="2"/>
          </p:cNvCxnSpPr>
          <p:nvPr/>
        </p:nvCxnSpPr>
        <p:spPr>
          <a:xfrm>
            <a:off x="615874" y="4346215"/>
            <a:ext cx="0" cy="21514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615874" y="4540100"/>
            <a:ext cx="7497485"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3" name="Rectangle 192"/>
          <p:cNvSpPr/>
          <p:nvPr/>
        </p:nvSpPr>
        <p:spPr bwMode="auto">
          <a:xfrm>
            <a:off x="1280020" y="1686373"/>
            <a:ext cx="739214" cy="243557"/>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DB Scripts</a:t>
            </a:r>
          </a:p>
        </p:txBody>
      </p:sp>
      <p:pic>
        <p:nvPicPr>
          <p:cNvPr id="194" name="Picture 193"/>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275641" y="3529590"/>
            <a:ext cx="561262" cy="114182"/>
          </a:xfrm>
          <a:prstGeom prst="rect">
            <a:avLst/>
          </a:prstGeom>
        </p:spPr>
        <p:style>
          <a:lnRef idx="0">
            <a:schemeClr val="accent5"/>
          </a:lnRef>
          <a:fillRef idx="3">
            <a:schemeClr val="accent5"/>
          </a:fillRef>
          <a:effectRef idx="3">
            <a:schemeClr val="accent5"/>
          </a:effectRef>
          <a:fontRef idx="minor">
            <a:schemeClr val="lt1"/>
          </a:fontRef>
        </p:style>
      </p:pic>
      <p:cxnSp>
        <p:nvCxnSpPr>
          <p:cNvPr id="188" name="Elbow Connector 187"/>
          <p:cNvCxnSpPr>
            <a:stCxn id="193" idx="3"/>
          </p:cNvCxnSpPr>
          <p:nvPr/>
        </p:nvCxnSpPr>
        <p:spPr>
          <a:xfrm>
            <a:off x="2019234" y="1808152"/>
            <a:ext cx="397571" cy="700158"/>
          </a:xfrm>
          <a:prstGeom prst="bentConnector2">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10" name="Picture 2" descr="https://www.naranja.com/images/logo.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31696" y="4770859"/>
            <a:ext cx="761591" cy="354228"/>
          </a:xfrm>
          <a:prstGeom prst="rect">
            <a:avLst/>
          </a:prstGeom>
          <a:noFill/>
          <a:extLst>
            <a:ext uri="{909E8E84-426E-40DD-AFC4-6F175D3DCCD1}">
              <a14:hiddenFill xmlns:a14="http://schemas.microsoft.com/office/drawing/2010/main">
                <a:solidFill>
                  <a:srgbClr val="FFFFFF"/>
                </a:solidFill>
              </a14:hiddenFill>
            </a:ext>
          </a:extLst>
        </p:spPr>
      </p:pic>
      <p:sp>
        <p:nvSpPr>
          <p:cNvPr id="215" name="Rectangle 214"/>
          <p:cNvSpPr/>
          <p:nvPr/>
        </p:nvSpPr>
        <p:spPr bwMode="auto">
          <a:xfrm>
            <a:off x="1314918" y="2030667"/>
            <a:ext cx="739214" cy="509574"/>
          </a:xfrm>
          <a:prstGeom prst="rect">
            <a:avLst/>
          </a:prstGeom>
          <a:ln w="19050">
            <a:solidFill>
              <a:schemeClr val="tx1">
                <a:lumMod val="50000"/>
                <a:lumOff val="50000"/>
              </a:schemeClr>
            </a:solidFill>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1803" tIns="35901" rIns="71803" bIns="35901" numCol="1" spcCol="0" rtlCol="0" fromWordArt="0" anchor="t" anchorCtr="0" forceAA="0" compatLnSpc="1">
            <a:prstTxWarp prst="textNoShape">
              <a:avLst/>
            </a:prstTxWarp>
            <a:noAutofit/>
          </a:bodyPr>
          <a:lstStyle/>
          <a:p>
            <a:pPr algn="ctr" defTabSz="1173060" fontAlgn="base">
              <a:lnSpc>
                <a:spcPct val="95000"/>
              </a:lnSpc>
              <a:spcBef>
                <a:spcPct val="0"/>
              </a:spcBef>
              <a:spcAft>
                <a:spcPct val="0"/>
              </a:spcAft>
              <a:defRPr/>
            </a:pPr>
            <a:r>
              <a:rPr lang="en-US" sz="800" b="1" dirty="0" smtClean="0">
                <a:solidFill>
                  <a:schemeClr val="tx2"/>
                </a:solidFill>
                <a:ea typeface="Segoe UI" panose="020B0502040204020203" pitchFamily="34" charset="0"/>
                <a:cs typeface="Segoe UI" panose="020B0502040204020203" pitchFamily="34" charset="0"/>
              </a:rPr>
              <a:t>ESB/BEPL</a:t>
            </a:r>
          </a:p>
        </p:txBody>
      </p:sp>
      <p:pic>
        <p:nvPicPr>
          <p:cNvPr id="218" name="Picture 26"/>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1362623" y="2195908"/>
            <a:ext cx="640581" cy="278514"/>
          </a:xfrm>
          <a:prstGeom prst="rect">
            <a:avLst/>
          </a:prstGeom>
          <a:noFill/>
          <a:extLst>
            <a:ext uri="{909E8E84-426E-40DD-AFC4-6F175D3DCCD1}">
              <a14:hiddenFill xmlns:a14="http://schemas.microsoft.com/office/drawing/2010/main">
                <a:solidFill>
                  <a:srgbClr val="FFFFFF"/>
                </a:solidFill>
              </a14:hiddenFill>
            </a:ext>
          </a:extLst>
        </p:spPr>
      </p:pic>
      <p:cxnSp>
        <p:nvCxnSpPr>
          <p:cNvPr id="233" name="Straight Connector 232"/>
          <p:cNvCxnSpPr>
            <a:stCxn id="215" idx="3"/>
          </p:cNvCxnSpPr>
          <p:nvPr/>
        </p:nvCxnSpPr>
        <p:spPr>
          <a:xfrm>
            <a:off x="2054132" y="2285454"/>
            <a:ext cx="362673"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36" name="Picture 18"/>
          <p:cNvPicPr>
            <a:picLocks noChangeAspect="1" noChangeArrowheads="1"/>
          </p:cNvPicPr>
          <p:nvPr/>
        </p:nvPicPr>
        <p:blipFill>
          <a:blip r:embed="rId22">
            <a:extLst>
              <a:ext uri="{28A0092B-C50C-407E-A947-70E740481C1C}">
                <a14:useLocalDpi xmlns:a14="http://schemas.microsoft.com/office/drawing/2010/main" val="0"/>
              </a:ext>
            </a:extLst>
          </a:blip>
          <a:stretch>
            <a:fillRect/>
          </a:stretch>
        </p:blipFill>
        <p:spPr bwMode="auto">
          <a:xfrm>
            <a:off x="7990089" y="3049431"/>
            <a:ext cx="390016" cy="249411"/>
          </a:xfrm>
          <a:prstGeom prst="rect">
            <a:avLst/>
          </a:prstGeom>
          <a:noFill/>
          <a:extLst>
            <a:ext uri="{909E8E84-426E-40DD-AFC4-6F175D3DCCD1}">
              <a14:hiddenFill xmlns:a14="http://schemas.microsoft.com/office/drawing/2010/main">
                <a:solidFill>
                  <a:srgbClr val="FFFFFF"/>
                </a:solidFill>
              </a14:hiddenFill>
            </a:ext>
          </a:extLst>
        </p:spPr>
      </p:pic>
      <p:sp>
        <p:nvSpPr>
          <p:cNvPr id="237" name="Rectangle 236"/>
          <p:cNvSpPr/>
          <p:nvPr/>
        </p:nvSpPr>
        <p:spPr>
          <a:xfrm>
            <a:off x="4525240" y="1219682"/>
            <a:ext cx="473171" cy="112028"/>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900" dirty="0" smtClean="0">
                <a:ln w="0"/>
                <a:effectLst>
                  <a:outerShdw blurRad="38100" dist="19050" dir="2700000" algn="tl" rotWithShape="0">
                    <a:schemeClr val="dk1">
                      <a:alpha val="40000"/>
                    </a:schemeClr>
                  </a:outerShdw>
                </a:effectLst>
              </a:rPr>
              <a:t>LINT</a:t>
            </a:r>
            <a:endParaRPr lang="en-US" sz="900" dirty="0">
              <a:ln w="0"/>
              <a:effectLst>
                <a:outerShdw blurRad="38100" dist="19050" dir="2700000" algn="tl" rotWithShape="0">
                  <a:schemeClr val="dk1">
                    <a:alpha val="40000"/>
                  </a:schemeClr>
                </a:outerShdw>
              </a:effectLst>
            </a:endParaRPr>
          </a:p>
        </p:txBody>
      </p:sp>
      <p:grpSp>
        <p:nvGrpSpPr>
          <p:cNvPr id="22" name="Group 21"/>
          <p:cNvGrpSpPr/>
          <p:nvPr/>
        </p:nvGrpSpPr>
        <p:grpSpPr>
          <a:xfrm>
            <a:off x="5263934" y="4573991"/>
            <a:ext cx="1126242" cy="215444"/>
            <a:chOff x="7457841" y="4550716"/>
            <a:chExt cx="1145789" cy="235769"/>
          </a:xfrm>
        </p:grpSpPr>
        <p:cxnSp>
          <p:nvCxnSpPr>
            <p:cNvPr id="18" name="Straight Connector 17"/>
            <p:cNvCxnSpPr/>
            <p:nvPr/>
          </p:nvCxnSpPr>
          <p:spPr>
            <a:xfrm>
              <a:off x="7457841" y="4664479"/>
              <a:ext cx="193153" cy="0"/>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578098" y="4550716"/>
              <a:ext cx="1025532" cy="235769"/>
            </a:xfrm>
            <a:prstGeom prst="rect">
              <a:avLst/>
            </a:prstGeom>
            <a:noFill/>
          </p:spPr>
          <p:txBody>
            <a:bodyPr wrap="square" rtlCol="0">
              <a:spAutoFit/>
            </a:bodyPr>
            <a:lstStyle/>
            <a:p>
              <a:r>
                <a:rPr lang="en-US" sz="800" dirty="0" smtClean="0"/>
                <a:t>Angular / </a:t>
              </a:r>
              <a:r>
                <a:rPr lang="en-US" sz="800" dirty="0" err="1" smtClean="0"/>
                <a:t>NodeJS</a:t>
              </a:r>
              <a:endParaRPr lang="en-US" sz="800" dirty="0"/>
            </a:p>
          </p:txBody>
        </p:sp>
      </p:grpSp>
      <p:grpSp>
        <p:nvGrpSpPr>
          <p:cNvPr id="117" name="Group 116"/>
          <p:cNvGrpSpPr/>
          <p:nvPr/>
        </p:nvGrpSpPr>
        <p:grpSpPr>
          <a:xfrm>
            <a:off x="4776366" y="4582703"/>
            <a:ext cx="542727" cy="215444"/>
            <a:chOff x="7442149" y="4564741"/>
            <a:chExt cx="552147" cy="235769"/>
          </a:xfrm>
        </p:grpSpPr>
        <p:cxnSp>
          <p:nvCxnSpPr>
            <p:cNvPr id="118" name="Straight Connector 117"/>
            <p:cNvCxnSpPr/>
            <p:nvPr/>
          </p:nvCxnSpPr>
          <p:spPr>
            <a:xfrm>
              <a:off x="7442149" y="4664479"/>
              <a:ext cx="159630"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7559370" y="4564741"/>
              <a:ext cx="434926" cy="235769"/>
            </a:xfrm>
            <a:prstGeom prst="rect">
              <a:avLst/>
            </a:prstGeom>
            <a:noFill/>
          </p:spPr>
          <p:txBody>
            <a:bodyPr wrap="square" rtlCol="0">
              <a:spAutoFit/>
            </a:bodyPr>
            <a:lstStyle/>
            <a:p>
              <a:r>
                <a:rPr lang="en-US" sz="800" dirty="0" smtClean="0"/>
                <a:t>Java</a:t>
              </a:r>
              <a:endParaRPr lang="en-US" sz="800" dirty="0"/>
            </a:p>
          </p:txBody>
        </p:sp>
      </p:grpSp>
      <p:grpSp>
        <p:nvGrpSpPr>
          <p:cNvPr id="122" name="Group 121"/>
          <p:cNvGrpSpPr/>
          <p:nvPr/>
        </p:nvGrpSpPr>
        <p:grpSpPr>
          <a:xfrm>
            <a:off x="4176572" y="4574841"/>
            <a:ext cx="525571" cy="222833"/>
            <a:chOff x="7425387" y="4539079"/>
            <a:chExt cx="534691" cy="243855"/>
          </a:xfrm>
        </p:grpSpPr>
        <p:cxnSp>
          <p:nvCxnSpPr>
            <p:cNvPr id="123" name="Straight Connector 122"/>
            <p:cNvCxnSpPr/>
            <p:nvPr/>
          </p:nvCxnSpPr>
          <p:spPr>
            <a:xfrm>
              <a:off x="7425387" y="4664479"/>
              <a:ext cx="193154"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24" name="TextBox 123"/>
            <p:cNvSpPr txBox="1"/>
            <p:nvPr/>
          </p:nvSpPr>
          <p:spPr>
            <a:xfrm>
              <a:off x="7576650" y="4539079"/>
              <a:ext cx="383428" cy="243855"/>
            </a:xfrm>
            <a:prstGeom prst="rect">
              <a:avLst/>
            </a:prstGeom>
            <a:noFill/>
          </p:spPr>
          <p:txBody>
            <a:bodyPr wrap="square" rtlCol="0">
              <a:spAutoFit/>
            </a:bodyPr>
            <a:lstStyle/>
            <a:p>
              <a:r>
                <a:rPr lang="en-US" sz="800" dirty="0" err="1" smtClean="0"/>
                <a:t>.Net</a:t>
              </a:r>
              <a:endParaRPr lang="en-US" sz="800" dirty="0"/>
            </a:p>
          </p:txBody>
        </p:sp>
      </p:grpSp>
      <p:grpSp>
        <p:nvGrpSpPr>
          <p:cNvPr id="125" name="Group 124"/>
          <p:cNvGrpSpPr/>
          <p:nvPr/>
        </p:nvGrpSpPr>
        <p:grpSpPr>
          <a:xfrm>
            <a:off x="6413192" y="4567086"/>
            <a:ext cx="525571" cy="222833"/>
            <a:chOff x="7425387" y="4539079"/>
            <a:chExt cx="534691" cy="243855"/>
          </a:xfrm>
        </p:grpSpPr>
        <p:cxnSp>
          <p:nvCxnSpPr>
            <p:cNvPr id="126" name="Straight Connector 125"/>
            <p:cNvCxnSpPr/>
            <p:nvPr/>
          </p:nvCxnSpPr>
          <p:spPr>
            <a:xfrm>
              <a:off x="7425387" y="4664479"/>
              <a:ext cx="193154"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7576650" y="4539079"/>
              <a:ext cx="383428" cy="243855"/>
            </a:xfrm>
            <a:prstGeom prst="rect">
              <a:avLst/>
            </a:prstGeom>
            <a:noFill/>
          </p:spPr>
          <p:txBody>
            <a:bodyPr wrap="square" rtlCol="0">
              <a:spAutoFit/>
            </a:bodyPr>
            <a:lstStyle/>
            <a:p>
              <a:r>
                <a:rPr lang="en-US" sz="800" dirty="0" smtClean="0"/>
                <a:t>DB</a:t>
              </a:r>
              <a:endParaRPr lang="en-US" sz="800" dirty="0"/>
            </a:p>
          </p:txBody>
        </p:sp>
      </p:grpSp>
      <p:grpSp>
        <p:nvGrpSpPr>
          <p:cNvPr id="128" name="Group 127"/>
          <p:cNvGrpSpPr/>
          <p:nvPr/>
        </p:nvGrpSpPr>
        <p:grpSpPr>
          <a:xfrm>
            <a:off x="6872174" y="4570133"/>
            <a:ext cx="1105592" cy="338554"/>
            <a:chOff x="7515228" y="4539079"/>
            <a:chExt cx="444850" cy="370493"/>
          </a:xfrm>
        </p:grpSpPr>
        <p:cxnSp>
          <p:nvCxnSpPr>
            <p:cNvPr id="129" name="Straight Connector 128"/>
            <p:cNvCxnSpPr/>
            <p:nvPr/>
          </p:nvCxnSpPr>
          <p:spPr>
            <a:xfrm>
              <a:off x="7515228" y="4664479"/>
              <a:ext cx="81915"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7576650" y="4539079"/>
              <a:ext cx="383428" cy="370493"/>
            </a:xfrm>
            <a:prstGeom prst="rect">
              <a:avLst/>
            </a:prstGeom>
            <a:noFill/>
          </p:spPr>
          <p:txBody>
            <a:bodyPr wrap="square" rtlCol="0">
              <a:spAutoFit/>
            </a:bodyPr>
            <a:lstStyle/>
            <a:p>
              <a:r>
                <a:rPr lang="en-US" sz="800" dirty="0" smtClean="0"/>
                <a:t>ESB/BEPL/MQ</a:t>
              </a:r>
              <a:endParaRPr lang="en-US" sz="800" dirty="0"/>
            </a:p>
          </p:txBody>
        </p:sp>
      </p:grpSp>
    </p:spTree>
    <p:extLst>
      <p:ext uri="{BB962C8B-B14F-4D97-AF65-F5344CB8AC3E}">
        <p14:creationId xmlns:p14="http://schemas.microsoft.com/office/powerpoint/2010/main" val="75495009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 name="Slide Number Placeholder 1"/>
          <p:cNvSpPr>
            <a:spLocks noGrp="1"/>
          </p:cNvSpPr>
          <p:nvPr>
            <p:ph type="sldNum" sz="quarter" idx="12"/>
          </p:nvPr>
        </p:nvSpPr>
        <p:spPr/>
        <p:txBody>
          <a:bodyPr/>
          <a:lstStyle/>
          <a:p>
            <a:r>
              <a:rPr lang="en-US" smtClean="0"/>
              <a:t> </a:t>
            </a:r>
            <a:endParaRPr lang="en-US" dirty="0"/>
          </a:p>
        </p:txBody>
      </p:sp>
      <p:grpSp>
        <p:nvGrpSpPr>
          <p:cNvPr id="4" name="Group 3"/>
          <p:cNvGrpSpPr/>
          <p:nvPr/>
        </p:nvGrpSpPr>
        <p:grpSpPr>
          <a:xfrm>
            <a:off x="141051" y="533266"/>
            <a:ext cx="8722470" cy="4254588"/>
            <a:chOff x="124049" y="550639"/>
            <a:chExt cx="8722470" cy="4254588"/>
          </a:xfrm>
        </p:grpSpPr>
        <p:sp>
          <p:nvSpPr>
            <p:cNvPr id="5" name="Rectangle 4"/>
            <p:cNvSpPr/>
            <p:nvPr/>
          </p:nvSpPr>
          <p:spPr>
            <a:xfrm>
              <a:off x="7439095" y="1438079"/>
              <a:ext cx="1407424" cy="2623533"/>
            </a:xfrm>
            <a:prstGeom prst="rect">
              <a:avLst/>
            </a:prstGeom>
            <a:solidFill>
              <a:srgbClr val="EAFAE0"/>
            </a:solidFill>
            <a:ln w="28575">
              <a:solidFill>
                <a:schemeClr val="tx2">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endParaRPr lang="en-US" sz="750" b="1" dirty="0">
                <a:latin typeface="Calibri" panose="020F0502020204030204" pitchFamily="34" charset="0"/>
              </a:endParaRPr>
            </a:p>
          </p:txBody>
        </p:sp>
        <p:sp>
          <p:nvSpPr>
            <p:cNvPr id="6" name="Rectangle 5"/>
            <p:cNvSpPr/>
            <p:nvPr/>
          </p:nvSpPr>
          <p:spPr>
            <a:xfrm>
              <a:off x="3180382" y="1069573"/>
              <a:ext cx="767284" cy="348765"/>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Junit, </a:t>
              </a:r>
              <a:r>
                <a:rPr lang="en-US" sz="900" b="1" dirty="0" err="1" smtClean="0">
                  <a:solidFill>
                    <a:sysClr val="windowText" lastClr="000000"/>
                  </a:solidFill>
                  <a:latin typeface="Calibri" panose="020F0502020204030204" pitchFamily="34" charset="0"/>
                </a:rPr>
                <a:t>MSTest</a:t>
              </a:r>
              <a:endParaRPr lang="en-US" sz="900" b="1" dirty="0">
                <a:solidFill>
                  <a:sysClr val="windowText" lastClr="000000"/>
                </a:solidFill>
                <a:latin typeface="Calibri" panose="020F0502020204030204" pitchFamily="34" charset="0"/>
              </a:endParaRPr>
            </a:p>
          </p:txBody>
        </p:sp>
        <p:sp>
          <p:nvSpPr>
            <p:cNvPr id="7" name="Rectangle 6"/>
            <p:cNvSpPr/>
            <p:nvPr/>
          </p:nvSpPr>
          <p:spPr>
            <a:xfrm>
              <a:off x="628146" y="1934298"/>
              <a:ext cx="956613" cy="468036"/>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BRD Document</a:t>
              </a:r>
            </a:p>
          </p:txBody>
        </p:sp>
        <p:sp>
          <p:nvSpPr>
            <p:cNvPr id="8" name="Rectangle 7"/>
            <p:cNvSpPr/>
            <p:nvPr/>
          </p:nvSpPr>
          <p:spPr>
            <a:xfrm>
              <a:off x="1970938" y="1934298"/>
              <a:ext cx="937763" cy="468036"/>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err="1" smtClean="0">
                  <a:solidFill>
                    <a:sysClr val="windowText" lastClr="000000"/>
                  </a:solidFill>
                  <a:latin typeface="Calibri" panose="020F0502020204030204" pitchFamily="34" charset="0"/>
                </a:rPr>
                <a:t>GitLab</a:t>
              </a:r>
              <a:r>
                <a:rPr lang="en-US" sz="900" b="1" dirty="0" smtClean="0">
                  <a:solidFill>
                    <a:sysClr val="windowText" lastClr="000000"/>
                  </a:solidFill>
                  <a:latin typeface="Calibri" panose="020F0502020204030204" pitchFamily="34" charset="0"/>
                </a:rPr>
                <a:t>/</a:t>
              </a:r>
            </a:p>
            <a:p>
              <a:pPr algn="ctr"/>
              <a:r>
                <a:rPr lang="en-US" sz="900" b="1" dirty="0" err="1" smtClean="0">
                  <a:solidFill>
                    <a:sysClr val="windowText" lastClr="000000"/>
                  </a:solidFill>
                  <a:latin typeface="Calibri" panose="020F0502020204030204" pitchFamily="34" charset="0"/>
                </a:rPr>
                <a:t>ClearCase</a:t>
              </a:r>
              <a:endParaRPr lang="en-US" sz="900" b="1" dirty="0">
                <a:solidFill>
                  <a:sysClr val="windowText" lastClr="000000"/>
                </a:solidFill>
                <a:latin typeface="Calibri" panose="020F0502020204030204" pitchFamily="34" charset="0"/>
              </a:endParaRPr>
            </a:p>
          </p:txBody>
        </p:sp>
        <p:sp>
          <p:nvSpPr>
            <p:cNvPr id="9" name="Rectangle 8"/>
            <p:cNvSpPr/>
            <p:nvPr/>
          </p:nvSpPr>
          <p:spPr>
            <a:xfrm>
              <a:off x="3504535" y="1929071"/>
              <a:ext cx="1006210" cy="468036"/>
            </a:xfrm>
            <a:prstGeom prst="rect">
              <a:avLst/>
            </a:prstGeom>
            <a:solidFill>
              <a:srgbClr val="92D050"/>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Jenkins</a:t>
              </a:r>
            </a:p>
          </p:txBody>
        </p:sp>
        <p:sp>
          <p:nvSpPr>
            <p:cNvPr id="10" name="Rectangle 9"/>
            <p:cNvSpPr/>
            <p:nvPr/>
          </p:nvSpPr>
          <p:spPr>
            <a:xfrm>
              <a:off x="2150885" y="2996038"/>
              <a:ext cx="894070" cy="533415"/>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Sonar</a:t>
              </a:r>
              <a:endParaRPr lang="en-US" sz="900" b="1" dirty="0">
                <a:solidFill>
                  <a:sysClr val="windowText" lastClr="000000"/>
                </a:solidFill>
                <a:latin typeface="Calibri" panose="020F0502020204030204" pitchFamily="34" charset="0"/>
              </a:endParaRPr>
            </a:p>
          </p:txBody>
        </p:sp>
        <p:sp>
          <p:nvSpPr>
            <p:cNvPr id="11" name="Rectangle 10"/>
            <p:cNvSpPr/>
            <p:nvPr/>
          </p:nvSpPr>
          <p:spPr>
            <a:xfrm>
              <a:off x="3405850" y="2996039"/>
              <a:ext cx="998050" cy="413385"/>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Selenium/</a:t>
              </a:r>
            </a:p>
            <a:p>
              <a:pPr algn="ctr"/>
              <a:r>
                <a:rPr lang="en-US" sz="900" b="1" dirty="0" smtClean="0">
                  <a:solidFill>
                    <a:sysClr val="windowText" lastClr="000000"/>
                  </a:solidFill>
                  <a:latin typeface="Calibri" panose="020F0502020204030204" pitchFamily="34" charset="0"/>
                </a:rPr>
                <a:t>Protractor/</a:t>
              </a:r>
            </a:p>
            <a:p>
              <a:pPr algn="ctr"/>
              <a:r>
                <a:rPr lang="en-US" sz="900" b="1" dirty="0" err="1" smtClean="0">
                  <a:solidFill>
                    <a:sysClr val="windowText" lastClr="000000"/>
                  </a:solidFill>
                  <a:latin typeface="Calibri" panose="020F0502020204030204" pitchFamily="34" charset="0"/>
                </a:rPr>
                <a:t>Appium</a:t>
              </a:r>
              <a:endParaRPr lang="en-US" sz="900" b="1" dirty="0">
                <a:solidFill>
                  <a:sysClr val="windowText" lastClr="000000"/>
                </a:solidFill>
                <a:latin typeface="Calibri" panose="020F0502020204030204" pitchFamily="34" charset="0"/>
              </a:endParaRPr>
            </a:p>
          </p:txBody>
        </p:sp>
        <p:sp>
          <p:nvSpPr>
            <p:cNvPr id="12" name="Rectangle 11"/>
            <p:cNvSpPr/>
            <p:nvPr/>
          </p:nvSpPr>
          <p:spPr>
            <a:xfrm>
              <a:off x="4914715" y="1934146"/>
              <a:ext cx="924777" cy="466757"/>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Scripts</a:t>
              </a:r>
              <a:endParaRPr lang="en-US" sz="900" b="1" dirty="0">
                <a:solidFill>
                  <a:sysClr val="windowText" lastClr="000000"/>
                </a:solidFill>
                <a:latin typeface="Calibri" panose="020F0502020204030204" pitchFamily="34" charset="0"/>
              </a:endParaRPr>
            </a:p>
          </p:txBody>
        </p:sp>
        <p:sp>
          <p:nvSpPr>
            <p:cNvPr id="13" name="Rectangle 12"/>
            <p:cNvSpPr/>
            <p:nvPr/>
          </p:nvSpPr>
          <p:spPr>
            <a:xfrm>
              <a:off x="6168945" y="1088276"/>
              <a:ext cx="767284" cy="348765"/>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CA-</a:t>
              </a:r>
              <a:r>
                <a:rPr lang="en-US" sz="900" b="1" dirty="0" err="1" smtClean="0">
                  <a:solidFill>
                    <a:sysClr val="windowText" lastClr="000000"/>
                  </a:solidFill>
                  <a:latin typeface="Calibri" panose="020F0502020204030204" pitchFamily="34" charset="0"/>
                </a:rPr>
                <a:t>ServiceDesk</a:t>
              </a:r>
              <a:endParaRPr lang="en-US" sz="900" b="1" dirty="0">
                <a:solidFill>
                  <a:sysClr val="windowText" lastClr="000000"/>
                </a:solidFill>
                <a:latin typeface="Calibri" panose="020F0502020204030204" pitchFamily="34" charset="0"/>
              </a:endParaRPr>
            </a:p>
          </p:txBody>
        </p:sp>
        <p:sp>
          <p:nvSpPr>
            <p:cNvPr id="14" name="Rectangle 13"/>
            <p:cNvSpPr/>
            <p:nvPr/>
          </p:nvSpPr>
          <p:spPr>
            <a:xfrm>
              <a:off x="5738412" y="2698320"/>
              <a:ext cx="962929" cy="468036"/>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chemeClr val="tx1"/>
                  </a:solidFill>
                  <a:latin typeface="Calibri" panose="020F0502020204030204" pitchFamily="34" charset="0"/>
                </a:rPr>
                <a:t>Ansible</a:t>
              </a:r>
              <a:endParaRPr lang="en-US" sz="900" b="1" dirty="0">
                <a:solidFill>
                  <a:schemeClr val="tx1"/>
                </a:solidFill>
                <a:latin typeface="Calibri" panose="020F0502020204030204" pitchFamily="34" charset="0"/>
              </a:endParaRPr>
            </a:p>
            <a:p>
              <a:pPr algn="ctr"/>
              <a:r>
                <a:rPr lang="en-US" sz="900" b="1" dirty="0">
                  <a:solidFill>
                    <a:schemeClr val="tx1"/>
                  </a:solidFill>
                  <a:latin typeface="Calibri" panose="020F0502020204030204" pitchFamily="34" charset="0"/>
                </a:rPr>
                <a:t>Config Automation</a:t>
              </a:r>
            </a:p>
          </p:txBody>
        </p:sp>
        <p:sp>
          <p:nvSpPr>
            <p:cNvPr id="15" name="Rectangle 14"/>
            <p:cNvSpPr/>
            <p:nvPr/>
          </p:nvSpPr>
          <p:spPr>
            <a:xfrm>
              <a:off x="7566406" y="1773728"/>
              <a:ext cx="521207"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Dev</a:t>
              </a:r>
            </a:p>
          </p:txBody>
        </p:sp>
        <p:sp>
          <p:nvSpPr>
            <p:cNvPr id="16" name="Rectangle 15"/>
            <p:cNvSpPr/>
            <p:nvPr/>
          </p:nvSpPr>
          <p:spPr>
            <a:xfrm>
              <a:off x="7566406" y="2122493"/>
              <a:ext cx="521207"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QA</a:t>
              </a:r>
            </a:p>
          </p:txBody>
        </p:sp>
        <p:sp>
          <p:nvSpPr>
            <p:cNvPr id="17" name="Rectangle 16"/>
            <p:cNvSpPr/>
            <p:nvPr/>
          </p:nvSpPr>
          <p:spPr>
            <a:xfrm>
              <a:off x="7566406" y="2471258"/>
              <a:ext cx="521207"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UAT</a:t>
              </a:r>
            </a:p>
          </p:txBody>
        </p:sp>
        <p:sp>
          <p:nvSpPr>
            <p:cNvPr id="18" name="Rectangle 17"/>
            <p:cNvSpPr/>
            <p:nvPr/>
          </p:nvSpPr>
          <p:spPr>
            <a:xfrm>
              <a:off x="8272124" y="1773728"/>
              <a:ext cx="491526" cy="897822"/>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Prod</a:t>
              </a:r>
            </a:p>
          </p:txBody>
        </p:sp>
        <p:sp>
          <p:nvSpPr>
            <p:cNvPr id="19" name="Rectangle 18"/>
            <p:cNvSpPr/>
            <p:nvPr/>
          </p:nvSpPr>
          <p:spPr>
            <a:xfrm>
              <a:off x="7568681" y="3053655"/>
              <a:ext cx="1194969"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App</a:t>
              </a:r>
            </a:p>
          </p:txBody>
        </p:sp>
        <p:sp>
          <p:nvSpPr>
            <p:cNvPr id="20" name="Rectangle 19"/>
            <p:cNvSpPr/>
            <p:nvPr/>
          </p:nvSpPr>
          <p:spPr>
            <a:xfrm>
              <a:off x="7568681" y="3249358"/>
              <a:ext cx="1194969"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Config</a:t>
              </a:r>
            </a:p>
          </p:txBody>
        </p:sp>
        <p:sp>
          <p:nvSpPr>
            <p:cNvPr id="21" name="Rectangle 20"/>
            <p:cNvSpPr/>
            <p:nvPr/>
          </p:nvSpPr>
          <p:spPr>
            <a:xfrm>
              <a:off x="7568681" y="3445063"/>
              <a:ext cx="1194969"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SOA, DB</a:t>
              </a:r>
            </a:p>
          </p:txBody>
        </p:sp>
        <p:sp>
          <p:nvSpPr>
            <p:cNvPr id="22" name="Rectangle 21"/>
            <p:cNvSpPr/>
            <p:nvPr/>
          </p:nvSpPr>
          <p:spPr>
            <a:xfrm>
              <a:off x="7568681" y="3640768"/>
              <a:ext cx="1194969"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OS</a:t>
              </a:r>
            </a:p>
          </p:txBody>
        </p:sp>
        <p:sp>
          <p:nvSpPr>
            <p:cNvPr id="23" name="TextBox 22"/>
            <p:cNvSpPr txBox="1"/>
            <p:nvPr/>
          </p:nvSpPr>
          <p:spPr>
            <a:xfrm>
              <a:off x="7732713" y="1553776"/>
              <a:ext cx="737694" cy="207747"/>
            </a:xfrm>
            <a:prstGeom prst="rect">
              <a:avLst/>
            </a:prstGeom>
            <a:noFill/>
          </p:spPr>
          <p:txBody>
            <a:bodyPr wrap="none" lIns="91436" tIns="45719" rIns="91436" bIns="45719" rtlCol="0">
              <a:spAutoFit/>
            </a:bodyPr>
            <a:lstStyle/>
            <a:p>
              <a:r>
                <a:rPr lang="en-US" sz="750" b="1" dirty="0">
                  <a:solidFill>
                    <a:sysClr val="windowText" lastClr="000000"/>
                  </a:solidFill>
                  <a:latin typeface="Calibri" panose="020F0502020204030204" pitchFamily="34" charset="0"/>
                </a:rPr>
                <a:t>Environments</a:t>
              </a:r>
            </a:p>
          </p:txBody>
        </p:sp>
        <p:sp>
          <p:nvSpPr>
            <p:cNvPr id="24" name="Rectangle 23"/>
            <p:cNvSpPr/>
            <p:nvPr/>
          </p:nvSpPr>
          <p:spPr>
            <a:xfrm>
              <a:off x="1935616" y="3983822"/>
              <a:ext cx="4476632" cy="270098"/>
            </a:xfrm>
            <a:prstGeom prst="rect">
              <a:avLst/>
            </a:prstGeom>
            <a:solidFill>
              <a:schemeClr val="bg1">
                <a:lumMod val="75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Release Management </a:t>
              </a:r>
              <a:r>
                <a:rPr lang="en-US" sz="900" b="1" dirty="0" smtClean="0">
                  <a:solidFill>
                    <a:sysClr val="windowText" lastClr="000000"/>
                  </a:solidFill>
                  <a:latin typeface="Calibri" panose="020F0502020204030204" pitchFamily="34" charset="0"/>
                </a:rPr>
                <a:t>(CA-Service Desk)</a:t>
              </a:r>
              <a:endParaRPr lang="en-US" sz="900" b="1" dirty="0">
                <a:solidFill>
                  <a:sysClr val="windowText" lastClr="000000"/>
                </a:solidFill>
                <a:latin typeface="Calibri" panose="020F0502020204030204" pitchFamily="34" charset="0"/>
              </a:endParaRPr>
            </a:p>
          </p:txBody>
        </p:sp>
        <p:sp>
          <p:nvSpPr>
            <p:cNvPr id="25" name="Rectangle 24"/>
            <p:cNvSpPr/>
            <p:nvPr/>
          </p:nvSpPr>
          <p:spPr>
            <a:xfrm>
              <a:off x="2375617" y="4259984"/>
              <a:ext cx="3656591" cy="270098"/>
            </a:xfrm>
            <a:prstGeom prst="rect">
              <a:avLst/>
            </a:prstGeom>
            <a:solidFill>
              <a:srgbClr val="92D050"/>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err="1" smtClean="0">
                  <a:solidFill>
                    <a:sysClr val="windowText" lastClr="000000"/>
                  </a:solidFill>
                  <a:latin typeface="Calibri" panose="020F0502020204030204" pitchFamily="34" charset="0"/>
                </a:rPr>
                <a:t>Splunk</a:t>
              </a:r>
              <a:r>
                <a:rPr lang="en-US" sz="900" b="1" dirty="0" smtClean="0">
                  <a:solidFill>
                    <a:sysClr val="windowText" lastClr="000000"/>
                  </a:solidFill>
                  <a:latin typeface="Calibri" panose="020F0502020204030204" pitchFamily="34" charset="0"/>
                </a:rPr>
                <a:t>/</a:t>
              </a:r>
              <a:r>
                <a:rPr lang="en-US" sz="900" b="1" dirty="0" err="1" smtClean="0">
                  <a:solidFill>
                    <a:sysClr val="windowText" lastClr="000000"/>
                  </a:solidFill>
                  <a:latin typeface="Calibri" panose="020F0502020204030204" pitchFamily="34" charset="0"/>
                </a:rPr>
                <a:t>Kibana</a:t>
              </a:r>
              <a:endParaRPr lang="en-US" sz="900" b="1" dirty="0">
                <a:solidFill>
                  <a:sysClr val="windowText" lastClr="000000"/>
                </a:solidFill>
                <a:latin typeface="Calibri" panose="020F0502020204030204" pitchFamily="34" charset="0"/>
              </a:endParaRPr>
            </a:p>
          </p:txBody>
        </p:sp>
        <p:cxnSp>
          <p:nvCxnSpPr>
            <p:cNvPr id="26" name="Straight Arrow Connector 25"/>
            <p:cNvCxnSpPr/>
            <p:nvPr/>
          </p:nvCxnSpPr>
          <p:spPr>
            <a:xfrm>
              <a:off x="5838192" y="2198280"/>
              <a:ext cx="1600903" cy="7715"/>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p:cNvCxnSpPr>
              <a:stCxn id="9" idx="3"/>
              <a:endCxn id="12" idx="1"/>
            </p:cNvCxnSpPr>
            <p:nvPr/>
          </p:nvCxnSpPr>
          <p:spPr>
            <a:xfrm>
              <a:off x="4510745" y="2163089"/>
              <a:ext cx="403970" cy="4436"/>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p:cNvCxnSpPr/>
            <p:nvPr/>
          </p:nvCxnSpPr>
          <p:spPr>
            <a:xfrm flipV="1">
              <a:off x="6701339" y="2916989"/>
              <a:ext cx="737756" cy="3216"/>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29" name="Elbow Connector 28"/>
            <p:cNvCxnSpPr>
              <a:endCxn id="14" idx="0"/>
            </p:cNvCxnSpPr>
            <p:nvPr/>
          </p:nvCxnSpPr>
          <p:spPr>
            <a:xfrm>
              <a:off x="5838192" y="2322786"/>
              <a:ext cx="381685" cy="375535"/>
            </a:xfrm>
            <a:prstGeom prst="bentConnector2">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p:cNvCxnSpPr/>
            <p:nvPr/>
          </p:nvCxnSpPr>
          <p:spPr>
            <a:xfrm>
              <a:off x="4423149" y="3245897"/>
              <a:ext cx="3015946" cy="698"/>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1" name="Elbow Connector 30"/>
            <p:cNvCxnSpPr>
              <a:stCxn id="5" idx="2"/>
              <a:endCxn id="25" idx="3"/>
            </p:cNvCxnSpPr>
            <p:nvPr/>
          </p:nvCxnSpPr>
          <p:spPr>
            <a:xfrm rot="5400000">
              <a:off x="6920797" y="3173023"/>
              <a:ext cx="333422" cy="2110600"/>
            </a:xfrm>
            <a:prstGeom prst="bentConnector2">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2" name="Elbow Connector 31"/>
            <p:cNvCxnSpPr>
              <a:stCxn id="5" idx="2"/>
              <a:endCxn id="24" idx="3"/>
            </p:cNvCxnSpPr>
            <p:nvPr/>
          </p:nvCxnSpPr>
          <p:spPr>
            <a:xfrm rot="5400000">
              <a:off x="7248898" y="3224962"/>
              <a:ext cx="57260" cy="1730560"/>
            </a:xfrm>
            <a:prstGeom prst="bentConnector2">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p:cNvCxnSpPr/>
            <p:nvPr/>
          </p:nvCxnSpPr>
          <p:spPr>
            <a:xfrm>
              <a:off x="5484228" y="1437078"/>
              <a:ext cx="2" cy="534109"/>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4" name="Elbow Connector 33"/>
            <p:cNvCxnSpPr>
              <a:endCxn id="13" idx="2"/>
            </p:cNvCxnSpPr>
            <p:nvPr/>
          </p:nvCxnSpPr>
          <p:spPr>
            <a:xfrm flipV="1">
              <a:off x="5838191" y="1437042"/>
              <a:ext cx="714396" cy="573236"/>
            </a:xfrm>
            <a:prstGeom prst="bentConnector2">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flipH="1">
              <a:off x="4059425" y="2422028"/>
              <a:ext cx="6021" cy="574011"/>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6" name="Straight Arrow Connector 35"/>
            <p:cNvCxnSpPr/>
            <p:nvPr/>
          </p:nvCxnSpPr>
          <p:spPr>
            <a:xfrm>
              <a:off x="1573502" y="2154960"/>
              <a:ext cx="402555" cy="0"/>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7" name="Straight Arrow Connector 36"/>
            <p:cNvCxnSpPr>
              <a:stCxn id="8" idx="3"/>
              <a:endCxn id="9" idx="1"/>
            </p:cNvCxnSpPr>
            <p:nvPr/>
          </p:nvCxnSpPr>
          <p:spPr>
            <a:xfrm flipV="1">
              <a:off x="2908700" y="2163088"/>
              <a:ext cx="595835" cy="5228"/>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8" name="Straight Arrow Connector 37"/>
            <p:cNvCxnSpPr/>
            <p:nvPr/>
          </p:nvCxnSpPr>
          <p:spPr>
            <a:xfrm>
              <a:off x="1573502" y="2295476"/>
              <a:ext cx="402555" cy="0"/>
            </a:xfrm>
            <a:prstGeom prst="straightConnector1">
              <a:avLst/>
            </a:prstGeom>
            <a:ln>
              <a:solidFill>
                <a:schemeClr val="tx2"/>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39" name="Elbow Connector 38"/>
            <p:cNvCxnSpPr/>
            <p:nvPr/>
          </p:nvCxnSpPr>
          <p:spPr>
            <a:xfrm rot="10800000" flipV="1">
              <a:off x="887215" y="2434644"/>
              <a:ext cx="4113983" cy="262001"/>
            </a:xfrm>
            <a:prstGeom prst="bentConnector3">
              <a:avLst>
                <a:gd name="adj1" fmla="val 225"/>
              </a:avLst>
            </a:prstGeom>
            <a:ln>
              <a:solidFill>
                <a:schemeClr val="tx2"/>
              </a:solidFill>
            </a:ln>
          </p:spPr>
          <p:style>
            <a:lnRef idx="1">
              <a:schemeClr val="dk1"/>
            </a:lnRef>
            <a:fillRef idx="0">
              <a:schemeClr val="dk1"/>
            </a:fillRef>
            <a:effectRef idx="0">
              <a:schemeClr val="dk1"/>
            </a:effectRef>
            <a:fontRef idx="minor">
              <a:schemeClr val="tx1"/>
            </a:fontRef>
          </p:style>
        </p:cxnSp>
        <p:cxnSp>
          <p:nvCxnSpPr>
            <p:cNvPr id="40" name="Straight Arrow Connector 39"/>
            <p:cNvCxnSpPr/>
            <p:nvPr/>
          </p:nvCxnSpPr>
          <p:spPr>
            <a:xfrm flipV="1">
              <a:off x="887216" y="2422749"/>
              <a:ext cx="1274" cy="283354"/>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a:off x="3575362" y="2422027"/>
              <a:ext cx="0" cy="370031"/>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cxnSp>
          <p:nvCxnSpPr>
            <p:cNvPr id="42" name="Elbow Connector 41"/>
            <p:cNvCxnSpPr>
              <a:endCxn id="10" idx="3"/>
            </p:cNvCxnSpPr>
            <p:nvPr/>
          </p:nvCxnSpPr>
          <p:spPr>
            <a:xfrm rot="5400000">
              <a:off x="2861869" y="2848015"/>
              <a:ext cx="597818" cy="231645"/>
            </a:xfrm>
            <a:prstGeom prst="bentConnector2">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43" name="Straight Connector 42"/>
            <p:cNvCxnSpPr>
              <a:stCxn id="7" idx="0"/>
            </p:cNvCxnSpPr>
            <p:nvPr/>
          </p:nvCxnSpPr>
          <p:spPr>
            <a:xfrm flipV="1">
              <a:off x="1106451" y="751397"/>
              <a:ext cx="0" cy="1182902"/>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cxnSp>
          <p:nvCxnSpPr>
            <p:cNvPr id="44" name="Elbow Connector 43"/>
            <p:cNvCxnSpPr/>
            <p:nvPr/>
          </p:nvCxnSpPr>
          <p:spPr>
            <a:xfrm>
              <a:off x="1101076" y="751988"/>
              <a:ext cx="5441241" cy="326016"/>
            </a:xfrm>
            <a:prstGeom prst="bentConnector2">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45" name="Straight Arrow Connector 44"/>
            <p:cNvCxnSpPr>
              <a:stCxn id="6" idx="3"/>
            </p:cNvCxnSpPr>
            <p:nvPr/>
          </p:nvCxnSpPr>
          <p:spPr>
            <a:xfrm>
              <a:off x="3947665" y="1243956"/>
              <a:ext cx="928457" cy="10273"/>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46" name="Straight Arrow Connector 45"/>
            <p:cNvCxnSpPr/>
            <p:nvPr/>
          </p:nvCxnSpPr>
          <p:spPr>
            <a:xfrm flipH="1">
              <a:off x="3571603" y="1446636"/>
              <a:ext cx="11122" cy="487662"/>
            </a:xfrm>
            <a:prstGeom prst="straightConnector1">
              <a:avLst/>
            </a:prstGeom>
            <a:ln>
              <a:solidFill>
                <a:schemeClr val="tx2"/>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7" name="Elbow Connector 46"/>
            <p:cNvCxnSpPr>
              <a:stCxn id="9" idx="0"/>
            </p:cNvCxnSpPr>
            <p:nvPr/>
          </p:nvCxnSpPr>
          <p:spPr>
            <a:xfrm rot="5400000" flipH="1" flipV="1">
              <a:off x="4270111" y="1001225"/>
              <a:ext cx="665375" cy="1190316"/>
            </a:xfrm>
            <a:prstGeom prst="bentConnector2">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48" name="TextBox 47"/>
            <p:cNvSpPr txBox="1"/>
            <p:nvPr/>
          </p:nvSpPr>
          <p:spPr>
            <a:xfrm>
              <a:off x="3005289" y="1521992"/>
              <a:ext cx="728089" cy="323163"/>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Run Unit Tests</a:t>
              </a:r>
            </a:p>
          </p:txBody>
        </p:sp>
        <p:sp>
          <p:nvSpPr>
            <p:cNvPr id="49" name="TextBox 48"/>
            <p:cNvSpPr txBox="1"/>
            <p:nvPr/>
          </p:nvSpPr>
          <p:spPr>
            <a:xfrm>
              <a:off x="1395385" y="1761203"/>
              <a:ext cx="755501" cy="323163"/>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Commit</a:t>
              </a:r>
            </a:p>
            <a:p>
              <a:pPr algn="ctr"/>
              <a:r>
                <a:rPr lang="en-US" sz="750" b="1" dirty="0">
                  <a:solidFill>
                    <a:sysClr val="windowText" lastClr="000000"/>
                  </a:solidFill>
                  <a:latin typeface="Calibri" panose="020F0502020204030204" pitchFamily="34" charset="0"/>
                </a:rPr>
                <a:t>code</a:t>
              </a:r>
            </a:p>
          </p:txBody>
        </p:sp>
        <p:sp>
          <p:nvSpPr>
            <p:cNvPr id="50" name="TextBox 49"/>
            <p:cNvSpPr txBox="1"/>
            <p:nvPr/>
          </p:nvSpPr>
          <p:spPr>
            <a:xfrm>
              <a:off x="2914201" y="2018733"/>
              <a:ext cx="505070" cy="323163"/>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Pull</a:t>
              </a:r>
            </a:p>
            <a:p>
              <a:pPr algn="ctr"/>
              <a:r>
                <a:rPr lang="en-US" sz="750" b="1" dirty="0">
                  <a:solidFill>
                    <a:sysClr val="windowText" lastClr="000000"/>
                  </a:solidFill>
                  <a:latin typeface="Calibri" panose="020F0502020204030204" pitchFamily="34" charset="0"/>
                </a:rPr>
                <a:t>code</a:t>
              </a:r>
            </a:p>
          </p:txBody>
        </p:sp>
        <p:sp>
          <p:nvSpPr>
            <p:cNvPr id="51" name="TextBox 50"/>
            <p:cNvSpPr txBox="1"/>
            <p:nvPr/>
          </p:nvSpPr>
          <p:spPr>
            <a:xfrm>
              <a:off x="3124200" y="2470145"/>
              <a:ext cx="829607" cy="438580"/>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Static Code </a:t>
              </a:r>
              <a:endParaRPr lang="en-US" sz="750" b="1" dirty="0" smtClean="0">
                <a:solidFill>
                  <a:sysClr val="windowText" lastClr="000000"/>
                </a:solidFill>
                <a:latin typeface="Calibri" panose="020F0502020204030204" pitchFamily="34" charset="0"/>
              </a:endParaRPr>
            </a:p>
            <a:p>
              <a:pPr algn="ctr"/>
              <a:endParaRPr lang="en-US" sz="750" b="1" dirty="0">
                <a:solidFill>
                  <a:sysClr val="windowText" lastClr="000000"/>
                </a:solidFill>
                <a:latin typeface="Calibri" panose="020F0502020204030204" pitchFamily="34" charset="0"/>
              </a:endParaRPr>
            </a:p>
            <a:p>
              <a:pPr algn="ctr"/>
              <a:r>
                <a:rPr lang="en-US" sz="750" b="1" dirty="0" smtClean="0">
                  <a:solidFill>
                    <a:sysClr val="windowText" lastClr="000000"/>
                  </a:solidFill>
                  <a:latin typeface="Calibri" panose="020F0502020204030204" pitchFamily="34" charset="0"/>
                </a:rPr>
                <a:t>Analysis</a:t>
              </a:r>
              <a:endParaRPr lang="en-US" sz="750" b="1" dirty="0">
                <a:solidFill>
                  <a:sysClr val="windowText" lastClr="000000"/>
                </a:solidFill>
                <a:latin typeface="Calibri" panose="020F0502020204030204" pitchFamily="34" charset="0"/>
              </a:endParaRPr>
            </a:p>
          </p:txBody>
        </p:sp>
        <p:sp>
          <p:nvSpPr>
            <p:cNvPr id="52" name="TextBox 51"/>
            <p:cNvSpPr txBox="1"/>
            <p:nvPr/>
          </p:nvSpPr>
          <p:spPr>
            <a:xfrm>
              <a:off x="6658201" y="4057990"/>
              <a:ext cx="675280"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reports</a:t>
              </a:r>
            </a:p>
          </p:txBody>
        </p:sp>
        <p:sp>
          <p:nvSpPr>
            <p:cNvPr id="53" name="TextBox 52"/>
            <p:cNvSpPr txBox="1"/>
            <p:nvPr/>
          </p:nvSpPr>
          <p:spPr>
            <a:xfrm>
              <a:off x="4006984" y="2532109"/>
              <a:ext cx="666860" cy="323163"/>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Acceptance Regression</a:t>
              </a:r>
            </a:p>
          </p:txBody>
        </p:sp>
        <p:sp>
          <p:nvSpPr>
            <p:cNvPr id="54" name="TextBox 53"/>
            <p:cNvSpPr txBox="1"/>
            <p:nvPr/>
          </p:nvSpPr>
          <p:spPr>
            <a:xfrm>
              <a:off x="6363699" y="4373950"/>
              <a:ext cx="675280"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reports</a:t>
              </a:r>
            </a:p>
          </p:txBody>
        </p:sp>
        <p:sp>
          <p:nvSpPr>
            <p:cNvPr id="55" name="TextBox 54"/>
            <p:cNvSpPr txBox="1"/>
            <p:nvPr/>
          </p:nvSpPr>
          <p:spPr>
            <a:xfrm>
              <a:off x="2360020" y="3581410"/>
              <a:ext cx="675280"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reports</a:t>
              </a:r>
            </a:p>
          </p:txBody>
        </p:sp>
        <p:cxnSp>
          <p:nvCxnSpPr>
            <p:cNvPr id="56" name="Straight Arrow Connector 55"/>
            <p:cNvCxnSpPr/>
            <p:nvPr/>
          </p:nvCxnSpPr>
          <p:spPr>
            <a:xfrm flipH="1">
              <a:off x="2626020" y="3529453"/>
              <a:ext cx="1" cy="474831"/>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57" name="TextBox 56"/>
            <p:cNvSpPr txBox="1"/>
            <p:nvPr/>
          </p:nvSpPr>
          <p:spPr>
            <a:xfrm>
              <a:off x="480867" y="2664928"/>
              <a:ext cx="901615" cy="323163"/>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Update Status using API</a:t>
              </a:r>
            </a:p>
          </p:txBody>
        </p:sp>
        <p:sp>
          <p:nvSpPr>
            <p:cNvPr id="58" name="TextBox 57"/>
            <p:cNvSpPr txBox="1"/>
            <p:nvPr/>
          </p:nvSpPr>
          <p:spPr>
            <a:xfrm>
              <a:off x="1219200" y="2760888"/>
              <a:ext cx="1051995" cy="438580"/>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Code review comments to GIT traceability</a:t>
              </a:r>
            </a:p>
          </p:txBody>
        </p:sp>
        <p:sp>
          <p:nvSpPr>
            <p:cNvPr id="59" name="TextBox 58"/>
            <p:cNvSpPr txBox="1"/>
            <p:nvPr/>
          </p:nvSpPr>
          <p:spPr>
            <a:xfrm>
              <a:off x="1382483" y="2395501"/>
              <a:ext cx="884643" cy="323163"/>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Requirement</a:t>
              </a:r>
            </a:p>
            <a:p>
              <a:pPr algn="ctr"/>
              <a:r>
                <a:rPr lang="en-US" sz="750" b="1" dirty="0">
                  <a:solidFill>
                    <a:sysClr val="windowText" lastClr="000000"/>
                  </a:solidFill>
                  <a:latin typeface="Calibri" panose="020F0502020204030204" pitchFamily="34" charset="0"/>
                </a:rPr>
                <a:t>traceability</a:t>
              </a:r>
            </a:p>
          </p:txBody>
        </p:sp>
        <p:sp>
          <p:nvSpPr>
            <p:cNvPr id="60" name="TextBox 59"/>
            <p:cNvSpPr txBox="1"/>
            <p:nvPr/>
          </p:nvSpPr>
          <p:spPr>
            <a:xfrm>
              <a:off x="2860087" y="550639"/>
              <a:ext cx="3092177"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TRACEABILITY – ITSM TICKETS FOR RELEASE</a:t>
              </a:r>
            </a:p>
          </p:txBody>
        </p:sp>
        <p:sp>
          <p:nvSpPr>
            <p:cNvPr id="61" name="TextBox 60"/>
            <p:cNvSpPr txBox="1"/>
            <p:nvPr/>
          </p:nvSpPr>
          <p:spPr>
            <a:xfrm>
              <a:off x="3879003" y="1032978"/>
              <a:ext cx="1447591" cy="461663"/>
            </a:xfrm>
            <a:prstGeom prst="rect">
              <a:avLst/>
            </a:prstGeom>
            <a:noFill/>
          </p:spPr>
          <p:txBody>
            <a:bodyPr wrap="square" lIns="91436" tIns="45719" rIns="91436" bIns="45719" rtlCol="0">
              <a:spAutoFit/>
            </a:bodyPr>
            <a:lstStyle/>
            <a:p>
              <a:pPr algn="ctr"/>
              <a:r>
                <a:rPr lang="en-US" sz="800" b="1" dirty="0">
                  <a:solidFill>
                    <a:sysClr val="windowText" lastClr="000000"/>
                  </a:solidFill>
                  <a:latin typeface="Calibri" panose="020F0502020204030204" pitchFamily="34" charset="0"/>
                </a:rPr>
                <a:t>Update B</a:t>
              </a:r>
              <a:r>
                <a:rPr lang="en-US" sz="800" b="1" dirty="0" smtClean="0">
                  <a:solidFill>
                    <a:sysClr val="windowText" lastClr="000000"/>
                  </a:solidFill>
                  <a:latin typeface="Calibri" panose="020F0502020204030204" pitchFamily="34" charset="0"/>
                </a:rPr>
                <a:t>uild Artifacts</a:t>
              </a:r>
            </a:p>
            <a:p>
              <a:pPr algn="ctr"/>
              <a:endParaRPr lang="en-US" sz="800" b="1" dirty="0">
                <a:solidFill>
                  <a:sysClr val="windowText" lastClr="000000"/>
                </a:solidFill>
                <a:latin typeface="Calibri" panose="020F0502020204030204" pitchFamily="34" charset="0"/>
              </a:endParaRPr>
            </a:p>
            <a:p>
              <a:pPr algn="ctr"/>
              <a:r>
                <a:rPr lang="en-US" sz="800" b="1" dirty="0">
                  <a:solidFill>
                    <a:sysClr val="windowText" lastClr="000000"/>
                  </a:solidFill>
                  <a:latin typeface="Calibri" panose="020F0502020204030204" pitchFamily="34" charset="0"/>
                </a:rPr>
                <a:t>(code to build traceability)</a:t>
              </a:r>
            </a:p>
          </p:txBody>
        </p:sp>
        <p:sp>
          <p:nvSpPr>
            <p:cNvPr id="62" name="TextBox 61"/>
            <p:cNvSpPr txBox="1"/>
            <p:nvPr/>
          </p:nvSpPr>
          <p:spPr>
            <a:xfrm>
              <a:off x="5158674" y="1443418"/>
              <a:ext cx="845847"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Pull Artifacts</a:t>
              </a:r>
            </a:p>
          </p:txBody>
        </p:sp>
        <p:sp>
          <p:nvSpPr>
            <p:cNvPr id="63" name="TextBox 62"/>
            <p:cNvSpPr txBox="1"/>
            <p:nvPr/>
          </p:nvSpPr>
          <p:spPr>
            <a:xfrm>
              <a:off x="6072757" y="1813441"/>
              <a:ext cx="1042415"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Audit / Tracking</a:t>
              </a:r>
            </a:p>
          </p:txBody>
        </p:sp>
        <p:sp>
          <p:nvSpPr>
            <p:cNvPr id="64" name="TextBox 63"/>
            <p:cNvSpPr txBox="1"/>
            <p:nvPr/>
          </p:nvSpPr>
          <p:spPr>
            <a:xfrm>
              <a:off x="6476731" y="2175343"/>
              <a:ext cx="812843"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On-demand</a:t>
              </a:r>
            </a:p>
          </p:txBody>
        </p:sp>
        <p:sp>
          <p:nvSpPr>
            <p:cNvPr id="65" name="TextBox 64"/>
            <p:cNvSpPr txBox="1"/>
            <p:nvPr/>
          </p:nvSpPr>
          <p:spPr>
            <a:xfrm>
              <a:off x="5822288" y="2403946"/>
              <a:ext cx="845847"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App. Env Configs</a:t>
              </a:r>
            </a:p>
          </p:txBody>
        </p:sp>
        <p:sp>
          <p:nvSpPr>
            <p:cNvPr id="66" name="TextBox 65"/>
            <p:cNvSpPr txBox="1"/>
            <p:nvPr/>
          </p:nvSpPr>
          <p:spPr>
            <a:xfrm>
              <a:off x="6331942" y="3238369"/>
              <a:ext cx="845847"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On-demand</a:t>
              </a:r>
            </a:p>
          </p:txBody>
        </p:sp>
        <p:sp>
          <p:nvSpPr>
            <p:cNvPr id="67" name="TextBox 66"/>
            <p:cNvSpPr txBox="1"/>
            <p:nvPr/>
          </p:nvSpPr>
          <p:spPr>
            <a:xfrm>
              <a:off x="4436988" y="1936745"/>
              <a:ext cx="557312" cy="438580"/>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Deploy </a:t>
              </a:r>
              <a:endParaRPr lang="en-US" sz="750" b="1" dirty="0" smtClean="0">
                <a:solidFill>
                  <a:sysClr val="windowText" lastClr="000000"/>
                </a:solidFill>
                <a:latin typeface="Calibri" panose="020F0502020204030204" pitchFamily="34" charset="0"/>
              </a:endParaRPr>
            </a:p>
            <a:p>
              <a:pPr algn="ctr"/>
              <a:endParaRPr lang="en-US" sz="750" b="1" dirty="0" smtClean="0">
                <a:solidFill>
                  <a:sysClr val="windowText" lastClr="000000"/>
                </a:solidFill>
                <a:latin typeface="Calibri" panose="020F0502020204030204" pitchFamily="34" charset="0"/>
              </a:endParaRPr>
            </a:p>
            <a:p>
              <a:pPr algn="ctr"/>
              <a:r>
                <a:rPr lang="en-US" sz="750" b="1" dirty="0" smtClean="0">
                  <a:solidFill>
                    <a:sysClr val="windowText" lastClr="000000"/>
                  </a:solidFill>
                  <a:latin typeface="Calibri" panose="020F0502020204030204" pitchFamily="34" charset="0"/>
                </a:rPr>
                <a:t>Artifacts</a:t>
              </a:r>
              <a:endParaRPr lang="en-US" sz="750" b="1" dirty="0">
                <a:solidFill>
                  <a:sysClr val="windowText" lastClr="000000"/>
                </a:solidFill>
                <a:latin typeface="Calibri" panose="020F0502020204030204" pitchFamily="34" charset="0"/>
              </a:endParaRPr>
            </a:p>
          </p:txBody>
        </p:sp>
        <p:sp>
          <p:nvSpPr>
            <p:cNvPr id="68" name="Rectangle 67"/>
            <p:cNvSpPr/>
            <p:nvPr/>
          </p:nvSpPr>
          <p:spPr>
            <a:xfrm>
              <a:off x="145854" y="4005253"/>
              <a:ext cx="200291" cy="200291"/>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endParaRPr lang="en-US" sz="750" b="1" dirty="0">
                <a:solidFill>
                  <a:sysClr val="windowText" lastClr="000000"/>
                </a:solidFill>
                <a:latin typeface="Calibri" panose="020F0502020204030204" pitchFamily="34" charset="0"/>
              </a:endParaRPr>
            </a:p>
          </p:txBody>
        </p:sp>
        <p:sp>
          <p:nvSpPr>
            <p:cNvPr id="69" name="TextBox 68"/>
            <p:cNvSpPr txBox="1"/>
            <p:nvPr/>
          </p:nvSpPr>
          <p:spPr>
            <a:xfrm>
              <a:off x="271993" y="4004284"/>
              <a:ext cx="884837"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Current Tools</a:t>
              </a:r>
            </a:p>
          </p:txBody>
        </p:sp>
        <p:sp>
          <p:nvSpPr>
            <p:cNvPr id="70" name="Rectangle 69"/>
            <p:cNvSpPr/>
            <p:nvPr/>
          </p:nvSpPr>
          <p:spPr>
            <a:xfrm>
              <a:off x="145854" y="4303120"/>
              <a:ext cx="200291" cy="200291"/>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endParaRPr lang="en-US" sz="750" b="1" dirty="0">
                <a:solidFill>
                  <a:schemeClr val="tx1"/>
                </a:solidFill>
                <a:latin typeface="Calibri" panose="020F0502020204030204" pitchFamily="34" charset="0"/>
              </a:endParaRPr>
            </a:p>
          </p:txBody>
        </p:sp>
        <p:sp>
          <p:nvSpPr>
            <p:cNvPr id="71" name="TextBox 70"/>
            <p:cNvSpPr txBox="1"/>
            <p:nvPr/>
          </p:nvSpPr>
          <p:spPr>
            <a:xfrm>
              <a:off x="283765" y="4311076"/>
              <a:ext cx="1348410"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New) Recommended tools</a:t>
              </a:r>
            </a:p>
          </p:txBody>
        </p:sp>
        <p:sp>
          <p:nvSpPr>
            <p:cNvPr id="73" name="Rectangle 72"/>
            <p:cNvSpPr/>
            <p:nvPr/>
          </p:nvSpPr>
          <p:spPr>
            <a:xfrm>
              <a:off x="145854" y="4569158"/>
              <a:ext cx="200291" cy="20029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endParaRPr lang="en-US" sz="750" b="1" dirty="0">
                <a:solidFill>
                  <a:schemeClr val="tx1"/>
                </a:solidFill>
                <a:latin typeface="Calibri" panose="020F0502020204030204" pitchFamily="34" charset="0"/>
              </a:endParaRPr>
            </a:p>
          </p:txBody>
        </p:sp>
        <p:sp>
          <p:nvSpPr>
            <p:cNvPr id="74" name="TextBox 73"/>
            <p:cNvSpPr txBox="1"/>
            <p:nvPr/>
          </p:nvSpPr>
          <p:spPr>
            <a:xfrm>
              <a:off x="266822" y="4587985"/>
              <a:ext cx="1530800" cy="207747"/>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Replace) Recommended tools</a:t>
              </a:r>
            </a:p>
          </p:txBody>
        </p:sp>
        <p:sp>
          <p:nvSpPr>
            <p:cNvPr id="75" name="Rectangle 74"/>
            <p:cNvSpPr/>
            <p:nvPr/>
          </p:nvSpPr>
          <p:spPr>
            <a:xfrm>
              <a:off x="124049" y="1744071"/>
              <a:ext cx="885007" cy="348765"/>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chemeClr val="tx1"/>
                  </a:solidFill>
                  <a:latin typeface="Calibri" panose="020F0502020204030204" pitchFamily="34" charset="0"/>
                </a:rPr>
                <a:t>JIRA </a:t>
              </a:r>
              <a:endParaRPr lang="en-US" sz="900" b="1" dirty="0">
                <a:solidFill>
                  <a:schemeClr val="tx1"/>
                </a:solidFill>
                <a:latin typeface="Calibri" panose="020F0502020204030204" pitchFamily="34" charset="0"/>
              </a:endParaRPr>
            </a:p>
          </p:txBody>
        </p:sp>
        <p:cxnSp>
          <p:nvCxnSpPr>
            <p:cNvPr id="76" name="Elbow Connector 75"/>
            <p:cNvCxnSpPr/>
            <p:nvPr/>
          </p:nvCxnSpPr>
          <p:spPr>
            <a:xfrm rot="10800000">
              <a:off x="2366870" y="1256527"/>
              <a:ext cx="1177433" cy="829604"/>
            </a:xfrm>
            <a:prstGeom prst="bentConnector3">
              <a:avLst>
                <a:gd name="adj1" fmla="val 37057"/>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77" name="Rectangle 76"/>
            <p:cNvSpPr/>
            <p:nvPr/>
          </p:nvSpPr>
          <p:spPr>
            <a:xfrm>
              <a:off x="1437653" y="971530"/>
              <a:ext cx="937763" cy="536083"/>
            </a:xfrm>
            <a:prstGeom prst="rect">
              <a:avLst/>
            </a:prstGeom>
            <a:solidFill>
              <a:srgbClr val="92D050"/>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err="1" smtClean="0">
                  <a:solidFill>
                    <a:sysClr val="windowText" lastClr="000000"/>
                  </a:solidFill>
                  <a:latin typeface="Calibri" panose="020F0502020204030204" pitchFamily="34" charset="0"/>
                </a:rPr>
                <a:t>Cobertura</a:t>
              </a:r>
              <a:endParaRPr lang="en-US" sz="900" b="1" dirty="0">
                <a:solidFill>
                  <a:sysClr val="windowText" lastClr="000000"/>
                </a:solidFill>
                <a:latin typeface="Calibri" panose="020F0502020204030204" pitchFamily="34" charset="0"/>
              </a:endParaRPr>
            </a:p>
            <a:p>
              <a:pPr algn="ctr"/>
              <a:r>
                <a:rPr lang="en-US" sz="900" b="1" dirty="0" err="1" smtClean="0">
                  <a:solidFill>
                    <a:sysClr val="windowText" lastClr="000000"/>
                  </a:solidFill>
                  <a:latin typeface="Calibri" panose="020F0502020204030204" pitchFamily="34" charset="0"/>
                </a:rPr>
                <a:t>NCover</a:t>
              </a:r>
              <a:r>
                <a:rPr lang="en-US" sz="900" b="1" dirty="0" smtClean="0">
                  <a:solidFill>
                    <a:sysClr val="windowText" lastClr="000000"/>
                  </a:solidFill>
                  <a:latin typeface="Calibri" panose="020F0502020204030204" pitchFamily="34" charset="0"/>
                </a:rPr>
                <a:t> </a:t>
              </a:r>
              <a:endParaRPr lang="en-US" sz="900" b="1" dirty="0">
                <a:solidFill>
                  <a:sysClr val="windowText" lastClr="000000"/>
                </a:solidFill>
                <a:latin typeface="Calibri" panose="020F0502020204030204" pitchFamily="34" charset="0"/>
              </a:endParaRPr>
            </a:p>
          </p:txBody>
        </p:sp>
        <p:sp>
          <p:nvSpPr>
            <p:cNvPr id="78" name="TextBox 77"/>
            <p:cNvSpPr txBox="1"/>
            <p:nvPr/>
          </p:nvSpPr>
          <p:spPr>
            <a:xfrm>
              <a:off x="2433666" y="1075637"/>
              <a:ext cx="755501" cy="323163"/>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Code</a:t>
              </a:r>
            </a:p>
            <a:p>
              <a:pPr algn="ctr"/>
              <a:r>
                <a:rPr lang="en-US" sz="750" b="1" dirty="0">
                  <a:solidFill>
                    <a:sysClr val="windowText" lastClr="000000"/>
                  </a:solidFill>
                  <a:latin typeface="Calibri" panose="020F0502020204030204" pitchFamily="34" charset="0"/>
                </a:rPr>
                <a:t>Coverage</a:t>
              </a:r>
            </a:p>
          </p:txBody>
        </p:sp>
        <p:sp>
          <p:nvSpPr>
            <p:cNvPr id="79" name="Rectangle 78"/>
            <p:cNvSpPr/>
            <p:nvPr/>
          </p:nvSpPr>
          <p:spPr>
            <a:xfrm>
              <a:off x="5199836" y="953972"/>
              <a:ext cx="937763" cy="468036"/>
            </a:xfrm>
            <a:prstGeom prst="rect">
              <a:avLst/>
            </a:prstGeom>
            <a:solidFill>
              <a:srgbClr val="92D050"/>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ysClr val="windowText" lastClr="000000"/>
                  </a:solidFill>
                  <a:latin typeface="Calibri" panose="020F0502020204030204" pitchFamily="34" charset="0"/>
                </a:rPr>
                <a:t>Nexus</a:t>
              </a:r>
            </a:p>
          </p:txBody>
        </p:sp>
        <p:sp>
          <p:nvSpPr>
            <p:cNvPr id="80" name="Rectangle 79"/>
            <p:cNvSpPr/>
            <p:nvPr/>
          </p:nvSpPr>
          <p:spPr>
            <a:xfrm>
              <a:off x="3921808" y="3529454"/>
              <a:ext cx="1736104" cy="353057"/>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Insight/Hygiea</a:t>
              </a:r>
              <a:endParaRPr lang="en-US" sz="900" b="1" dirty="0">
                <a:solidFill>
                  <a:sysClr val="windowText" lastClr="000000"/>
                </a:solidFill>
                <a:latin typeface="Calibri" panose="020F0502020204030204" pitchFamily="34" charset="0"/>
              </a:endParaRPr>
            </a:p>
          </p:txBody>
        </p:sp>
        <p:cxnSp>
          <p:nvCxnSpPr>
            <p:cNvPr id="81" name="Straight Arrow Connector 80"/>
            <p:cNvCxnSpPr>
              <a:stCxn id="83" idx="2"/>
              <a:endCxn id="80" idx="3"/>
            </p:cNvCxnSpPr>
            <p:nvPr/>
          </p:nvCxnSpPr>
          <p:spPr>
            <a:xfrm flipH="1">
              <a:off x="5657912" y="3705840"/>
              <a:ext cx="891098" cy="1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5551701" y="3479365"/>
              <a:ext cx="1195390" cy="438580"/>
            </a:xfrm>
            <a:prstGeom prst="rect">
              <a:avLst/>
            </a:prstGeom>
            <a:noFill/>
          </p:spPr>
          <p:txBody>
            <a:bodyPr wrap="square" lIns="91436" tIns="45719" rIns="91436" bIns="45719" rtlCol="0">
              <a:spAutoFit/>
            </a:bodyPr>
            <a:lstStyle/>
            <a:p>
              <a:pPr algn="ctr"/>
              <a:r>
                <a:rPr lang="en-US" sz="750" b="1" dirty="0">
                  <a:solidFill>
                    <a:sysClr val="windowText" lastClr="000000"/>
                  </a:solidFill>
                  <a:latin typeface="Calibri" panose="020F0502020204030204" pitchFamily="34" charset="0"/>
                </a:rPr>
                <a:t>Reports from </a:t>
              </a:r>
              <a:r>
                <a:rPr lang="en-US" sz="750" b="1" dirty="0" smtClean="0">
                  <a:solidFill>
                    <a:sysClr val="windowText" lastClr="000000"/>
                  </a:solidFill>
                  <a:latin typeface="Calibri" panose="020F0502020204030204" pitchFamily="34" charset="0"/>
                </a:rPr>
                <a:t>multiple</a:t>
              </a:r>
            </a:p>
            <a:p>
              <a:pPr algn="ctr"/>
              <a:endParaRPr lang="en-US" sz="750" b="1" dirty="0">
                <a:solidFill>
                  <a:sysClr val="windowText" lastClr="000000"/>
                </a:solidFill>
                <a:latin typeface="Calibri" panose="020F0502020204030204" pitchFamily="34" charset="0"/>
              </a:endParaRPr>
            </a:p>
            <a:p>
              <a:pPr algn="ctr"/>
              <a:r>
                <a:rPr lang="en-US" sz="750" b="1" dirty="0" smtClean="0">
                  <a:solidFill>
                    <a:sysClr val="windowText" lastClr="000000"/>
                  </a:solidFill>
                  <a:latin typeface="Calibri" panose="020F0502020204030204" pitchFamily="34" charset="0"/>
                </a:rPr>
                <a:t> </a:t>
              </a:r>
              <a:r>
                <a:rPr lang="en-US" sz="750" b="1" dirty="0">
                  <a:solidFill>
                    <a:sysClr val="windowText" lastClr="000000"/>
                  </a:solidFill>
                  <a:latin typeface="Calibri" panose="020F0502020204030204" pitchFamily="34" charset="0"/>
                </a:rPr>
                <a:t>Dev/Ops Tools</a:t>
              </a:r>
            </a:p>
          </p:txBody>
        </p:sp>
        <p:sp>
          <p:nvSpPr>
            <p:cNvPr id="83" name="Oval 82"/>
            <p:cNvSpPr/>
            <p:nvPr/>
          </p:nvSpPr>
          <p:spPr>
            <a:xfrm>
              <a:off x="6549010" y="3607988"/>
              <a:ext cx="218381" cy="195705"/>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84" name="Oval 83"/>
            <p:cNvSpPr/>
            <p:nvPr/>
          </p:nvSpPr>
          <p:spPr>
            <a:xfrm>
              <a:off x="124049" y="1657649"/>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85" name="Oval 84"/>
            <p:cNvSpPr/>
            <p:nvPr/>
          </p:nvSpPr>
          <p:spPr>
            <a:xfrm>
              <a:off x="2108469" y="2953300"/>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86" name="Rectangle 85"/>
            <p:cNvSpPr/>
            <p:nvPr/>
          </p:nvSpPr>
          <p:spPr>
            <a:xfrm>
              <a:off x="5321392" y="1655795"/>
              <a:ext cx="885007" cy="348765"/>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a:solidFill>
                    <a:schemeClr val="tx1"/>
                  </a:solidFill>
                  <a:latin typeface="Calibri" panose="020F0502020204030204" pitchFamily="34" charset="0"/>
                </a:rPr>
                <a:t>Jenkins </a:t>
              </a:r>
              <a:r>
                <a:rPr lang="en-US" sz="900" b="1" dirty="0" smtClean="0">
                  <a:solidFill>
                    <a:schemeClr val="tx1"/>
                  </a:solidFill>
                  <a:latin typeface="Calibri" panose="020F0502020204030204" pitchFamily="34" charset="0"/>
                </a:rPr>
                <a:t>Groovy</a:t>
              </a:r>
            </a:p>
            <a:p>
              <a:pPr algn="ctr"/>
              <a:r>
                <a:rPr lang="en-US" sz="900" b="1" dirty="0" smtClean="0">
                  <a:solidFill>
                    <a:schemeClr val="tx1"/>
                  </a:solidFill>
                  <a:latin typeface="Calibri" panose="020F0502020204030204" pitchFamily="34" charset="0"/>
                </a:rPr>
                <a:t>PowerShell</a:t>
              </a:r>
              <a:endParaRPr lang="en-US" sz="900" b="1" dirty="0">
                <a:solidFill>
                  <a:schemeClr val="tx1"/>
                </a:solidFill>
                <a:latin typeface="Calibri" panose="020F0502020204030204" pitchFamily="34" charset="0"/>
              </a:endParaRPr>
            </a:p>
          </p:txBody>
        </p:sp>
        <p:sp>
          <p:nvSpPr>
            <p:cNvPr id="87" name="Oval 86"/>
            <p:cNvSpPr/>
            <p:nvPr/>
          </p:nvSpPr>
          <p:spPr>
            <a:xfrm>
              <a:off x="5282153" y="1588952"/>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88" name="Rectangle 87"/>
            <p:cNvSpPr/>
            <p:nvPr/>
          </p:nvSpPr>
          <p:spPr>
            <a:xfrm>
              <a:off x="6707027" y="756125"/>
              <a:ext cx="885007" cy="348765"/>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chemeClr val="tx1"/>
                  </a:solidFill>
                  <a:latin typeface="Calibri" panose="020F0502020204030204" pitchFamily="34" charset="0"/>
                </a:rPr>
                <a:t>JIRA </a:t>
              </a:r>
              <a:endParaRPr lang="en-US" sz="900" b="1" dirty="0">
                <a:solidFill>
                  <a:schemeClr val="tx1"/>
                </a:solidFill>
                <a:latin typeface="Calibri" panose="020F0502020204030204" pitchFamily="34" charset="0"/>
              </a:endParaRPr>
            </a:p>
          </p:txBody>
        </p:sp>
        <p:sp>
          <p:nvSpPr>
            <p:cNvPr id="89" name="Oval 88"/>
            <p:cNvSpPr/>
            <p:nvPr/>
          </p:nvSpPr>
          <p:spPr>
            <a:xfrm>
              <a:off x="6677249" y="708449"/>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72" name="Rectangle 71"/>
            <p:cNvSpPr/>
            <p:nvPr/>
          </p:nvSpPr>
          <p:spPr>
            <a:xfrm>
              <a:off x="2375617" y="4535129"/>
              <a:ext cx="3656591" cy="270098"/>
            </a:xfrm>
            <a:prstGeom prst="rect">
              <a:avLst/>
            </a:prstGeom>
            <a:solidFill>
              <a:schemeClr val="bg1">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Nagios, CA-APM, CA-Service Operation Insight</a:t>
              </a:r>
              <a:endParaRPr lang="en-US" sz="900" b="1" dirty="0">
                <a:solidFill>
                  <a:sysClr val="windowText" lastClr="000000"/>
                </a:solidFill>
                <a:latin typeface="Calibri" panose="020F0502020204030204" pitchFamily="34" charset="0"/>
              </a:endParaRPr>
            </a:p>
          </p:txBody>
        </p:sp>
      </p:grpSp>
      <p:sp>
        <p:nvSpPr>
          <p:cNvPr id="90" name="Oval 89"/>
          <p:cNvSpPr/>
          <p:nvPr/>
        </p:nvSpPr>
        <p:spPr>
          <a:xfrm>
            <a:off x="1412387" y="875191"/>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91" name="Oval 90"/>
          <p:cNvSpPr/>
          <p:nvPr/>
        </p:nvSpPr>
        <p:spPr>
          <a:xfrm>
            <a:off x="3457186" y="1845626"/>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92" name="Oval 91"/>
          <p:cNvSpPr/>
          <p:nvPr/>
        </p:nvSpPr>
        <p:spPr>
          <a:xfrm>
            <a:off x="5162086" y="844474"/>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93" name="Oval 92"/>
          <p:cNvSpPr/>
          <p:nvPr/>
        </p:nvSpPr>
        <p:spPr>
          <a:xfrm>
            <a:off x="5687894" y="2621496"/>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94" name="Oval 93"/>
          <p:cNvSpPr/>
          <p:nvPr/>
        </p:nvSpPr>
        <p:spPr>
          <a:xfrm>
            <a:off x="4339880" y="2908400"/>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sp>
        <p:nvSpPr>
          <p:cNvPr id="95" name="Rectangle 55"/>
          <p:cNvSpPr>
            <a:spLocks noChangeArrowheads="1"/>
          </p:cNvSpPr>
          <p:nvPr/>
        </p:nvSpPr>
        <p:spPr bwMode="auto">
          <a:xfrm>
            <a:off x="119561" y="73799"/>
            <a:ext cx="8534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81000" indent="-381000" eaLnBrk="0" hangingPunct="0">
              <a:defRPr sz="2400" b="1">
                <a:solidFill>
                  <a:schemeClr val="tx1"/>
                </a:solidFill>
                <a:latin typeface="Arial" charset="0"/>
                <a:ea typeface="ＭＳ Ｐゴシック" pitchFamily="34" charset="-128"/>
              </a:defRPr>
            </a:lvl1pPr>
            <a:lvl2pPr marL="742950" indent="-285750" eaLnBrk="0" hangingPunct="0">
              <a:defRPr sz="2400" b="1">
                <a:solidFill>
                  <a:schemeClr val="tx1"/>
                </a:solidFill>
                <a:latin typeface="Arial" charset="0"/>
                <a:ea typeface="ＭＳ Ｐゴシック" pitchFamily="34" charset="-128"/>
              </a:defRPr>
            </a:lvl2pPr>
            <a:lvl3pPr marL="1143000" indent="-228600" eaLnBrk="0" hangingPunct="0">
              <a:defRPr sz="2400" b="1">
                <a:solidFill>
                  <a:schemeClr val="tx1"/>
                </a:solidFill>
                <a:latin typeface="Arial" charset="0"/>
                <a:ea typeface="ＭＳ Ｐゴシック" pitchFamily="34" charset="-128"/>
              </a:defRPr>
            </a:lvl3pPr>
            <a:lvl4pPr marL="1600200" indent="-228600" eaLnBrk="0" hangingPunct="0">
              <a:defRPr sz="2400" b="1">
                <a:solidFill>
                  <a:schemeClr val="tx1"/>
                </a:solidFill>
                <a:latin typeface="Arial" charset="0"/>
                <a:ea typeface="ＭＳ Ｐゴシック" pitchFamily="34" charset="-128"/>
              </a:defRPr>
            </a:lvl4pPr>
            <a:lvl5pPr marL="2057400" indent="-228600" eaLnBrk="0" hangingPunct="0">
              <a:defRPr sz="24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charset="0"/>
                <a:ea typeface="ＭＳ Ｐゴシック" pitchFamily="34" charset="-128"/>
              </a:defRPr>
            </a:lvl9pPr>
          </a:lstStyle>
          <a:p>
            <a:pPr marL="0" eaLnBrk="1" hangingPunct="1">
              <a:spcBef>
                <a:spcPct val="0"/>
              </a:spcBef>
              <a:buClr>
                <a:srgbClr val="0070C0"/>
              </a:buClr>
              <a:buSzPct val="25000"/>
              <a:buFont typeface="Wingdings" pitchFamily="2" charset="2"/>
              <a:buNone/>
            </a:pPr>
            <a:r>
              <a:rPr lang="en-US" altLang="en-US" sz="2000" dirty="0" smtClean="0">
                <a:solidFill>
                  <a:srgbClr val="0099CC"/>
                </a:solidFill>
                <a:latin typeface="Calibri" panose="020F0502020204030204" pitchFamily="34" charset="0"/>
                <a:ea typeface="+mj-ea"/>
                <a:cs typeface="Arial"/>
              </a:rPr>
              <a:t>Future State – End to End DevOps Operating Model </a:t>
            </a:r>
            <a:endParaRPr lang="en-US" altLang="en-US" sz="2000" dirty="0">
              <a:solidFill>
                <a:srgbClr val="0099CC"/>
              </a:solidFill>
              <a:latin typeface="Calibri" panose="020F0502020204030204" pitchFamily="34" charset="0"/>
              <a:ea typeface="+mj-ea"/>
              <a:cs typeface="Arial"/>
            </a:endParaRPr>
          </a:p>
        </p:txBody>
      </p:sp>
      <p:sp>
        <p:nvSpPr>
          <p:cNvPr id="96" name="Rectangle 95"/>
          <p:cNvSpPr/>
          <p:nvPr/>
        </p:nvSpPr>
        <p:spPr>
          <a:xfrm>
            <a:off x="3202353" y="855108"/>
            <a:ext cx="767284" cy="19725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ysClr val="windowText" lastClr="000000"/>
                </a:solidFill>
                <a:latin typeface="Calibri" panose="020F0502020204030204" pitchFamily="34" charset="0"/>
              </a:rPr>
              <a:t>Jasmine</a:t>
            </a:r>
            <a:endParaRPr lang="en-US" sz="900" b="1" dirty="0">
              <a:solidFill>
                <a:sysClr val="windowText" lastClr="000000"/>
              </a:solidFill>
              <a:latin typeface="Calibri" panose="020F0502020204030204" pitchFamily="34" charset="0"/>
            </a:endParaRPr>
          </a:p>
        </p:txBody>
      </p:sp>
      <p:sp>
        <p:nvSpPr>
          <p:cNvPr id="97" name="Rectangle 96"/>
          <p:cNvSpPr/>
          <p:nvPr/>
        </p:nvSpPr>
        <p:spPr>
          <a:xfrm>
            <a:off x="1272434" y="3833238"/>
            <a:ext cx="885007" cy="348765"/>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lIns="91436" tIns="45719" rIns="91436" bIns="45719" rtlCol="0" anchor="ctr"/>
          <a:lstStyle/>
          <a:p>
            <a:pPr algn="ctr"/>
            <a:r>
              <a:rPr lang="en-US" sz="900" b="1" dirty="0" smtClean="0">
                <a:solidFill>
                  <a:schemeClr val="tx1"/>
                </a:solidFill>
                <a:latin typeface="Calibri" panose="020F0502020204030204" pitchFamily="34" charset="0"/>
              </a:rPr>
              <a:t>XL-Release </a:t>
            </a:r>
            <a:endParaRPr lang="en-US" sz="900" b="1" dirty="0">
              <a:solidFill>
                <a:schemeClr val="tx1"/>
              </a:solidFill>
              <a:latin typeface="Calibri" panose="020F0502020204030204" pitchFamily="34" charset="0"/>
            </a:endParaRPr>
          </a:p>
        </p:txBody>
      </p:sp>
      <p:sp>
        <p:nvSpPr>
          <p:cNvPr id="98" name="Oval 97"/>
          <p:cNvSpPr/>
          <p:nvPr/>
        </p:nvSpPr>
        <p:spPr>
          <a:xfrm>
            <a:off x="1272434" y="3797904"/>
            <a:ext cx="130916" cy="134468"/>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350" dirty="0"/>
          </a:p>
        </p:txBody>
      </p:sp>
      <p:pic>
        <p:nvPicPr>
          <p:cNvPr id="100"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499812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0" y="4795838"/>
            <a:ext cx="431800" cy="274637"/>
          </a:xfrm>
          <a:prstGeom prst="rect">
            <a:avLst/>
          </a:prstGeom>
        </p:spPr>
        <p:txBody>
          <a:bodyPr/>
          <a:lstStyle/>
          <a:p>
            <a:pPr defTabSz="914264"/>
            <a:fld id="{6C6E51C2-3295-4B56-80E9-064C9339B47F}" type="slidenum">
              <a:rPr lang="en-US">
                <a:solidFill>
                  <a:prstClr val="black"/>
                </a:solidFill>
                <a:latin typeface="Calibri"/>
              </a:rPr>
              <a:pPr defTabSz="914264"/>
              <a:t>62</a:t>
            </a:fld>
            <a:endParaRPr lang="en-US" dirty="0">
              <a:solidFill>
                <a:prstClr val="black"/>
              </a:solidFill>
              <a:latin typeface="Calibri"/>
            </a:endParaRPr>
          </a:p>
        </p:txBody>
      </p:sp>
      <p:sp>
        <p:nvSpPr>
          <p:cNvPr id="148" name="Title 1"/>
          <p:cNvSpPr txBox="1">
            <a:spLocks/>
          </p:cNvSpPr>
          <p:nvPr/>
        </p:nvSpPr>
        <p:spPr>
          <a:xfrm>
            <a:off x="81989" y="176617"/>
            <a:ext cx="6344776" cy="455444"/>
          </a:xfrm>
          <a:prstGeom prst="rect">
            <a:avLst/>
          </a:prstGeom>
        </p:spPr>
        <p:txBody>
          <a:bodyPr vert="horz" lIns="68573" tIns="34289" rIns="68573" bIns="34289" rtlCol="0" anchor="ctr">
            <a:normAutofit/>
          </a:bodyPr>
          <a:lstStyle>
            <a:lvl1pPr algn="l" defTabSz="914400" rtl="0" eaLnBrk="1" latinLnBrk="0" hangingPunct="1">
              <a:lnSpc>
                <a:spcPct val="90000"/>
              </a:lnSpc>
              <a:spcBef>
                <a:spcPct val="0"/>
              </a:spcBef>
              <a:buNone/>
              <a:defRPr sz="2400" b="1" kern="1200">
                <a:solidFill>
                  <a:schemeClr val="tx1">
                    <a:lumMod val="65000"/>
                    <a:lumOff val="35000"/>
                  </a:schemeClr>
                </a:solidFill>
                <a:latin typeface="Calibri" panose="020F0502020204030204" pitchFamily="34" charset="0"/>
                <a:ea typeface="+mj-ea"/>
                <a:cs typeface="Calibri" panose="020F0502020204030204" pitchFamily="34" charset="0"/>
              </a:defRPr>
            </a:lvl1pPr>
          </a:lstStyle>
          <a:p>
            <a:pPr defTabSz="914378">
              <a:tabLst>
                <a:tab pos="2143994" algn="l"/>
              </a:tabLst>
            </a:pPr>
            <a:r>
              <a:rPr lang="en-US" altLang="en-US" sz="2000" dirty="0">
                <a:solidFill>
                  <a:srgbClr val="0070C0"/>
                </a:solidFill>
              </a:rPr>
              <a:t>Build Automation </a:t>
            </a:r>
            <a:r>
              <a:rPr lang="en-US" altLang="en-US" sz="2000" dirty="0" smtClean="0">
                <a:solidFill>
                  <a:srgbClr val="0070C0"/>
                </a:solidFill>
              </a:rPr>
              <a:t>using </a:t>
            </a:r>
            <a:r>
              <a:rPr lang="en-US" altLang="en-US" sz="2000" dirty="0">
                <a:solidFill>
                  <a:srgbClr val="0070C0"/>
                </a:solidFill>
              </a:rPr>
              <a:t>Jenkins</a:t>
            </a:r>
          </a:p>
          <a:p>
            <a:pPr defTabSz="914378">
              <a:tabLst>
                <a:tab pos="2143994" algn="l"/>
              </a:tabLst>
            </a:pPr>
            <a:endParaRPr lang="en-US" sz="2000" dirty="0">
              <a:solidFill>
                <a:srgbClr val="0070C0"/>
              </a:solidFill>
            </a:endParaRPr>
          </a:p>
        </p:txBody>
      </p:sp>
      <p:sp>
        <p:nvSpPr>
          <p:cNvPr id="15" name="Rectangle 14"/>
          <p:cNvSpPr/>
          <p:nvPr/>
        </p:nvSpPr>
        <p:spPr bwMode="auto">
          <a:xfrm>
            <a:off x="2590801" y="592595"/>
            <a:ext cx="2838339" cy="1898677"/>
          </a:xfrm>
          <a:prstGeom prst="rect">
            <a:avLst/>
          </a:prstGeom>
          <a:solidFill>
            <a:schemeClr val="bg1">
              <a:lumMod val="95000"/>
            </a:schemeClr>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685749">
              <a:defRPr/>
            </a:pPr>
            <a:endParaRPr lang="en-US" sz="800" kern="0">
              <a:solidFill>
                <a:srgbClr val="809CAE"/>
              </a:solidFill>
              <a:latin typeface="Calibri"/>
            </a:endParaRPr>
          </a:p>
        </p:txBody>
      </p:sp>
      <p:sp>
        <p:nvSpPr>
          <p:cNvPr id="17" name="Rectangle 16"/>
          <p:cNvSpPr/>
          <p:nvPr/>
        </p:nvSpPr>
        <p:spPr bwMode="auto">
          <a:xfrm>
            <a:off x="92037" y="1495218"/>
            <a:ext cx="829836" cy="343104"/>
          </a:xfrm>
          <a:prstGeom prst="rect">
            <a:avLst/>
          </a:prstGeom>
          <a:solidFill>
            <a:srgbClr val="92D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defRPr/>
            </a:pPr>
            <a:r>
              <a:rPr lang="en-US" sz="800" kern="0" dirty="0">
                <a:solidFill>
                  <a:srgbClr val="000000"/>
                </a:solidFill>
                <a:latin typeface="Calibri"/>
              </a:rPr>
              <a:t>Jira</a:t>
            </a:r>
          </a:p>
        </p:txBody>
      </p:sp>
      <p:sp>
        <p:nvSpPr>
          <p:cNvPr id="18" name="Rectangle 17"/>
          <p:cNvSpPr/>
          <p:nvPr/>
        </p:nvSpPr>
        <p:spPr bwMode="auto">
          <a:xfrm>
            <a:off x="1505156" y="2422938"/>
            <a:ext cx="884537" cy="343104"/>
          </a:xfrm>
          <a:prstGeom prst="rect">
            <a:avLst/>
          </a:prstGeom>
          <a:solidFill>
            <a:srgbClr val="92D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defRPr/>
            </a:pPr>
            <a:r>
              <a:rPr lang="en-US" sz="800" kern="0" dirty="0" err="1" smtClean="0">
                <a:solidFill>
                  <a:srgbClr val="000000"/>
                </a:solidFill>
                <a:latin typeface="Calibri"/>
              </a:rPr>
              <a:t>GitLab</a:t>
            </a:r>
            <a:r>
              <a:rPr lang="en-US" sz="800" kern="0" dirty="0" smtClean="0">
                <a:solidFill>
                  <a:srgbClr val="000000"/>
                </a:solidFill>
                <a:latin typeface="Calibri"/>
              </a:rPr>
              <a:t>/</a:t>
            </a:r>
            <a:r>
              <a:rPr lang="en-US" sz="800" kern="0" dirty="0" err="1" smtClean="0">
                <a:solidFill>
                  <a:srgbClr val="000000"/>
                </a:solidFill>
                <a:latin typeface="Calibri"/>
              </a:rPr>
              <a:t>CodeReview</a:t>
            </a:r>
            <a:endParaRPr lang="en-US" sz="800" kern="0" dirty="0">
              <a:solidFill>
                <a:srgbClr val="000000"/>
              </a:solidFill>
              <a:latin typeface="Calibri"/>
            </a:endParaRPr>
          </a:p>
        </p:txBody>
      </p:sp>
      <p:sp>
        <p:nvSpPr>
          <p:cNvPr id="21" name="Rectangle 20"/>
          <p:cNvSpPr/>
          <p:nvPr/>
        </p:nvSpPr>
        <p:spPr bwMode="auto">
          <a:xfrm>
            <a:off x="1563899" y="1495218"/>
            <a:ext cx="780987" cy="343104"/>
          </a:xfrm>
          <a:prstGeom prst="rect">
            <a:avLst/>
          </a:prstGeom>
          <a:solidFill>
            <a:srgbClr val="92D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defRPr/>
            </a:pPr>
            <a:r>
              <a:rPr lang="en-US" sz="800" kern="0" dirty="0" err="1" smtClean="0">
                <a:solidFill>
                  <a:srgbClr val="000000"/>
                </a:solidFill>
                <a:latin typeface="Calibri"/>
              </a:rPr>
              <a:t>GitLab</a:t>
            </a:r>
            <a:endParaRPr lang="en-US" sz="800" kern="0" dirty="0">
              <a:solidFill>
                <a:srgbClr val="000000"/>
              </a:solidFill>
              <a:latin typeface="Calibri"/>
            </a:endParaRPr>
          </a:p>
        </p:txBody>
      </p:sp>
      <p:sp>
        <p:nvSpPr>
          <p:cNvPr id="27" name="TextBox 26"/>
          <p:cNvSpPr txBox="1"/>
          <p:nvPr/>
        </p:nvSpPr>
        <p:spPr bwMode="auto">
          <a:xfrm>
            <a:off x="919120" y="1709483"/>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Commit Code</a:t>
            </a:r>
          </a:p>
        </p:txBody>
      </p:sp>
      <p:cxnSp>
        <p:nvCxnSpPr>
          <p:cNvPr id="28" name="Elbow Connector 27"/>
          <p:cNvCxnSpPr>
            <a:stCxn id="21" idx="0"/>
            <a:endCxn id="96" idx="0"/>
          </p:cNvCxnSpPr>
          <p:nvPr/>
        </p:nvCxnSpPr>
        <p:spPr bwMode="auto">
          <a:xfrm rot="5400000" flipH="1" flipV="1">
            <a:off x="2415988" y="540159"/>
            <a:ext cx="493466" cy="1416655"/>
          </a:xfrm>
          <a:prstGeom prst="bentConnector3">
            <a:avLst>
              <a:gd name="adj1" fmla="val 146325"/>
            </a:avLst>
          </a:prstGeom>
          <a:noFill/>
          <a:ln w="9525" cap="flat" cmpd="sng" algn="ctr">
            <a:solidFill>
              <a:srgbClr val="000000">
                <a:shade val="95000"/>
                <a:satMod val="105000"/>
              </a:srgbClr>
            </a:solidFill>
            <a:prstDash val="solid"/>
            <a:headEnd type="none" w="med" len="med"/>
            <a:tailEnd type="arrow"/>
          </a:ln>
          <a:effectLst/>
        </p:spPr>
      </p:cxnSp>
      <p:sp>
        <p:nvSpPr>
          <p:cNvPr id="29" name="TextBox 28"/>
          <p:cNvSpPr txBox="1"/>
          <p:nvPr/>
        </p:nvSpPr>
        <p:spPr bwMode="auto">
          <a:xfrm>
            <a:off x="1974615" y="1127278"/>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prstClr val="black"/>
                </a:solidFill>
                <a:latin typeface="Calibri"/>
              </a:rPr>
              <a:t>Trigger Build</a:t>
            </a:r>
          </a:p>
        </p:txBody>
      </p:sp>
      <p:sp>
        <p:nvSpPr>
          <p:cNvPr id="30" name="TextBox 29"/>
          <p:cNvSpPr txBox="1"/>
          <p:nvPr/>
        </p:nvSpPr>
        <p:spPr bwMode="auto">
          <a:xfrm>
            <a:off x="2097904" y="1856703"/>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Pull Code</a:t>
            </a:r>
          </a:p>
        </p:txBody>
      </p:sp>
      <p:cxnSp>
        <p:nvCxnSpPr>
          <p:cNvPr id="31" name="Straight Arrow Connector 30"/>
          <p:cNvCxnSpPr>
            <a:stCxn id="21" idx="3"/>
            <a:endCxn id="96" idx="1"/>
          </p:cNvCxnSpPr>
          <p:nvPr/>
        </p:nvCxnSpPr>
        <p:spPr bwMode="auto">
          <a:xfrm flipV="1">
            <a:off x="2344887" y="1664176"/>
            <a:ext cx="369938" cy="2595"/>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cxnSp>
        <p:nvCxnSpPr>
          <p:cNvPr id="32" name="Straight Arrow Connector 31"/>
          <p:cNvCxnSpPr>
            <a:stCxn id="21" idx="2"/>
            <a:endCxn id="18" idx="0"/>
          </p:cNvCxnSpPr>
          <p:nvPr/>
        </p:nvCxnSpPr>
        <p:spPr bwMode="auto">
          <a:xfrm flipH="1">
            <a:off x="1947425" y="1838322"/>
            <a:ext cx="6968" cy="584616"/>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sp>
        <p:nvSpPr>
          <p:cNvPr id="34" name="TextBox 33"/>
          <p:cNvSpPr txBox="1"/>
          <p:nvPr/>
        </p:nvSpPr>
        <p:spPr bwMode="auto">
          <a:xfrm>
            <a:off x="1349338" y="2100202"/>
            <a:ext cx="646394" cy="24622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SCM Traceability</a:t>
            </a:r>
          </a:p>
        </p:txBody>
      </p:sp>
      <p:cxnSp>
        <p:nvCxnSpPr>
          <p:cNvPr id="35" name="Elbow Connector 34"/>
          <p:cNvCxnSpPr>
            <a:stCxn id="18" idx="1"/>
            <a:endCxn id="17" idx="2"/>
          </p:cNvCxnSpPr>
          <p:nvPr/>
        </p:nvCxnSpPr>
        <p:spPr bwMode="auto">
          <a:xfrm rot="10800000">
            <a:off x="506956" y="1838322"/>
            <a:ext cx="998201" cy="756168"/>
          </a:xfrm>
          <a:prstGeom prst="bentConnector2">
            <a:avLst/>
          </a:prstGeom>
          <a:noFill/>
          <a:ln w="9525" cap="flat" cmpd="sng" algn="ctr">
            <a:solidFill>
              <a:srgbClr val="000000">
                <a:shade val="95000"/>
                <a:satMod val="105000"/>
              </a:srgbClr>
            </a:solidFill>
            <a:prstDash val="solid"/>
            <a:headEnd type="none" w="med" len="med"/>
            <a:tailEnd type="arrow"/>
          </a:ln>
          <a:effectLst/>
        </p:spPr>
      </p:cxnSp>
      <p:sp>
        <p:nvSpPr>
          <p:cNvPr id="36" name="TextBox 35"/>
          <p:cNvSpPr txBox="1"/>
          <p:nvPr/>
        </p:nvSpPr>
        <p:spPr bwMode="auto">
          <a:xfrm>
            <a:off x="568041" y="2353392"/>
            <a:ext cx="646394" cy="24622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prstClr val="black"/>
                </a:solidFill>
                <a:latin typeface="Calibri"/>
              </a:rPr>
              <a:t>Requirement Traceability</a:t>
            </a:r>
          </a:p>
        </p:txBody>
      </p:sp>
      <p:cxnSp>
        <p:nvCxnSpPr>
          <p:cNvPr id="41" name="Straight Arrow Connector 40"/>
          <p:cNvCxnSpPr/>
          <p:nvPr/>
        </p:nvCxnSpPr>
        <p:spPr bwMode="auto">
          <a:xfrm flipV="1">
            <a:off x="3480262" y="593926"/>
            <a:ext cx="690071" cy="952662"/>
          </a:xfrm>
          <a:prstGeom prst="straightConnector1">
            <a:avLst/>
          </a:prstGeom>
          <a:noFill/>
          <a:ln w="9525" cap="flat" cmpd="sng" algn="ctr">
            <a:noFill/>
            <a:prstDash val="solid"/>
            <a:round/>
            <a:headEnd type="none" w="med" len="med"/>
            <a:tailEnd type="arrow"/>
          </a:ln>
          <a:effectLst/>
        </p:spPr>
      </p:cxnSp>
      <p:cxnSp>
        <p:nvCxnSpPr>
          <p:cNvPr id="63" name="Straight Arrow Connector 62"/>
          <p:cNvCxnSpPr/>
          <p:nvPr/>
        </p:nvCxnSpPr>
        <p:spPr bwMode="auto">
          <a:xfrm>
            <a:off x="2881522" y="2114426"/>
            <a:ext cx="681338" cy="569407"/>
          </a:xfrm>
          <a:prstGeom prst="straightConnector1">
            <a:avLst/>
          </a:prstGeom>
          <a:noFill/>
          <a:ln w="9525" cap="flat" cmpd="sng" algn="ctr">
            <a:noFill/>
            <a:prstDash val="solid"/>
            <a:round/>
            <a:headEnd type="arrow"/>
            <a:tailEnd type="arrow"/>
          </a:ln>
          <a:effectLst/>
        </p:spPr>
      </p:cxnSp>
      <p:cxnSp>
        <p:nvCxnSpPr>
          <p:cNvPr id="68" name="Straight Arrow Connector 67"/>
          <p:cNvCxnSpPr/>
          <p:nvPr/>
        </p:nvCxnSpPr>
        <p:spPr bwMode="auto">
          <a:xfrm flipV="1">
            <a:off x="4173571" y="592595"/>
            <a:ext cx="690071" cy="952662"/>
          </a:xfrm>
          <a:prstGeom prst="straightConnector1">
            <a:avLst/>
          </a:prstGeom>
          <a:noFill/>
          <a:ln w="9525" cap="flat" cmpd="sng" algn="ctr">
            <a:noFill/>
            <a:prstDash val="solid"/>
            <a:round/>
            <a:headEnd type="none" w="med" len="med"/>
            <a:tailEnd type="arrow"/>
          </a:ln>
          <a:effectLst/>
        </p:spPr>
      </p:cxnSp>
      <p:pic>
        <p:nvPicPr>
          <p:cNvPr id="7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3244" y="963687"/>
            <a:ext cx="381436" cy="239080"/>
          </a:xfrm>
          <a:prstGeom prst="rect">
            <a:avLst/>
          </a:prstGeom>
          <a:solidFill>
            <a:srgbClr val="FBDB81"/>
          </a:solidFill>
          <a:ln>
            <a:noFill/>
          </a:ln>
        </p:spPr>
      </p:pic>
      <p:cxnSp>
        <p:nvCxnSpPr>
          <p:cNvPr id="77" name="Elbow Connector 76"/>
          <p:cNvCxnSpPr>
            <a:stCxn id="76" idx="2"/>
            <a:endCxn id="21" idx="1"/>
          </p:cNvCxnSpPr>
          <p:nvPr/>
        </p:nvCxnSpPr>
        <p:spPr bwMode="auto">
          <a:xfrm rot="16200000" flipH="1">
            <a:off x="1161930" y="1264800"/>
            <a:ext cx="464003" cy="339938"/>
          </a:xfrm>
          <a:prstGeom prst="bentConnector2">
            <a:avLst/>
          </a:prstGeom>
          <a:noFill/>
          <a:ln w="9525" cap="flat" cmpd="sng" algn="ctr">
            <a:solidFill>
              <a:srgbClr val="000000">
                <a:shade val="95000"/>
                <a:satMod val="105000"/>
              </a:srgbClr>
            </a:solidFill>
            <a:prstDash val="solid"/>
            <a:headEnd type="none" w="med" len="med"/>
            <a:tailEnd type="arrow"/>
          </a:ln>
          <a:effectLst/>
        </p:spPr>
      </p:cxnSp>
      <p:cxnSp>
        <p:nvCxnSpPr>
          <p:cNvPr id="78" name="Elbow Connector 77"/>
          <p:cNvCxnSpPr>
            <a:stCxn id="76" idx="1"/>
            <a:endCxn id="17" idx="0"/>
          </p:cNvCxnSpPr>
          <p:nvPr/>
        </p:nvCxnSpPr>
        <p:spPr bwMode="auto">
          <a:xfrm rot="10800000" flipV="1">
            <a:off x="506957" y="1083228"/>
            <a:ext cx="526288" cy="411991"/>
          </a:xfrm>
          <a:prstGeom prst="bentConnector2">
            <a:avLst/>
          </a:prstGeom>
          <a:noFill/>
          <a:ln w="9525" cap="flat" cmpd="sng" algn="ctr">
            <a:solidFill>
              <a:srgbClr val="000000">
                <a:shade val="95000"/>
                <a:satMod val="105000"/>
              </a:srgbClr>
            </a:solidFill>
            <a:prstDash val="solid"/>
            <a:headEnd type="none" w="med" len="med"/>
            <a:tailEnd type="arrow"/>
          </a:ln>
          <a:effectLst/>
        </p:spPr>
      </p:cxnSp>
      <p:sp>
        <p:nvSpPr>
          <p:cNvPr id="79" name="TextBox 78"/>
          <p:cNvSpPr txBox="1"/>
          <p:nvPr/>
        </p:nvSpPr>
        <p:spPr bwMode="auto">
          <a:xfrm>
            <a:off x="321516" y="756460"/>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Requirements</a:t>
            </a:r>
          </a:p>
        </p:txBody>
      </p:sp>
      <p:sp>
        <p:nvSpPr>
          <p:cNvPr id="80" name="TextBox 79"/>
          <p:cNvSpPr txBox="1"/>
          <p:nvPr/>
        </p:nvSpPr>
        <p:spPr bwMode="auto">
          <a:xfrm>
            <a:off x="319917" y="875422"/>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User Stories</a:t>
            </a:r>
          </a:p>
        </p:txBody>
      </p:sp>
      <p:cxnSp>
        <p:nvCxnSpPr>
          <p:cNvPr id="81" name="Elbow Connector 80"/>
          <p:cNvCxnSpPr/>
          <p:nvPr/>
        </p:nvCxnSpPr>
        <p:spPr bwMode="auto">
          <a:xfrm>
            <a:off x="3720913" y="1718140"/>
            <a:ext cx="558338" cy="559382"/>
          </a:xfrm>
          <a:prstGeom prst="bentConnector2">
            <a:avLst/>
          </a:prstGeom>
          <a:noFill/>
          <a:ln w="9525" cap="flat" cmpd="sng" algn="ctr">
            <a:noFill/>
            <a:prstDash val="solid"/>
            <a:round/>
            <a:headEnd type="none" w="med" len="med"/>
            <a:tailEnd type="arrow"/>
          </a:ln>
          <a:effectLst/>
        </p:spPr>
      </p:cxnSp>
      <p:sp>
        <p:nvSpPr>
          <p:cNvPr id="93" name="5-Point Star 92"/>
          <p:cNvSpPr/>
          <p:nvPr/>
        </p:nvSpPr>
        <p:spPr>
          <a:xfrm flipH="1">
            <a:off x="862262" y="1463300"/>
            <a:ext cx="57952" cy="45719"/>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sz="800">
              <a:solidFill>
                <a:prstClr val="white"/>
              </a:solidFill>
              <a:latin typeface="Calibri"/>
            </a:endParaRPr>
          </a:p>
        </p:txBody>
      </p:sp>
      <p:sp>
        <p:nvSpPr>
          <p:cNvPr id="94" name="5-Point Star 93"/>
          <p:cNvSpPr/>
          <p:nvPr/>
        </p:nvSpPr>
        <p:spPr>
          <a:xfrm flipH="1">
            <a:off x="1515081" y="1478551"/>
            <a:ext cx="57952" cy="45719"/>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sz="800">
              <a:solidFill>
                <a:prstClr val="white"/>
              </a:solidFill>
              <a:latin typeface="Calibri"/>
            </a:endParaRPr>
          </a:p>
        </p:txBody>
      </p:sp>
      <p:sp>
        <p:nvSpPr>
          <p:cNvPr id="96" name="Rectangle 95"/>
          <p:cNvSpPr/>
          <p:nvPr/>
        </p:nvSpPr>
        <p:spPr>
          <a:xfrm>
            <a:off x="2714824" y="1001753"/>
            <a:ext cx="1312448" cy="1324846"/>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endParaRPr lang="en-US" sz="800" kern="0" dirty="0">
              <a:solidFill>
                <a:srgbClr val="000000"/>
              </a:solidFill>
              <a:latin typeface="Calibri"/>
            </a:endParaRPr>
          </a:p>
        </p:txBody>
      </p:sp>
      <p:sp>
        <p:nvSpPr>
          <p:cNvPr id="97" name="Rectangle 96"/>
          <p:cNvSpPr/>
          <p:nvPr/>
        </p:nvSpPr>
        <p:spPr bwMode="auto">
          <a:xfrm rot="5400000">
            <a:off x="2861112" y="1249900"/>
            <a:ext cx="1008961" cy="948216"/>
          </a:xfrm>
          <a:prstGeom prst="rect">
            <a:avLst/>
          </a:prstGeom>
          <a:solidFill>
            <a:schemeClr val="accent3">
              <a:lumMod val="20000"/>
              <a:lumOff val="80000"/>
            </a:schemeClr>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685732">
              <a:defRPr/>
            </a:pPr>
            <a:endParaRPr lang="en-US" sz="800" kern="0">
              <a:solidFill>
                <a:srgbClr val="809CAE"/>
              </a:solidFill>
              <a:latin typeface="Calibri"/>
            </a:endParaRPr>
          </a:p>
        </p:txBody>
      </p:sp>
      <p:sp>
        <p:nvSpPr>
          <p:cNvPr id="98" name="Rectangle 97"/>
          <p:cNvSpPr/>
          <p:nvPr/>
        </p:nvSpPr>
        <p:spPr>
          <a:xfrm>
            <a:off x="3059948" y="1441124"/>
            <a:ext cx="622578"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smtClean="0">
                <a:solidFill>
                  <a:srgbClr val="000000"/>
                </a:solidFill>
                <a:latin typeface="Calibri"/>
              </a:rPr>
              <a:t>Maven</a:t>
            </a:r>
            <a:endParaRPr lang="en-US" sz="800" kern="0" dirty="0">
              <a:solidFill>
                <a:srgbClr val="000000"/>
              </a:solidFill>
              <a:latin typeface="Calibri"/>
            </a:endParaRPr>
          </a:p>
        </p:txBody>
      </p:sp>
      <p:sp>
        <p:nvSpPr>
          <p:cNvPr id="99" name="Rectangle 98"/>
          <p:cNvSpPr/>
          <p:nvPr/>
        </p:nvSpPr>
        <p:spPr>
          <a:xfrm>
            <a:off x="3061480" y="1807196"/>
            <a:ext cx="622578"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err="1">
                <a:solidFill>
                  <a:srgbClr val="000000"/>
                </a:solidFill>
                <a:latin typeface="Calibri"/>
              </a:rPr>
              <a:t>J</a:t>
            </a:r>
            <a:r>
              <a:rPr lang="en-US" sz="800" kern="0" dirty="0" err="1" smtClean="0">
                <a:solidFill>
                  <a:srgbClr val="000000"/>
                </a:solidFill>
                <a:latin typeface="Calibri"/>
              </a:rPr>
              <a:t>Unit</a:t>
            </a:r>
            <a:r>
              <a:rPr lang="en-US" sz="800" kern="0" dirty="0" smtClean="0">
                <a:solidFill>
                  <a:srgbClr val="000000"/>
                </a:solidFill>
                <a:latin typeface="Calibri"/>
              </a:rPr>
              <a:t> </a:t>
            </a:r>
            <a:r>
              <a:rPr lang="en-US" sz="800" kern="0" dirty="0">
                <a:solidFill>
                  <a:srgbClr val="000000"/>
                </a:solidFill>
                <a:latin typeface="Calibri"/>
              </a:rPr>
              <a:t>tests</a:t>
            </a:r>
          </a:p>
        </p:txBody>
      </p:sp>
      <p:sp>
        <p:nvSpPr>
          <p:cNvPr id="100" name="Rectangle 99"/>
          <p:cNvSpPr/>
          <p:nvPr/>
        </p:nvSpPr>
        <p:spPr>
          <a:xfrm>
            <a:off x="4234300" y="1306775"/>
            <a:ext cx="1036292"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smtClean="0">
                <a:solidFill>
                  <a:srgbClr val="000000"/>
                </a:solidFill>
                <a:latin typeface="Calibri"/>
              </a:rPr>
              <a:t>Maven</a:t>
            </a:r>
            <a:endParaRPr lang="en-US" sz="800" kern="0" dirty="0">
              <a:solidFill>
                <a:srgbClr val="000000"/>
              </a:solidFill>
              <a:latin typeface="Calibri"/>
            </a:endParaRPr>
          </a:p>
        </p:txBody>
      </p:sp>
      <p:sp>
        <p:nvSpPr>
          <p:cNvPr id="101" name="TextBox 100"/>
          <p:cNvSpPr txBox="1"/>
          <p:nvPr/>
        </p:nvSpPr>
        <p:spPr bwMode="auto">
          <a:xfrm>
            <a:off x="4381435" y="1674340"/>
            <a:ext cx="815699"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7" defTabSz="685732">
              <a:defRPr/>
            </a:pPr>
            <a:r>
              <a:rPr lang="en-US" sz="800" kern="0" dirty="0">
                <a:solidFill>
                  <a:prstClr val="black"/>
                </a:solidFill>
                <a:latin typeface="Calibri"/>
              </a:rPr>
              <a:t>Create </a:t>
            </a:r>
            <a:r>
              <a:rPr lang="en-US" sz="800" kern="0" dirty="0" smtClean="0">
                <a:solidFill>
                  <a:prstClr val="black"/>
                </a:solidFill>
                <a:latin typeface="Calibri"/>
              </a:rPr>
              <a:t>     Jar</a:t>
            </a:r>
            <a:endParaRPr lang="en-US" sz="800" kern="0" dirty="0">
              <a:solidFill>
                <a:prstClr val="black"/>
              </a:solidFill>
              <a:latin typeface="Calibri"/>
            </a:endParaRPr>
          </a:p>
        </p:txBody>
      </p:sp>
      <p:sp>
        <p:nvSpPr>
          <p:cNvPr id="102" name="TextBox 101"/>
          <p:cNvSpPr txBox="1"/>
          <p:nvPr/>
        </p:nvSpPr>
        <p:spPr bwMode="auto">
          <a:xfrm>
            <a:off x="3016128" y="1293394"/>
            <a:ext cx="835979"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7" defTabSz="685732">
              <a:defRPr/>
            </a:pPr>
            <a:r>
              <a:rPr lang="en-US" sz="800" kern="0" dirty="0">
                <a:solidFill>
                  <a:prstClr val="black"/>
                </a:solidFill>
                <a:latin typeface="Calibri"/>
              </a:rPr>
              <a:t>Jenkins Plugins</a:t>
            </a:r>
          </a:p>
        </p:txBody>
      </p:sp>
      <p:sp>
        <p:nvSpPr>
          <p:cNvPr id="103" name="Rectangle 102"/>
          <p:cNvSpPr/>
          <p:nvPr/>
        </p:nvSpPr>
        <p:spPr>
          <a:xfrm>
            <a:off x="4209939" y="1999413"/>
            <a:ext cx="1057680"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a:solidFill>
                  <a:srgbClr val="000000"/>
                </a:solidFill>
                <a:latin typeface="Calibri"/>
              </a:rPr>
              <a:t>Deployment Server</a:t>
            </a:r>
          </a:p>
        </p:txBody>
      </p:sp>
      <p:cxnSp>
        <p:nvCxnSpPr>
          <p:cNvPr id="104" name="Straight Arrow Connector 103"/>
          <p:cNvCxnSpPr/>
          <p:nvPr/>
        </p:nvCxnSpPr>
        <p:spPr>
          <a:xfrm flipH="1">
            <a:off x="4750355" y="1633316"/>
            <a:ext cx="1" cy="366097"/>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sp>
        <p:nvSpPr>
          <p:cNvPr id="105" name="TextBox 104"/>
          <p:cNvSpPr txBox="1"/>
          <p:nvPr/>
        </p:nvSpPr>
        <p:spPr bwMode="auto">
          <a:xfrm>
            <a:off x="2714825" y="1092568"/>
            <a:ext cx="1312447"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7" algn="ctr" defTabSz="685732">
              <a:defRPr/>
            </a:pPr>
            <a:r>
              <a:rPr lang="en-US" sz="800" kern="0" dirty="0">
                <a:solidFill>
                  <a:prstClr val="black"/>
                </a:solidFill>
                <a:latin typeface="Calibri"/>
              </a:rPr>
              <a:t>Jenkins</a:t>
            </a:r>
          </a:p>
        </p:txBody>
      </p:sp>
      <p:cxnSp>
        <p:nvCxnSpPr>
          <p:cNvPr id="106" name="Straight Arrow Connector 105"/>
          <p:cNvCxnSpPr>
            <a:endCxn id="100" idx="1"/>
          </p:cNvCxnSpPr>
          <p:nvPr/>
        </p:nvCxnSpPr>
        <p:spPr>
          <a:xfrm flipV="1">
            <a:off x="4027272" y="1459547"/>
            <a:ext cx="207029" cy="3753"/>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sp>
        <p:nvSpPr>
          <p:cNvPr id="147" name="Rectangle 146"/>
          <p:cNvSpPr/>
          <p:nvPr/>
        </p:nvSpPr>
        <p:spPr bwMode="auto">
          <a:xfrm>
            <a:off x="5182368" y="2778168"/>
            <a:ext cx="3763978" cy="1898677"/>
          </a:xfrm>
          <a:prstGeom prst="rect">
            <a:avLst/>
          </a:prstGeom>
          <a:solidFill>
            <a:schemeClr val="bg1">
              <a:lumMod val="95000"/>
            </a:schemeClr>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685749">
              <a:defRPr/>
            </a:pPr>
            <a:endParaRPr lang="en-US" sz="800" kern="0">
              <a:solidFill>
                <a:srgbClr val="809CAE"/>
              </a:solidFill>
              <a:latin typeface="Calibri"/>
            </a:endParaRPr>
          </a:p>
        </p:txBody>
      </p:sp>
      <p:sp>
        <p:nvSpPr>
          <p:cNvPr id="149" name="Rectangle 148"/>
          <p:cNvSpPr/>
          <p:nvPr/>
        </p:nvSpPr>
        <p:spPr bwMode="auto">
          <a:xfrm>
            <a:off x="2514600" y="3680791"/>
            <a:ext cx="829836" cy="343104"/>
          </a:xfrm>
          <a:prstGeom prst="rect">
            <a:avLst/>
          </a:prstGeom>
          <a:solidFill>
            <a:srgbClr val="92D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defRPr/>
            </a:pPr>
            <a:r>
              <a:rPr lang="en-US" sz="800" kern="0" dirty="0">
                <a:solidFill>
                  <a:srgbClr val="000000"/>
                </a:solidFill>
                <a:latin typeface="Calibri"/>
              </a:rPr>
              <a:t>Jira</a:t>
            </a:r>
          </a:p>
        </p:txBody>
      </p:sp>
      <p:sp>
        <p:nvSpPr>
          <p:cNvPr id="150" name="Rectangle 149"/>
          <p:cNvSpPr/>
          <p:nvPr/>
        </p:nvSpPr>
        <p:spPr bwMode="auto">
          <a:xfrm>
            <a:off x="3986462" y="4607903"/>
            <a:ext cx="829836" cy="343104"/>
          </a:xfrm>
          <a:prstGeom prst="rect">
            <a:avLst/>
          </a:prstGeom>
          <a:solidFill>
            <a:srgbClr val="92D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defRPr/>
            </a:pPr>
            <a:r>
              <a:rPr lang="en-US" sz="800" kern="0" dirty="0" err="1" smtClean="0">
                <a:solidFill>
                  <a:srgbClr val="000000"/>
                </a:solidFill>
                <a:latin typeface="Calibri"/>
              </a:rPr>
              <a:t>GitLab</a:t>
            </a:r>
            <a:r>
              <a:rPr lang="en-US" sz="800" kern="0" dirty="0" smtClean="0">
                <a:solidFill>
                  <a:srgbClr val="000000"/>
                </a:solidFill>
                <a:latin typeface="Calibri"/>
              </a:rPr>
              <a:t>/</a:t>
            </a:r>
            <a:r>
              <a:rPr lang="en-US" sz="800" kern="0" dirty="0" err="1" smtClean="0">
                <a:solidFill>
                  <a:srgbClr val="000000"/>
                </a:solidFill>
                <a:latin typeface="Calibri"/>
              </a:rPr>
              <a:t>CodeReview</a:t>
            </a:r>
            <a:endParaRPr lang="en-US" sz="800" kern="0" dirty="0">
              <a:solidFill>
                <a:srgbClr val="000000"/>
              </a:solidFill>
              <a:latin typeface="Calibri"/>
            </a:endParaRPr>
          </a:p>
        </p:txBody>
      </p:sp>
      <p:sp>
        <p:nvSpPr>
          <p:cNvPr id="151" name="Rectangle 150"/>
          <p:cNvSpPr/>
          <p:nvPr/>
        </p:nvSpPr>
        <p:spPr bwMode="auto">
          <a:xfrm>
            <a:off x="3986462" y="3680791"/>
            <a:ext cx="780987" cy="343104"/>
          </a:xfrm>
          <a:prstGeom prst="rect">
            <a:avLst/>
          </a:prstGeom>
          <a:solidFill>
            <a:srgbClr val="92D05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defRPr/>
            </a:pPr>
            <a:r>
              <a:rPr lang="en-US" sz="800" kern="0" dirty="0" err="1" smtClean="0">
                <a:solidFill>
                  <a:srgbClr val="000000"/>
                </a:solidFill>
                <a:latin typeface="Calibri"/>
              </a:rPr>
              <a:t>GitLab</a:t>
            </a:r>
            <a:endParaRPr lang="en-US" sz="800" kern="0" dirty="0">
              <a:solidFill>
                <a:srgbClr val="000000"/>
              </a:solidFill>
              <a:latin typeface="Calibri"/>
            </a:endParaRPr>
          </a:p>
        </p:txBody>
      </p:sp>
      <p:sp>
        <p:nvSpPr>
          <p:cNvPr id="152" name="TextBox 151"/>
          <p:cNvSpPr txBox="1"/>
          <p:nvPr/>
        </p:nvSpPr>
        <p:spPr bwMode="auto">
          <a:xfrm>
            <a:off x="3422877" y="3915633"/>
            <a:ext cx="646394" cy="24622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algn="ctr" defTabSz="685749">
              <a:defRPr/>
            </a:pPr>
            <a:r>
              <a:rPr lang="en-US" sz="800" kern="0" dirty="0">
                <a:solidFill>
                  <a:srgbClr val="000000"/>
                </a:solidFill>
                <a:latin typeface="Calibri"/>
              </a:rPr>
              <a:t>Code </a:t>
            </a:r>
          </a:p>
          <a:p>
            <a:pPr marL="61909" algn="ctr" defTabSz="685749">
              <a:defRPr/>
            </a:pPr>
            <a:r>
              <a:rPr lang="en-US" sz="800" kern="0" dirty="0">
                <a:solidFill>
                  <a:srgbClr val="000000"/>
                </a:solidFill>
                <a:latin typeface="Calibri"/>
              </a:rPr>
              <a:t>Commit </a:t>
            </a:r>
          </a:p>
        </p:txBody>
      </p:sp>
      <p:cxnSp>
        <p:nvCxnSpPr>
          <p:cNvPr id="153" name="Elbow Connector 152"/>
          <p:cNvCxnSpPr>
            <a:stCxn id="151" idx="0"/>
            <a:endCxn id="172" idx="0"/>
          </p:cNvCxnSpPr>
          <p:nvPr/>
        </p:nvCxnSpPr>
        <p:spPr bwMode="auto">
          <a:xfrm rot="5400000" flipH="1" flipV="1">
            <a:off x="5385871" y="2178410"/>
            <a:ext cx="493466" cy="2511297"/>
          </a:xfrm>
          <a:prstGeom prst="bentConnector3">
            <a:avLst>
              <a:gd name="adj1" fmla="val 146325"/>
            </a:avLst>
          </a:prstGeom>
          <a:noFill/>
          <a:ln w="9525" cap="flat" cmpd="sng" algn="ctr">
            <a:solidFill>
              <a:srgbClr val="000000">
                <a:shade val="95000"/>
                <a:satMod val="105000"/>
              </a:srgbClr>
            </a:solidFill>
            <a:prstDash val="solid"/>
            <a:headEnd type="none" w="med" len="med"/>
            <a:tailEnd type="arrow"/>
          </a:ln>
          <a:effectLst/>
        </p:spPr>
      </p:cxnSp>
      <p:sp>
        <p:nvSpPr>
          <p:cNvPr id="154" name="TextBox 153"/>
          <p:cNvSpPr txBox="1"/>
          <p:nvPr/>
        </p:nvSpPr>
        <p:spPr bwMode="auto">
          <a:xfrm>
            <a:off x="4551499" y="4061875"/>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prstClr val="black"/>
                </a:solidFill>
                <a:latin typeface="Calibri"/>
              </a:rPr>
              <a:t>Trigger Build</a:t>
            </a:r>
          </a:p>
        </p:txBody>
      </p:sp>
      <p:sp>
        <p:nvSpPr>
          <p:cNvPr id="155" name="TextBox 154"/>
          <p:cNvSpPr txBox="1"/>
          <p:nvPr/>
        </p:nvSpPr>
        <p:spPr bwMode="auto">
          <a:xfrm>
            <a:off x="4535383" y="2809193"/>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Pull Code</a:t>
            </a:r>
          </a:p>
        </p:txBody>
      </p:sp>
      <p:cxnSp>
        <p:nvCxnSpPr>
          <p:cNvPr id="156" name="Straight Arrow Connector 155"/>
          <p:cNvCxnSpPr>
            <a:stCxn id="151" idx="3"/>
            <a:endCxn id="183" idx="1"/>
          </p:cNvCxnSpPr>
          <p:nvPr/>
        </p:nvCxnSpPr>
        <p:spPr bwMode="auto">
          <a:xfrm>
            <a:off x="4767450" y="3852344"/>
            <a:ext cx="489284" cy="1677"/>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cxnSp>
        <p:nvCxnSpPr>
          <p:cNvPr id="157" name="Straight Arrow Connector 156"/>
          <p:cNvCxnSpPr>
            <a:stCxn id="151" idx="2"/>
            <a:endCxn id="150" idx="0"/>
          </p:cNvCxnSpPr>
          <p:nvPr/>
        </p:nvCxnSpPr>
        <p:spPr bwMode="auto">
          <a:xfrm>
            <a:off x="4376957" y="4023896"/>
            <a:ext cx="24424" cy="584008"/>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sp>
        <p:nvSpPr>
          <p:cNvPr id="158" name="TextBox 157"/>
          <p:cNvSpPr txBox="1"/>
          <p:nvPr/>
        </p:nvSpPr>
        <p:spPr bwMode="auto">
          <a:xfrm>
            <a:off x="3771901" y="4285775"/>
            <a:ext cx="646394" cy="24622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SCM Traceability</a:t>
            </a:r>
          </a:p>
        </p:txBody>
      </p:sp>
      <p:cxnSp>
        <p:nvCxnSpPr>
          <p:cNvPr id="159" name="Elbow Connector 158"/>
          <p:cNvCxnSpPr>
            <a:stCxn id="150" idx="1"/>
            <a:endCxn id="149" idx="2"/>
          </p:cNvCxnSpPr>
          <p:nvPr/>
        </p:nvCxnSpPr>
        <p:spPr bwMode="auto">
          <a:xfrm rot="10800000">
            <a:off x="2929519" y="4023897"/>
            <a:ext cx="1056944" cy="755560"/>
          </a:xfrm>
          <a:prstGeom prst="bentConnector2">
            <a:avLst/>
          </a:prstGeom>
          <a:noFill/>
          <a:ln w="9525" cap="flat" cmpd="sng" algn="ctr">
            <a:solidFill>
              <a:srgbClr val="000000">
                <a:shade val="95000"/>
                <a:satMod val="105000"/>
              </a:srgbClr>
            </a:solidFill>
            <a:prstDash val="solid"/>
            <a:headEnd type="none" w="med" len="med"/>
            <a:tailEnd type="arrow"/>
          </a:ln>
          <a:effectLst/>
        </p:spPr>
      </p:cxnSp>
      <p:sp>
        <p:nvSpPr>
          <p:cNvPr id="160" name="TextBox 159"/>
          <p:cNvSpPr txBox="1"/>
          <p:nvPr/>
        </p:nvSpPr>
        <p:spPr bwMode="auto">
          <a:xfrm>
            <a:off x="2990604" y="4538965"/>
            <a:ext cx="646394" cy="24622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prstClr val="black"/>
                </a:solidFill>
                <a:latin typeface="Calibri"/>
              </a:rPr>
              <a:t>Requirement Traceability</a:t>
            </a:r>
          </a:p>
        </p:txBody>
      </p:sp>
      <p:cxnSp>
        <p:nvCxnSpPr>
          <p:cNvPr id="161" name="Straight Arrow Connector 160"/>
          <p:cNvCxnSpPr/>
          <p:nvPr/>
        </p:nvCxnSpPr>
        <p:spPr bwMode="auto">
          <a:xfrm flipV="1">
            <a:off x="6997467" y="2779499"/>
            <a:ext cx="690071" cy="952662"/>
          </a:xfrm>
          <a:prstGeom prst="straightConnector1">
            <a:avLst/>
          </a:prstGeom>
          <a:noFill/>
          <a:ln w="9525" cap="flat" cmpd="sng" algn="ctr">
            <a:noFill/>
            <a:prstDash val="solid"/>
            <a:round/>
            <a:headEnd type="none" w="med" len="med"/>
            <a:tailEnd type="arrow"/>
          </a:ln>
          <a:effectLst/>
        </p:spPr>
      </p:cxnSp>
      <p:cxnSp>
        <p:nvCxnSpPr>
          <p:cNvPr id="162" name="Straight Arrow Connector 161"/>
          <p:cNvCxnSpPr/>
          <p:nvPr/>
        </p:nvCxnSpPr>
        <p:spPr bwMode="auto">
          <a:xfrm>
            <a:off x="6398728" y="4299999"/>
            <a:ext cx="681338" cy="569407"/>
          </a:xfrm>
          <a:prstGeom prst="straightConnector1">
            <a:avLst/>
          </a:prstGeom>
          <a:noFill/>
          <a:ln w="9525" cap="flat" cmpd="sng" algn="ctr">
            <a:noFill/>
            <a:prstDash val="solid"/>
            <a:round/>
            <a:headEnd type="arrow"/>
            <a:tailEnd type="arrow"/>
          </a:ln>
          <a:effectLst/>
        </p:spPr>
      </p:cxnSp>
      <p:cxnSp>
        <p:nvCxnSpPr>
          <p:cNvPr id="163" name="Straight Arrow Connector 162"/>
          <p:cNvCxnSpPr/>
          <p:nvPr/>
        </p:nvCxnSpPr>
        <p:spPr bwMode="auto">
          <a:xfrm flipV="1">
            <a:off x="7690776" y="2778168"/>
            <a:ext cx="690071" cy="952662"/>
          </a:xfrm>
          <a:prstGeom prst="straightConnector1">
            <a:avLst/>
          </a:prstGeom>
          <a:noFill/>
          <a:ln w="9525" cap="flat" cmpd="sng" algn="ctr">
            <a:noFill/>
            <a:prstDash val="solid"/>
            <a:round/>
            <a:headEnd type="none" w="med" len="med"/>
            <a:tailEnd type="arrow"/>
          </a:ln>
          <a:effectLst/>
        </p:spPr>
      </p:cxnSp>
      <p:pic>
        <p:nvPicPr>
          <p:cNvPr id="16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55807" y="3149261"/>
            <a:ext cx="381436" cy="239080"/>
          </a:xfrm>
          <a:prstGeom prst="rect">
            <a:avLst/>
          </a:prstGeom>
          <a:solidFill>
            <a:srgbClr val="FBDB81"/>
          </a:solidFill>
          <a:ln>
            <a:noFill/>
          </a:ln>
        </p:spPr>
      </p:pic>
      <p:cxnSp>
        <p:nvCxnSpPr>
          <p:cNvPr id="165" name="Elbow Connector 164"/>
          <p:cNvCxnSpPr>
            <a:stCxn id="164" idx="2"/>
            <a:endCxn id="151" idx="1"/>
          </p:cNvCxnSpPr>
          <p:nvPr/>
        </p:nvCxnSpPr>
        <p:spPr bwMode="auto">
          <a:xfrm rot="16200000" flipH="1">
            <a:off x="3584493" y="3450373"/>
            <a:ext cx="464003" cy="339938"/>
          </a:xfrm>
          <a:prstGeom prst="bentConnector2">
            <a:avLst/>
          </a:prstGeom>
          <a:noFill/>
          <a:ln w="9525" cap="flat" cmpd="sng" algn="ctr">
            <a:solidFill>
              <a:srgbClr val="000000">
                <a:shade val="95000"/>
                <a:satMod val="105000"/>
              </a:srgbClr>
            </a:solidFill>
            <a:prstDash val="solid"/>
            <a:headEnd type="none" w="med" len="med"/>
            <a:tailEnd type="arrow"/>
          </a:ln>
          <a:effectLst/>
        </p:spPr>
      </p:cxnSp>
      <p:cxnSp>
        <p:nvCxnSpPr>
          <p:cNvPr id="166" name="Elbow Connector 165"/>
          <p:cNvCxnSpPr>
            <a:stCxn id="164" idx="1"/>
            <a:endCxn id="149" idx="0"/>
          </p:cNvCxnSpPr>
          <p:nvPr/>
        </p:nvCxnSpPr>
        <p:spPr bwMode="auto">
          <a:xfrm rot="10800000" flipV="1">
            <a:off x="2929520" y="3268801"/>
            <a:ext cx="526288" cy="411991"/>
          </a:xfrm>
          <a:prstGeom prst="bentConnector2">
            <a:avLst/>
          </a:prstGeom>
          <a:noFill/>
          <a:ln w="9525" cap="flat" cmpd="sng" algn="ctr">
            <a:solidFill>
              <a:srgbClr val="000000">
                <a:shade val="95000"/>
                <a:satMod val="105000"/>
              </a:srgbClr>
            </a:solidFill>
            <a:prstDash val="solid"/>
            <a:headEnd type="none" w="med" len="med"/>
            <a:tailEnd type="arrow"/>
          </a:ln>
          <a:effectLst/>
        </p:spPr>
      </p:cxnSp>
      <p:sp>
        <p:nvSpPr>
          <p:cNvPr id="167" name="TextBox 166"/>
          <p:cNvSpPr txBox="1"/>
          <p:nvPr/>
        </p:nvSpPr>
        <p:spPr bwMode="auto">
          <a:xfrm>
            <a:off x="2744079" y="2942033"/>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Requirements</a:t>
            </a:r>
          </a:p>
        </p:txBody>
      </p:sp>
      <p:sp>
        <p:nvSpPr>
          <p:cNvPr id="168" name="TextBox 167"/>
          <p:cNvSpPr txBox="1"/>
          <p:nvPr/>
        </p:nvSpPr>
        <p:spPr bwMode="auto">
          <a:xfrm>
            <a:off x="2742480" y="3060994"/>
            <a:ext cx="646394"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9" defTabSz="685749">
              <a:defRPr/>
            </a:pPr>
            <a:r>
              <a:rPr lang="en-US" sz="800" kern="0" dirty="0">
                <a:solidFill>
                  <a:srgbClr val="000000"/>
                </a:solidFill>
                <a:latin typeface="Calibri"/>
              </a:rPr>
              <a:t>User Stories</a:t>
            </a:r>
          </a:p>
        </p:txBody>
      </p:sp>
      <p:cxnSp>
        <p:nvCxnSpPr>
          <p:cNvPr id="169" name="Elbow Connector 168"/>
          <p:cNvCxnSpPr/>
          <p:nvPr/>
        </p:nvCxnSpPr>
        <p:spPr bwMode="auto">
          <a:xfrm>
            <a:off x="7238118" y="3903714"/>
            <a:ext cx="558338" cy="559382"/>
          </a:xfrm>
          <a:prstGeom prst="bentConnector2">
            <a:avLst/>
          </a:prstGeom>
          <a:noFill/>
          <a:ln w="9525" cap="flat" cmpd="sng" algn="ctr">
            <a:noFill/>
            <a:prstDash val="solid"/>
            <a:round/>
            <a:headEnd type="none" w="med" len="med"/>
            <a:tailEnd type="arrow"/>
          </a:ln>
          <a:effectLst/>
        </p:spPr>
      </p:cxnSp>
      <p:sp>
        <p:nvSpPr>
          <p:cNvPr id="170" name="5-Point Star 169"/>
          <p:cNvSpPr/>
          <p:nvPr/>
        </p:nvSpPr>
        <p:spPr>
          <a:xfrm flipH="1">
            <a:off x="3284825" y="3648873"/>
            <a:ext cx="57952" cy="45719"/>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sz="800">
              <a:solidFill>
                <a:prstClr val="white"/>
              </a:solidFill>
              <a:latin typeface="Calibri"/>
            </a:endParaRPr>
          </a:p>
        </p:txBody>
      </p:sp>
      <p:sp>
        <p:nvSpPr>
          <p:cNvPr id="171" name="5-Point Star 170"/>
          <p:cNvSpPr/>
          <p:nvPr/>
        </p:nvSpPr>
        <p:spPr>
          <a:xfrm flipH="1">
            <a:off x="3937644" y="3664124"/>
            <a:ext cx="57952" cy="45719"/>
          </a:xfrm>
          <a:prstGeom prst="star5">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sz="800">
              <a:solidFill>
                <a:prstClr val="white"/>
              </a:solidFill>
              <a:latin typeface="Calibri"/>
            </a:endParaRPr>
          </a:p>
        </p:txBody>
      </p:sp>
      <p:sp>
        <p:nvSpPr>
          <p:cNvPr id="172" name="Rectangle 171"/>
          <p:cNvSpPr/>
          <p:nvPr/>
        </p:nvSpPr>
        <p:spPr>
          <a:xfrm>
            <a:off x="6232030" y="3187326"/>
            <a:ext cx="1312448" cy="1324846"/>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endParaRPr lang="en-US" sz="800" kern="0" dirty="0">
              <a:solidFill>
                <a:srgbClr val="000000"/>
              </a:solidFill>
              <a:latin typeface="Calibri"/>
            </a:endParaRPr>
          </a:p>
        </p:txBody>
      </p:sp>
      <p:sp>
        <p:nvSpPr>
          <p:cNvPr id="173" name="Rectangle 172"/>
          <p:cNvSpPr/>
          <p:nvPr/>
        </p:nvSpPr>
        <p:spPr bwMode="auto">
          <a:xfrm rot="5400000">
            <a:off x="6393748" y="3450905"/>
            <a:ext cx="978098" cy="948216"/>
          </a:xfrm>
          <a:prstGeom prst="rect">
            <a:avLst/>
          </a:prstGeom>
          <a:solidFill>
            <a:schemeClr val="accent3">
              <a:lumMod val="20000"/>
              <a:lumOff val="80000"/>
            </a:schemeClr>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685732">
              <a:defRPr/>
            </a:pPr>
            <a:endParaRPr lang="en-US" sz="800" kern="0">
              <a:solidFill>
                <a:srgbClr val="809CAE"/>
              </a:solidFill>
              <a:latin typeface="Calibri"/>
            </a:endParaRPr>
          </a:p>
        </p:txBody>
      </p:sp>
      <p:sp>
        <p:nvSpPr>
          <p:cNvPr id="174" name="Rectangle 173"/>
          <p:cNvSpPr/>
          <p:nvPr/>
        </p:nvSpPr>
        <p:spPr>
          <a:xfrm>
            <a:off x="6577153" y="3626697"/>
            <a:ext cx="622578"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smtClean="0">
                <a:solidFill>
                  <a:srgbClr val="000000"/>
                </a:solidFill>
                <a:latin typeface="Calibri"/>
              </a:rPr>
              <a:t>Maven</a:t>
            </a:r>
            <a:endParaRPr lang="en-US" sz="800" kern="0" dirty="0">
              <a:solidFill>
                <a:srgbClr val="000000"/>
              </a:solidFill>
              <a:latin typeface="Calibri"/>
            </a:endParaRPr>
          </a:p>
        </p:txBody>
      </p:sp>
      <p:sp>
        <p:nvSpPr>
          <p:cNvPr id="175" name="Rectangle 174"/>
          <p:cNvSpPr/>
          <p:nvPr/>
        </p:nvSpPr>
        <p:spPr>
          <a:xfrm>
            <a:off x="6578685" y="3992769"/>
            <a:ext cx="622578"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err="1">
                <a:solidFill>
                  <a:srgbClr val="000000"/>
                </a:solidFill>
                <a:latin typeface="Calibri"/>
              </a:rPr>
              <a:t>J</a:t>
            </a:r>
            <a:r>
              <a:rPr lang="en-US" sz="800" kern="0" dirty="0" err="1" smtClean="0">
                <a:solidFill>
                  <a:srgbClr val="000000"/>
                </a:solidFill>
                <a:latin typeface="Calibri"/>
              </a:rPr>
              <a:t>Unit</a:t>
            </a:r>
            <a:r>
              <a:rPr lang="en-US" sz="800" kern="0" dirty="0" smtClean="0">
                <a:solidFill>
                  <a:srgbClr val="000000"/>
                </a:solidFill>
                <a:latin typeface="Calibri"/>
              </a:rPr>
              <a:t> </a:t>
            </a:r>
            <a:r>
              <a:rPr lang="en-US" sz="800" kern="0" dirty="0">
                <a:solidFill>
                  <a:srgbClr val="000000"/>
                </a:solidFill>
                <a:latin typeface="Calibri"/>
              </a:rPr>
              <a:t>tests</a:t>
            </a:r>
          </a:p>
        </p:txBody>
      </p:sp>
      <p:sp>
        <p:nvSpPr>
          <p:cNvPr id="176" name="Rectangle 175"/>
          <p:cNvSpPr/>
          <p:nvPr/>
        </p:nvSpPr>
        <p:spPr>
          <a:xfrm>
            <a:off x="7751506" y="3492348"/>
            <a:ext cx="1036292"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smtClean="0">
                <a:solidFill>
                  <a:srgbClr val="000000"/>
                </a:solidFill>
                <a:latin typeface="Calibri"/>
              </a:rPr>
              <a:t>Maven</a:t>
            </a:r>
            <a:endParaRPr lang="en-US" sz="800" kern="0" dirty="0">
              <a:solidFill>
                <a:srgbClr val="000000"/>
              </a:solidFill>
              <a:latin typeface="Calibri"/>
            </a:endParaRPr>
          </a:p>
        </p:txBody>
      </p:sp>
      <p:sp>
        <p:nvSpPr>
          <p:cNvPr id="177" name="TextBox 176"/>
          <p:cNvSpPr txBox="1"/>
          <p:nvPr/>
        </p:nvSpPr>
        <p:spPr bwMode="auto">
          <a:xfrm>
            <a:off x="7917615" y="3834414"/>
            <a:ext cx="815699"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7" defTabSz="685732">
              <a:defRPr/>
            </a:pPr>
            <a:r>
              <a:rPr lang="en-US" sz="800" kern="0" dirty="0">
                <a:solidFill>
                  <a:prstClr val="black"/>
                </a:solidFill>
                <a:latin typeface="Calibri"/>
              </a:rPr>
              <a:t>Create  </a:t>
            </a:r>
            <a:r>
              <a:rPr lang="en-US" sz="800" kern="0" dirty="0" smtClean="0">
                <a:solidFill>
                  <a:prstClr val="black"/>
                </a:solidFill>
                <a:latin typeface="Calibri"/>
              </a:rPr>
              <a:t>Jar</a:t>
            </a:r>
            <a:endParaRPr lang="en-US" sz="800" kern="0" dirty="0">
              <a:solidFill>
                <a:prstClr val="black"/>
              </a:solidFill>
              <a:latin typeface="Calibri"/>
            </a:endParaRPr>
          </a:p>
        </p:txBody>
      </p:sp>
      <p:sp>
        <p:nvSpPr>
          <p:cNvPr id="178" name="TextBox 177"/>
          <p:cNvSpPr txBox="1"/>
          <p:nvPr/>
        </p:nvSpPr>
        <p:spPr bwMode="auto">
          <a:xfrm>
            <a:off x="6533333" y="3478966"/>
            <a:ext cx="835979"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7" defTabSz="685732">
              <a:defRPr/>
            </a:pPr>
            <a:r>
              <a:rPr lang="en-US" sz="800" kern="0" dirty="0">
                <a:solidFill>
                  <a:prstClr val="black"/>
                </a:solidFill>
                <a:latin typeface="Calibri"/>
              </a:rPr>
              <a:t>Jenkins Plugins</a:t>
            </a:r>
          </a:p>
        </p:txBody>
      </p:sp>
      <p:sp>
        <p:nvSpPr>
          <p:cNvPr id="179" name="Rectangle 178"/>
          <p:cNvSpPr/>
          <p:nvPr/>
        </p:nvSpPr>
        <p:spPr>
          <a:xfrm>
            <a:off x="7727144" y="4184986"/>
            <a:ext cx="1057680" cy="305543"/>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a:solidFill>
                  <a:srgbClr val="000000"/>
                </a:solidFill>
                <a:latin typeface="Calibri"/>
              </a:rPr>
              <a:t>Deployment Server</a:t>
            </a:r>
          </a:p>
        </p:txBody>
      </p:sp>
      <p:cxnSp>
        <p:nvCxnSpPr>
          <p:cNvPr id="180" name="Straight Arrow Connector 179"/>
          <p:cNvCxnSpPr/>
          <p:nvPr/>
        </p:nvCxnSpPr>
        <p:spPr>
          <a:xfrm flipH="1">
            <a:off x="8267560" y="3818889"/>
            <a:ext cx="1" cy="366097"/>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sp>
        <p:nvSpPr>
          <p:cNvPr id="181" name="TextBox 180"/>
          <p:cNvSpPr txBox="1"/>
          <p:nvPr/>
        </p:nvSpPr>
        <p:spPr bwMode="auto">
          <a:xfrm>
            <a:off x="6232030" y="3278141"/>
            <a:ext cx="1312447" cy="12311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61907" algn="ctr" defTabSz="685732">
              <a:defRPr/>
            </a:pPr>
            <a:r>
              <a:rPr lang="en-US" sz="800" kern="0" dirty="0">
                <a:solidFill>
                  <a:prstClr val="black"/>
                </a:solidFill>
                <a:latin typeface="Calibri"/>
              </a:rPr>
              <a:t>Jenkins Linux Slave</a:t>
            </a:r>
          </a:p>
        </p:txBody>
      </p:sp>
      <p:cxnSp>
        <p:nvCxnSpPr>
          <p:cNvPr id="182" name="Straight Arrow Connector 181"/>
          <p:cNvCxnSpPr>
            <a:endCxn id="176" idx="1"/>
          </p:cNvCxnSpPr>
          <p:nvPr/>
        </p:nvCxnSpPr>
        <p:spPr>
          <a:xfrm flipV="1">
            <a:off x="7544477" y="3645119"/>
            <a:ext cx="207029" cy="3753"/>
          </a:xfrm>
          <a:prstGeom prst="straightConnector1">
            <a:avLst/>
          </a:prstGeom>
          <a:noFill/>
          <a:ln w="9525" cap="flat" cmpd="sng" algn="ctr">
            <a:solidFill>
              <a:srgbClr val="000000">
                <a:shade val="95000"/>
                <a:satMod val="105000"/>
              </a:srgbClr>
            </a:solidFill>
            <a:prstDash val="solid"/>
            <a:headEnd type="none" w="med" len="med"/>
            <a:tailEnd type="arrow"/>
          </a:ln>
          <a:effectLst/>
        </p:spPr>
      </p:cxnSp>
      <p:sp>
        <p:nvSpPr>
          <p:cNvPr id="183" name="Rectangle 182"/>
          <p:cNvSpPr/>
          <p:nvPr/>
        </p:nvSpPr>
        <p:spPr>
          <a:xfrm>
            <a:off x="5256734" y="3557377"/>
            <a:ext cx="745006" cy="593286"/>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749"/>
            <a:r>
              <a:rPr lang="en-US" sz="800" kern="0" dirty="0">
                <a:solidFill>
                  <a:srgbClr val="000000"/>
                </a:solidFill>
                <a:latin typeface="Calibri"/>
              </a:rPr>
              <a:t>Jenkins Master</a:t>
            </a:r>
          </a:p>
          <a:p>
            <a:pPr algn="ctr" defTabSz="685749"/>
            <a:r>
              <a:rPr lang="en-US" sz="800" kern="0" dirty="0">
                <a:solidFill>
                  <a:srgbClr val="000000"/>
                </a:solidFill>
                <a:latin typeface="Calibri"/>
              </a:rPr>
              <a:t>[Linux/Windows]</a:t>
            </a:r>
          </a:p>
        </p:txBody>
      </p:sp>
      <p:cxnSp>
        <p:nvCxnSpPr>
          <p:cNvPr id="186" name="Straight Arrow Connector 185"/>
          <p:cNvCxnSpPr/>
          <p:nvPr/>
        </p:nvCxnSpPr>
        <p:spPr>
          <a:xfrm flipV="1">
            <a:off x="6008584" y="3834904"/>
            <a:ext cx="207029" cy="3753"/>
          </a:xfrm>
          <a:prstGeom prst="straightConnector1">
            <a:avLst/>
          </a:prstGeom>
          <a:noFill/>
          <a:ln w="9525" cap="flat" cmpd="sng" algn="ctr">
            <a:solidFill>
              <a:srgbClr val="000000">
                <a:shade val="95000"/>
                <a:satMod val="105000"/>
              </a:srgbClr>
            </a:solidFill>
            <a:prstDash val="solid"/>
            <a:headEnd type="stealth" w="med" len="med"/>
            <a:tailEnd type="stealth"/>
          </a:ln>
          <a:effectLst/>
        </p:spPr>
      </p:cxnSp>
      <p:sp>
        <p:nvSpPr>
          <p:cNvPr id="188" name="TextBox 187"/>
          <p:cNvSpPr txBox="1"/>
          <p:nvPr/>
        </p:nvSpPr>
        <p:spPr>
          <a:xfrm>
            <a:off x="5818624" y="1283055"/>
            <a:ext cx="1967171" cy="253916"/>
          </a:xfrm>
          <a:prstGeom prst="rect">
            <a:avLst/>
          </a:prstGeom>
          <a:solidFill>
            <a:schemeClr val="accent2">
              <a:lumMod val="40000"/>
              <a:lumOff val="60000"/>
            </a:schemeClr>
          </a:solidFill>
          <a:ln w="6350" cap="flat" cmpd="sng" algn="ctr">
            <a:solidFill>
              <a:srgbClr val="CC9900"/>
            </a:solidFill>
            <a:prstDash val="solid"/>
          </a:ln>
          <a:effectLst/>
        </p:spPr>
        <p:txBody>
          <a:bodyPr rtlCol="0" anchor="ctr"/>
          <a:lstStyle>
            <a:defPPr>
              <a:defRPr lang="en-US"/>
            </a:defPPr>
            <a:lvl1pPr>
              <a:defRPr sz="1050" b="1" kern="0">
                <a:solidFill>
                  <a:srgbClr val="073E87">
                    <a:lumMod val="50000"/>
                  </a:srgbClr>
                </a:solidFill>
              </a:defRPr>
            </a:lvl1pPr>
          </a:lstStyle>
          <a:p>
            <a:pPr algn="ctr" defTabSz="914264"/>
            <a:r>
              <a:rPr lang="en-US" sz="1200" dirty="0">
                <a:latin typeface="Calibri"/>
              </a:rPr>
              <a:t>Jenkins: Single Instance</a:t>
            </a:r>
          </a:p>
        </p:txBody>
      </p:sp>
      <p:sp>
        <p:nvSpPr>
          <p:cNvPr id="189" name="TextBox 188"/>
          <p:cNvSpPr txBox="1"/>
          <p:nvPr/>
        </p:nvSpPr>
        <p:spPr>
          <a:xfrm>
            <a:off x="338594" y="3633856"/>
            <a:ext cx="2038681" cy="253916"/>
          </a:xfrm>
          <a:prstGeom prst="rect">
            <a:avLst/>
          </a:prstGeom>
          <a:solidFill>
            <a:schemeClr val="accent2">
              <a:lumMod val="40000"/>
              <a:lumOff val="60000"/>
            </a:schemeClr>
          </a:solidFill>
          <a:ln w="6350" cap="flat" cmpd="sng" algn="ctr">
            <a:solidFill>
              <a:srgbClr val="CC9900"/>
            </a:solidFill>
            <a:prstDash val="solid"/>
          </a:ln>
          <a:effectLst/>
        </p:spPr>
        <p:txBody>
          <a:bodyPr rtlCol="0" anchor="ctr"/>
          <a:lstStyle>
            <a:defPPr>
              <a:defRPr lang="en-US"/>
            </a:defPPr>
            <a:lvl1pPr algn="ctr">
              <a:defRPr sz="1050" b="1" kern="0">
                <a:solidFill>
                  <a:srgbClr val="073E87">
                    <a:lumMod val="50000"/>
                  </a:srgbClr>
                </a:solidFill>
              </a:defRPr>
            </a:lvl1pPr>
          </a:lstStyle>
          <a:p>
            <a:pPr defTabSz="914264"/>
            <a:r>
              <a:rPr lang="en-US" sz="1200" dirty="0">
                <a:latin typeface="Calibri"/>
              </a:rPr>
              <a:t>Jenkins: Master/Slave Setup</a:t>
            </a:r>
          </a:p>
        </p:txBody>
      </p:sp>
      <p:sp>
        <p:nvSpPr>
          <p:cNvPr id="82" name="Rectangle 81"/>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83" name="Picture 2" descr="https://www.naranja.com/image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737614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a:xfrm>
            <a:off x="87460" y="65778"/>
            <a:ext cx="8464987" cy="455444"/>
          </a:xfrm>
        </p:spPr>
        <p:txBody>
          <a:bodyPr/>
          <a:lstStyle/>
          <a:p>
            <a:r>
              <a:rPr lang="en-US" dirty="0" smtClean="0">
                <a:ea typeface="Arial Unicode MS" pitchFamily="34" charset="-128"/>
                <a:cs typeface="Arial Unicode MS" pitchFamily="34" charset="-128"/>
              </a:rPr>
              <a:t>Target CI/CD State </a:t>
            </a: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Web </a:t>
            </a:r>
            <a:r>
              <a:rPr lang="en-US" dirty="0">
                <a:ea typeface="Arial Unicode MS" pitchFamily="34" charset="-128"/>
                <a:cs typeface="Arial Unicode MS" pitchFamily="34" charset="-128"/>
              </a:rPr>
              <a:t>App </a:t>
            </a:r>
            <a:r>
              <a:rPr lang="en-US" dirty="0" smtClean="0">
                <a:ea typeface="Arial Unicode MS" pitchFamily="34" charset="-128"/>
                <a:cs typeface="Arial Unicode MS" pitchFamily="34" charset="-128"/>
              </a:rPr>
              <a:t>(.NET)</a:t>
            </a:r>
            <a:endParaRPr lang="en-US" dirty="0"/>
          </a:p>
        </p:txBody>
      </p:sp>
      <p:grpSp>
        <p:nvGrpSpPr>
          <p:cNvPr id="104" name="Group 103"/>
          <p:cNvGrpSpPr/>
          <p:nvPr/>
        </p:nvGrpSpPr>
        <p:grpSpPr>
          <a:xfrm>
            <a:off x="222544" y="595653"/>
            <a:ext cx="8556808" cy="3860763"/>
            <a:chOff x="748473" y="911381"/>
            <a:chExt cx="10846106" cy="5260819"/>
          </a:xfrm>
        </p:grpSpPr>
        <p:sp>
          <p:nvSpPr>
            <p:cNvPr id="154" name="Rectangle 153"/>
            <p:cNvSpPr/>
            <p:nvPr/>
          </p:nvSpPr>
          <p:spPr>
            <a:xfrm>
              <a:off x="9074586" y="1007771"/>
              <a:ext cx="2259202" cy="63974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08" name="Rectangle 107"/>
            <p:cNvSpPr/>
            <p:nvPr/>
          </p:nvSpPr>
          <p:spPr>
            <a:xfrm>
              <a:off x="928086" y="1004635"/>
              <a:ext cx="2301535"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1" name="Rectangle 150"/>
            <p:cNvSpPr/>
            <p:nvPr/>
          </p:nvSpPr>
          <p:spPr>
            <a:xfrm>
              <a:off x="3707251" y="990600"/>
              <a:ext cx="2249750"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110" name="Group 109"/>
            <p:cNvGrpSpPr/>
            <p:nvPr/>
          </p:nvGrpSpPr>
          <p:grpSpPr>
            <a:xfrm>
              <a:off x="6381239" y="1004633"/>
              <a:ext cx="2181030" cy="639674"/>
              <a:chOff x="6381239" y="1080834"/>
              <a:chExt cx="2181030" cy="815347"/>
            </a:xfrm>
          </p:grpSpPr>
          <p:pic>
            <p:nvPicPr>
              <p:cNvPr id="148" name="Picture 1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8812" y="1517467"/>
                <a:ext cx="924045" cy="378714"/>
              </a:xfrm>
              <a:prstGeom prst="rect">
                <a:avLst/>
              </a:prstGeom>
            </p:spPr>
          </p:pic>
          <p:pic>
            <p:nvPicPr>
              <p:cNvPr id="149" name="Picture 1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79580" y="1200441"/>
                <a:ext cx="1428571" cy="340128"/>
              </a:xfrm>
              <a:prstGeom prst="rect">
                <a:avLst/>
              </a:prstGeom>
            </p:spPr>
          </p:pic>
          <p:sp>
            <p:nvSpPr>
              <p:cNvPr id="150" name="Rectangle 149"/>
              <p:cNvSpPr/>
              <p:nvPr/>
            </p:nvSpPr>
            <p:spPr>
              <a:xfrm>
                <a:off x="6381239" y="1080834"/>
                <a:ext cx="2181030" cy="814656"/>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111" name="Rounded Rectangle 110"/>
            <p:cNvSpPr/>
            <p:nvPr/>
          </p:nvSpPr>
          <p:spPr>
            <a:xfrm>
              <a:off x="859309" y="1717462"/>
              <a:ext cx="10618631" cy="3693329"/>
            </a:xfrm>
            <a:prstGeom prst="roundRect">
              <a:avLst/>
            </a:prstGeom>
            <a:solidFill>
              <a:schemeClr val="accent3">
                <a:lumMod val="40000"/>
                <a:lumOff val="6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12" name="Rectangle 111"/>
            <p:cNvSpPr/>
            <p:nvPr/>
          </p:nvSpPr>
          <p:spPr>
            <a:xfrm>
              <a:off x="2792936" y="5532119"/>
              <a:ext cx="1812494"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13" name="Up Arrow 112"/>
            <p:cNvSpPr/>
            <p:nvPr/>
          </p:nvSpPr>
          <p:spPr>
            <a:xfrm>
              <a:off x="1973684"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grpSp>
          <p:nvGrpSpPr>
            <p:cNvPr id="114" name="Group 113"/>
            <p:cNvGrpSpPr/>
            <p:nvPr/>
          </p:nvGrpSpPr>
          <p:grpSpPr>
            <a:xfrm>
              <a:off x="7261841" y="5532120"/>
              <a:ext cx="2187351" cy="640080"/>
              <a:chOff x="7261841" y="5440561"/>
              <a:chExt cx="2187351" cy="780538"/>
            </a:xfrm>
          </p:grpSpPr>
          <p:sp>
            <p:nvSpPr>
              <p:cNvPr id="146" name="Rectangle 145"/>
              <p:cNvSpPr/>
              <p:nvPr/>
            </p:nvSpPr>
            <p:spPr>
              <a:xfrm>
                <a:off x="7261841" y="5440561"/>
                <a:ext cx="2187351" cy="780538"/>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47" name="Picture 146"/>
              <p:cNvPicPr>
                <a:picLocks noChangeAspect="1"/>
              </p:cNvPicPr>
              <p:nvPr/>
            </p:nvPicPr>
            <p:blipFill>
              <a:blip r:embed="rId4"/>
              <a:stretch>
                <a:fillRect/>
              </a:stretch>
            </p:blipFill>
            <p:spPr>
              <a:xfrm>
                <a:off x="7391624" y="5724897"/>
                <a:ext cx="1043989" cy="324019"/>
              </a:xfrm>
              <a:prstGeom prst="rect">
                <a:avLst/>
              </a:prstGeom>
            </p:spPr>
          </p:pic>
        </p:grpSp>
        <p:sp>
          <p:nvSpPr>
            <p:cNvPr id="115" name="Rectangle 114"/>
            <p:cNvSpPr/>
            <p:nvPr/>
          </p:nvSpPr>
          <p:spPr>
            <a:xfrm>
              <a:off x="4884862" y="5532119"/>
              <a:ext cx="2187351"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16" name="Picture 115"/>
            <p:cNvPicPr>
              <a:picLocks noChangeAspect="1"/>
            </p:cNvPicPr>
            <p:nvPr/>
          </p:nvPicPr>
          <p:blipFill>
            <a:blip r:embed="rId5"/>
            <a:stretch>
              <a:fillRect/>
            </a:stretch>
          </p:blipFill>
          <p:spPr>
            <a:xfrm>
              <a:off x="2559893" y="3124200"/>
              <a:ext cx="6549471" cy="660376"/>
            </a:xfrm>
            <a:prstGeom prst="rect">
              <a:avLst/>
            </a:prstGeom>
          </p:spPr>
        </p:pic>
        <p:sp>
          <p:nvSpPr>
            <p:cNvPr id="117" name="Double Bracket 116"/>
            <p:cNvSpPr/>
            <p:nvPr/>
          </p:nvSpPr>
          <p:spPr>
            <a:xfrm>
              <a:off x="1253870" y="2411038"/>
              <a:ext cx="2314312" cy="560763"/>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Prevent Integration problem</a:t>
              </a:r>
            </a:p>
            <a:p>
              <a:pPr marL="285750" indent="-285750">
                <a:buFont typeface="Arial" panose="020B0604020202020204" pitchFamily="34" charset="0"/>
                <a:buChar char="•"/>
              </a:pPr>
              <a:r>
                <a:rPr lang="en-US" sz="800" dirty="0" smtClean="0"/>
                <a:t>Committing Code frequently</a:t>
              </a:r>
            </a:p>
            <a:p>
              <a:pPr marL="285750" indent="-285750">
                <a:buFont typeface="Arial" panose="020B0604020202020204" pitchFamily="34" charset="0"/>
                <a:buChar char="•"/>
              </a:pPr>
              <a:endParaRPr lang="en-US" sz="800" dirty="0"/>
            </a:p>
          </p:txBody>
        </p:sp>
        <p:sp>
          <p:nvSpPr>
            <p:cNvPr id="118" name="Double Bracket 117"/>
            <p:cNvSpPr/>
            <p:nvPr/>
          </p:nvSpPr>
          <p:spPr>
            <a:xfrm>
              <a:off x="6167336" y="2209800"/>
              <a:ext cx="2394933" cy="831505"/>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Finding Bugs Early</a:t>
              </a:r>
            </a:p>
            <a:p>
              <a:pPr marL="285750" indent="-285750">
                <a:buFont typeface="Arial" panose="020B0604020202020204" pitchFamily="34" charset="0"/>
                <a:buChar char="•"/>
              </a:pPr>
              <a:r>
                <a:rPr lang="en-US" sz="800" dirty="0" smtClean="0"/>
                <a:t>Compliance to coding standards</a:t>
              </a:r>
            </a:p>
            <a:p>
              <a:pPr marL="285750" indent="-285750">
                <a:buFont typeface="Arial" panose="020B0604020202020204" pitchFamily="34" charset="0"/>
                <a:buChar char="•"/>
              </a:pPr>
              <a:r>
                <a:rPr lang="en-US" sz="800" dirty="0" smtClean="0"/>
                <a:t>Team Cohesion</a:t>
              </a:r>
            </a:p>
            <a:p>
              <a:pPr marL="285750" indent="-285750">
                <a:buFont typeface="Arial" panose="020B0604020202020204" pitchFamily="34" charset="0"/>
                <a:buChar char="•"/>
              </a:pPr>
              <a:r>
                <a:rPr lang="en-US" sz="800" dirty="0" smtClean="0"/>
                <a:t>Confidence of stakeholders</a:t>
              </a:r>
            </a:p>
            <a:p>
              <a:pPr marL="285750" indent="-285750">
                <a:buFont typeface="Arial" panose="020B0604020202020204" pitchFamily="34" charset="0"/>
                <a:buChar char="•"/>
              </a:pPr>
              <a:endParaRPr lang="en-US" sz="800" dirty="0"/>
            </a:p>
          </p:txBody>
        </p:sp>
        <p:sp>
          <p:nvSpPr>
            <p:cNvPr id="119" name="Double Bracket 118"/>
            <p:cNvSpPr/>
            <p:nvPr/>
          </p:nvSpPr>
          <p:spPr>
            <a:xfrm>
              <a:off x="3654869" y="2452885"/>
              <a:ext cx="2010080" cy="518914"/>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Greater Portability</a:t>
              </a:r>
            </a:p>
            <a:p>
              <a:pPr marL="285750" indent="-285750">
                <a:buFont typeface="Arial" panose="020B0604020202020204" pitchFamily="34" charset="0"/>
                <a:buChar char="•"/>
              </a:pPr>
              <a:r>
                <a:rPr lang="en-US" sz="800" dirty="0" smtClean="0"/>
                <a:t>Compilation error free code</a:t>
              </a:r>
            </a:p>
            <a:p>
              <a:pPr marL="285750" indent="-285750">
                <a:buFont typeface="Arial" panose="020B0604020202020204" pitchFamily="34" charset="0"/>
                <a:buChar char="•"/>
              </a:pPr>
              <a:endParaRPr lang="en-US" sz="800" dirty="0"/>
            </a:p>
          </p:txBody>
        </p:sp>
        <p:sp>
          <p:nvSpPr>
            <p:cNvPr id="120" name="Double Bracket 119"/>
            <p:cNvSpPr/>
            <p:nvPr/>
          </p:nvSpPr>
          <p:spPr>
            <a:xfrm>
              <a:off x="8742265" y="2238605"/>
              <a:ext cx="2532300" cy="885595"/>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Reduces bugs in Prod code</a:t>
              </a:r>
            </a:p>
            <a:p>
              <a:pPr marL="285750" indent="-285750">
                <a:buFont typeface="Arial" panose="020B0604020202020204" pitchFamily="34" charset="0"/>
                <a:buChar char="•"/>
              </a:pPr>
              <a:r>
                <a:rPr lang="en-US" sz="800" dirty="0" smtClean="0"/>
                <a:t>Code change and refactoring </a:t>
              </a:r>
            </a:p>
            <a:p>
              <a:pPr marL="285750" indent="-285750">
                <a:buFont typeface="Arial" panose="020B0604020202020204" pitchFamily="34" charset="0"/>
                <a:buChar char="•"/>
              </a:pPr>
              <a:r>
                <a:rPr lang="en-US" sz="800" dirty="0" smtClean="0"/>
                <a:t>Improves the code design</a:t>
              </a:r>
            </a:p>
            <a:p>
              <a:pPr marL="285750" indent="-285750">
                <a:buFont typeface="Arial" panose="020B0604020202020204" pitchFamily="34" charset="0"/>
                <a:buChar char="•"/>
              </a:pPr>
              <a:r>
                <a:rPr lang="en-US" sz="800" dirty="0" smtClean="0"/>
                <a:t>Facilitate documentation</a:t>
              </a:r>
            </a:p>
            <a:p>
              <a:pPr marL="285750" indent="-285750">
                <a:buFont typeface="Arial" panose="020B0604020202020204" pitchFamily="34" charset="0"/>
                <a:buChar char="•"/>
              </a:pPr>
              <a:r>
                <a:rPr lang="en-US" sz="800" dirty="0" smtClean="0"/>
                <a:t>Measure of completion.</a:t>
              </a:r>
            </a:p>
            <a:p>
              <a:pPr marL="285750" indent="-285750">
                <a:buFont typeface="Arial" panose="020B0604020202020204" pitchFamily="34" charset="0"/>
                <a:buChar char="•"/>
              </a:pPr>
              <a:endParaRPr lang="en-US" sz="800" dirty="0"/>
            </a:p>
          </p:txBody>
        </p:sp>
        <p:sp>
          <p:nvSpPr>
            <p:cNvPr id="121" name="Double Bracket 120"/>
            <p:cNvSpPr/>
            <p:nvPr/>
          </p:nvSpPr>
          <p:spPr>
            <a:xfrm>
              <a:off x="8185926" y="3846344"/>
              <a:ext cx="2700209" cy="11828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Improved software quality</a:t>
              </a:r>
            </a:p>
            <a:p>
              <a:pPr marL="285750" indent="-285750">
                <a:buFont typeface="Arial" panose="020B0604020202020204" pitchFamily="34" charset="0"/>
                <a:buChar char="•"/>
              </a:pPr>
              <a:r>
                <a:rPr lang="en-US" sz="800" dirty="0" smtClean="0"/>
                <a:t>Reduce Compile and linking time</a:t>
              </a:r>
            </a:p>
            <a:p>
              <a:pPr marL="285750" indent="-285750">
                <a:buFont typeface="Arial" panose="020B0604020202020204" pitchFamily="34" charset="0"/>
                <a:buChar char="•"/>
              </a:pPr>
              <a:r>
                <a:rPr lang="en-US" sz="800" dirty="0" smtClean="0"/>
                <a:t>Minimize broken builds</a:t>
              </a:r>
            </a:p>
            <a:p>
              <a:pPr marL="285750" indent="-285750">
                <a:buFont typeface="Arial" panose="020B0604020202020204" pitchFamily="34" charset="0"/>
                <a:buChar char="•"/>
              </a:pPr>
              <a:r>
                <a:rPr lang="en-US" sz="800" dirty="0" smtClean="0"/>
                <a:t>Improved Traceability</a:t>
              </a:r>
            </a:p>
            <a:p>
              <a:pPr marL="285750" indent="-285750">
                <a:buFont typeface="Arial" panose="020B0604020202020204" pitchFamily="34" charset="0"/>
                <a:buChar char="•"/>
              </a:pPr>
              <a:r>
                <a:rPr lang="en-US" sz="800" dirty="0" smtClean="0"/>
                <a:t>Build on Check-ins</a:t>
              </a:r>
            </a:p>
            <a:p>
              <a:pPr marL="285750" indent="-285750">
                <a:buFont typeface="Arial" panose="020B0604020202020204" pitchFamily="34" charset="0"/>
                <a:buChar char="•"/>
              </a:pPr>
              <a:endParaRPr lang="en-US" sz="800" dirty="0"/>
            </a:p>
          </p:txBody>
        </p:sp>
        <p:sp>
          <p:nvSpPr>
            <p:cNvPr id="122" name="Double Bracket 121"/>
            <p:cNvSpPr/>
            <p:nvPr/>
          </p:nvSpPr>
          <p:spPr>
            <a:xfrm>
              <a:off x="2338772" y="3795511"/>
              <a:ext cx="2651256" cy="11066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Efficient Testing</a:t>
              </a:r>
            </a:p>
            <a:p>
              <a:pPr marL="285750" indent="-285750">
                <a:buFont typeface="Arial" panose="020B0604020202020204" pitchFamily="34" charset="0"/>
                <a:buChar char="•"/>
              </a:pPr>
              <a:r>
                <a:rPr lang="en-US" sz="800" dirty="0" smtClean="0"/>
                <a:t>Up gradation and Reusability</a:t>
              </a:r>
            </a:p>
            <a:p>
              <a:pPr marL="285750" indent="-285750">
                <a:buFont typeface="Arial" panose="020B0604020202020204" pitchFamily="34" charset="0"/>
                <a:buChar char="•"/>
              </a:pPr>
              <a:r>
                <a:rPr lang="en-US" sz="800" dirty="0" smtClean="0"/>
                <a:t>Consistency</a:t>
              </a:r>
            </a:p>
            <a:p>
              <a:pPr marL="285750" indent="-285750">
                <a:buFont typeface="Arial" panose="020B0604020202020204" pitchFamily="34" charset="0"/>
                <a:buChar char="•"/>
              </a:pPr>
              <a:r>
                <a:rPr lang="en-US" sz="800" dirty="0" smtClean="0"/>
                <a:t>User environment simulation</a:t>
              </a:r>
            </a:p>
            <a:p>
              <a:pPr marL="285750" indent="-285750">
                <a:buFont typeface="Arial" panose="020B0604020202020204" pitchFamily="34" charset="0"/>
                <a:buChar char="•"/>
              </a:pPr>
              <a:r>
                <a:rPr lang="en-US" sz="800" dirty="0" smtClean="0"/>
                <a:t>Increased Test Coverage</a:t>
              </a:r>
            </a:p>
            <a:p>
              <a:pPr marL="285750" indent="-285750">
                <a:buFont typeface="Arial" panose="020B0604020202020204" pitchFamily="34" charset="0"/>
                <a:buChar char="•"/>
              </a:pPr>
              <a:endParaRPr lang="en-US" sz="800" dirty="0"/>
            </a:p>
          </p:txBody>
        </p:sp>
        <p:sp>
          <p:nvSpPr>
            <p:cNvPr id="123" name="Double Bracket 122"/>
            <p:cNvSpPr/>
            <p:nvPr/>
          </p:nvSpPr>
          <p:spPr>
            <a:xfrm>
              <a:off x="5133118" y="3810000"/>
              <a:ext cx="2577730" cy="11828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Speed up deployment</a:t>
              </a:r>
            </a:p>
            <a:p>
              <a:pPr marL="285750" indent="-285750">
                <a:buFont typeface="Arial" panose="020B0604020202020204" pitchFamily="34" charset="0"/>
                <a:buChar char="•"/>
              </a:pPr>
              <a:r>
                <a:rPr lang="en-US" sz="800" dirty="0" smtClean="0"/>
                <a:t>Reducing errors and failed deployments</a:t>
              </a:r>
            </a:p>
            <a:p>
              <a:pPr marL="285750" indent="-285750">
                <a:buFont typeface="Arial" panose="020B0604020202020204" pitchFamily="34" charset="0"/>
                <a:buChar char="•"/>
              </a:pPr>
              <a:r>
                <a:rPr lang="en-US" sz="800" dirty="0" smtClean="0"/>
                <a:t>Visibility on deployment status of application and environments.</a:t>
              </a:r>
            </a:p>
          </p:txBody>
        </p:sp>
        <p:sp>
          <p:nvSpPr>
            <p:cNvPr id="124" name="Up Arrow 123"/>
            <p:cNvSpPr/>
            <p:nvPr/>
          </p:nvSpPr>
          <p:spPr>
            <a:xfrm>
              <a:off x="4779692"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5" name="Up Arrow 124"/>
            <p:cNvSpPr/>
            <p:nvPr/>
          </p:nvSpPr>
          <p:spPr>
            <a:xfrm>
              <a:off x="10200185"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6" name="Up Arrow 125"/>
            <p:cNvSpPr/>
            <p:nvPr/>
          </p:nvSpPr>
          <p:spPr>
            <a:xfrm>
              <a:off x="7261417" y="1623815"/>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7" name="Up Arrow 126"/>
            <p:cNvSpPr/>
            <p:nvPr/>
          </p:nvSpPr>
          <p:spPr>
            <a:xfrm flipV="1">
              <a:off x="10382930" y="5252125"/>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8" name="Up Arrow 127"/>
            <p:cNvSpPr/>
            <p:nvPr/>
          </p:nvSpPr>
          <p:spPr>
            <a:xfrm flipV="1">
              <a:off x="8268349" y="5249806"/>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9" name="Up Arrow 128"/>
            <p:cNvSpPr/>
            <p:nvPr/>
          </p:nvSpPr>
          <p:spPr>
            <a:xfrm flipV="1">
              <a:off x="5956999" y="5262868"/>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0" name="Up Arrow 129"/>
            <p:cNvSpPr/>
            <p:nvPr/>
          </p:nvSpPr>
          <p:spPr>
            <a:xfrm flipV="1">
              <a:off x="3568183" y="5260933"/>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1" name="Up Arrow 130"/>
            <p:cNvSpPr/>
            <p:nvPr/>
          </p:nvSpPr>
          <p:spPr>
            <a:xfrm flipV="1">
              <a:off x="1596800" y="5250122"/>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2" name="Rectangle 131"/>
            <p:cNvSpPr/>
            <p:nvPr/>
          </p:nvSpPr>
          <p:spPr>
            <a:xfrm>
              <a:off x="748473" y="5504352"/>
              <a:ext cx="1854835"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4" name="Rectangle 143"/>
            <p:cNvSpPr/>
            <p:nvPr/>
          </p:nvSpPr>
          <p:spPr>
            <a:xfrm>
              <a:off x="9591954" y="5524172"/>
              <a:ext cx="2002625" cy="640081"/>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aphicFrame>
          <p:nvGraphicFramePr>
            <p:cNvPr id="134" name="Content Placeholder 5"/>
            <p:cNvGraphicFramePr>
              <a:graphicFrameLocks/>
            </p:cNvGraphicFramePr>
            <p:nvPr>
              <p:extLst>
                <p:ext uri="{D42A27DB-BD31-4B8C-83A1-F6EECF244321}">
                  <p14:modId xmlns:p14="http://schemas.microsoft.com/office/powerpoint/2010/main" val="464951646"/>
                </p:ext>
              </p:extLst>
            </p:nvPr>
          </p:nvGraphicFramePr>
          <p:xfrm>
            <a:off x="1181810" y="911381"/>
            <a:ext cx="10412769" cy="507910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36" name="Picture 13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63229" y="5690626"/>
              <a:ext cx="739795" cy="369897"/>
            </a:xfrm>
            <a:prstGeom prst="rect">
              <a:avLst/>
            </a:prstGeom>
          </p:spPr>
        </p:pic>
        <p:pic>
          <p:nvPicPr>
            <p:cNvPr id="137" name="Picture 6"/>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4959267" y="5636265"/>
              <a:ext cx="927717" cy="39892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44961" y="5695404"/>
              <a:ext cx="784207" cy="361405"/>
            </a:xfrm>
            <a:prstGeom prst="rect">
              <a:avLst/>
            </a:prstGeom>
            <a:solidFill>
              <a:schemeClr val="accent2"/>
            </a:solidFill>
            <a:ln>
              <a:solidFill>
                <a:schemeClr val="accent1"/>
              </a:solidFill>
            </a:ln>
          </p:spPr>
        </p:pic>
      </p:grpSp>
      <p:sp>
        <p:nvSpPr>
          <p:cNvPr id="54" name="Rectangle 5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6" name="Picture 2" descr="https://www.naranja.com/images/logo.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15"/>
          <a:stretch>
            <a:fillRect/>
          </a:stretch>
        </p:blipFill>
        <p:spPr>
          <a:xfrm>
            <a:off x="1095845" y="700919"/>
            <a:ext cx="352580" cy="386591"/>
          </a:xfrm>
          <a:prstGeom prst="rect">
            <a:avLst/>
          </a:prstGeom>
        </p:spPr>
      </p:pic>
      <p:pic>
        <p:nvPicPr>
          <p:cNvPr id="59" name="Picture 58"/>
          <p:cNvPicPr>
            <a:picLocks noChangeAspect="1"/>
          </p:cNvPicPr>
          <p:nvPr/>
        </p:nvPicPr>
        <p:blipFill>
          <a:blip r:embed="rId16"/>
          <a:stretch>
            <a:fillRect/>
          </a:stretch>
        </p:blipFill>
        <p:spPr>
          <a:xfrm>
            <a:off x="6321134" y="4151783"/>
            <a:ext cx="681926" cy="146732"/>
          </a:xfrm>
          <a:prstGeom prst="rect">
            <a:avLst/>
          </a:prstGeom>
        </p:spPr>
      </p:pic>
      <p:pic>
        <p:nvPicPr>
          <p:cNvPr id="52" name="Picture 51"/>
          <p:cNvPicPr>
            <a:picLocks noChangeAspect="1"/>
          </p:cNvPicPr>
          <p:nvPr/>
        </p:nvPicPr>
        <p:blipFill>
          <a:blip r:embed="rId17"/>
          <a:stretch>
            <a:fillRect/>
          </a:stretch>
        </p:blipFill>
        <p:spPr>
          <a:xfrm>
            <a:off x="2768712" y="715382"/>
            <a:ext cx="1122983" cy="374336"/>
          </a:xfrm>
          <a:prstGeom prst="rect">
            <a:avLst/>
          </a:prstGeom>
        </p:spPr>
      </p:pic>
      <p:pic>
        <p:nvPicPr>
          <p:cNvPr id="53" name="Picture 8" descr="Image result for ms tes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275175" y="732072"/>
            <a:ext cx="757872" cy="37104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17"/>
          <a:stretch>
            <a:fillRect/>
          </a:stretch>
        </p:blipFill>
        <p:spPr>
          <a:xfrm>
            <a:off x="7257796" y="4047219"/>
            <a:ext cx="1122983" cy="374336"/>
          </a:xfrm>
          <a:prstGeom prst="rect">
            <a:avLst/>
          </a:prstGeom>
        </p:spPr>
      </p:pic>
      <p:pic>
        <p:nvPicPr>
          <p:cNvPr id="57" name="Picture 6"/>
          <p:cNvPicPr>
            <a:picLocks noChangeAspect="1" noChangeArrowheads="1"/>
          </p:cNvPicPr>
          <p:nvPr/>
        </p:nvPicPr>
        <p:blipFill>
          <a:blip r:embed="rId19">
            <a:extLst>
              <a:ext uri="{28A0092B-C50C-407E-A947-70E740481C1C}">
                <a14:useLocalDpi xmlns:a14="http://schemas.microsoft.com/office/drawing/2010/main" val="0"/>
              </a:ext>
            </a:extLst>
          </a:blip>
          <a:stretch>
            <a:fillRect/>
          </a:stretch>
        </p:blipFill>
        <p:spPr bwMode="auto">
          <a:xfrm>
            <a:off x="4671884" y="4063109"/>
            <a:ext cx="379744" cy="36158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p:cNvPicPr>
            <a:picLocks noChangeAspect="1"/>
          </p:cNvPicPr>
          <p:nvPr/>
        </p:nvPicPr>
        <p:blipFill>
          <a:blip r:embed="rId20"/>
          <a:stretch>
            <a:fillRect/>
          </a:stretch>
        </p:blipFill>
        <p:spPr>
          <a:xfrm>
            <a:off x="2622050" y="4144283"/>
            <a:ext cx="582975" cy="178779"/>
          </a:xfrm>
          <a:prstGeom prst="rect">
            <a:avLst/>
          </a:prstGeom>
        </p:spPr>
      </p:pic>
      <p:pic>
        <p:nvPicPr>
          <p:cNvPr id="50" name="Picture 49"/>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028146" y="4295626"/>
            <a:ext cx="561262" cy="114182"/>
          </a:xfrm>
          <a:prstGeom prst="rect">
            <a:avLst/>
          </a:prstGeom>
        </p:spPr>
        <p:style>
          <a:lnRef idx="0">
            <a:schemeClr val="accent5"/>
          </a:lnRef>
          <a:fillRef idx="3">
            <a:schemeClr val="accent5"/>
          </a:fillRef>
          <a:effectRef idx="3">
            <a:schemeClr val="accent5"/>
          </a:effectRef>
          <a:fontRef idx="minor">
            <a:schemeClr val="lt1"/>
          </a:fontRef>
        </p:style>
      </p:pic>
      <p:pic>
        <p:nvPicPr>
          <p:cNvPr id="51" name="Picture 50"/>
          <p:cNvPicPr>
            <a:picLocks noChangeAspect="1"/>
          </p:cNvPicPr>
          <p:nvPr/>
        </p:nvPicPr>
        <p:blipFill>
          <a:blip r:embed="rId16"/>
          <a:stretch>
            <a:fillRect/>
          </a:stretch>
        </p:blipFill>
        <p:spPr>
          <a:xfrm>
            <a:off x="5897200" y="2565591"/>
            <a:ext cx="681926" cy="146732"/>
          </a:xfrm>
          <a:prstGeom prst="rect">
            <a:avLst/>
          </a:prstGeom>
        </p:spPr>
      </p:pic>
    </p:spTree>
    <p:extLst>
      <p:ext uri="{BB962C8B-B14F-4D97-AF65-F5344CB8AC3E}">
        <p14:creationId xmlns:p14="http://schemas.microsoft.com/office/powerpoint/2010/main" val="262297875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a:xfrm>
            <a:off x="87460" y="55146"/>
            <a:ext cx="8464987" cy="455444"/>
          </a:xfrm>
        </p:spPr>
        <p:txBody>
          <a:bodyPr/>
          <a:lstStyle/>
          <a:p>
            <a:r>
              <a:rPr lang="en-US" dirty="0" smtClean="0">
                <a:ea typeface="Arial Unicode MS" pitchFamily="34" charset="-128"/>
                <a:cs typeface="Arial Unicode MS" pitchFamily="34" charset="-128"/>
              </a:rPr>
              <a:t>Target CI/CD State </a:t>
            </a: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Web </a:t>
            </a:r>
            <a:r>
              <a:rPr lang="en-US" dirty="0">
                <a:ea typeface="Arial Unicode MS" pitchFamily="34" charset="-128"/>
                <a:cs typeface="Arial Unicode MS" pitchFamily="34" charset="-128"/>
              </a:rPr>
              <a:t>App (</a:t>
            </a:r>
            <a:r>
              <a:rPr lang="en-US" dirty="0" smtClean="0">
                <a:ea typeface="Arial Unicode MS" pitchFamily="34" charset="-128"/>
                <a:cs typeface="Arial Unicode MS" pitchFamily="34" charset="-128"/>
              </a:rPr>
              <a:t>Java)</a:t>
            </a:r>
            <a:endParaRPr lang="en-US" dirty="0"/>
          </a:p>
        </p:txBody>
      </p:sp>
      <p:grpSp>
        <p:nvGrpSpPr>
          <p:cNvPr id="104" name="Group 103"/>
          <p:cNvGrpSpPr/>
          <p:nvPr/>
        </p:nvGrpSpPr>
        <p:grpSpPr>
          <a:xfrm>
            <a:off x="87461" y="642770"/>
            <a:ext cx="8982111" cy="4035524"/>
            <a:chOff x="748473" y="983825"/>
            <a:chExt cx="10846106" cy="5269190"/>
          </a:xfrm>
        </p:grpSpPr>
        <p:grpSp>
          <p:nvGrpSpPr>
            <p:cNvPr id="107" name="Group 106"/>
            <p:cNvGrpSpPr/>
            <p:nvPr/>
          </p:nvGrpSpPr>
          <p:grpSpPr>
            <a:xfrm>
              <a:off x="9074586" y="1007770"/>
              <a:ext cx="2259202" cy="639741"/>
              <a:chOff x="9074586" y="1084069"/>
              <a:chExt cx="2259202" cy="827360"/>
            </a:xfrm>
          </p:grpSpPr>
          <p:pic>
            <p:nvPicPr>
              <p:cNvPr id="153" name="Picture 15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20229" y="1255666"/>
                <a:ext cx="749023" cy="408503"/>
              </a:xfrm>
              <a:prstGeom prst="rect">
                <a:avLst/>
              </a:prstGeom>
            </p:spPr>
          </p:pic>
          <p:sp>
            <p:nvSpPr>
              <p:cNvPr id="154" name="Rectangle 153"/>
              <p:cNvSpPr/>
              <p:nvPr/>
            </p:nvSpPr>
            <p:spPr>
              <a:xfrm>
                <a:off x="9074586" y="1084069"/>
                <a:ext cx="2259202" cy="82736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108" name="Rectangle 107"/>
            <p:cNvSpPr/>
            <p:nvPr/>
          </p:nvSpPr>
          <p:spPr>
            <a:xfrm>
              <a:off x="928086" y="1004635"/>
              <a:ext cx="2301535"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109" name="Group 108"/>
            <p:cNvGrpSpPr/>
            <p:nvPr/>
          </p:nvGrpSpPr>
          <p:grpSpPr>
            <a:xfrm>
              <a:off x="3707251" y="990600"/>
              <a:ext cx="2249749" cy="640080"/>
              <a:chOff x="3707251" y="1066800"/>
              <a:chExt cx="2249749" cy="814656"/>
            </a:xfrm>
          </p:grpSpPr>
          <p:sp>
            <p:nvSpPr>
              <p:cNvPr id="151" name="Rectangle 150"/>
              <p:cNvSpPr/>
              <p:nvPr/>
            </p:nvSpPr>
            <p:spPr>
              <a:xfrm>
                <a:off x="3707251" y="1066800"/>
                <a:ext cx="2249749" cy="814656"/>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52" name="Picture 1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9037" y="1320475"/>
                <a:ext cx="777732" cy="394918"/>
              </a:xfrm>
              <a:prstGeom prst="rect">
                <a:avLst/>
              </a:prstGeom>
            </p:spPr>
          </p:pic>
        </p:grpSp>
        <p:grpSp>
          <p:nvGrpSpPr>
            <p:cNvPr id="110" name="Group 109"/>
            <p:cNvGrpSpPr/>
            <p:nvPr/>
          </p:nvGrpSpPr>
          <p:grpSpPr>
            <a:xfrm>
              <a:off x="6381239" y="1004633"/>
              <a:ext cx="2181030" cy="639674"/>
              <a:chOff x="6381239" y="1080834"/>
              <a:chExt cx="2181030" cy="815347"/>
            </a:xfrm>
          </p:grpSpPr>
          <p:pic>
            <p:nvPicPr>
              <p:cNvPr id="148" name="Picture 1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8812" y="1517467"/>
                <a:ext cx="924045" cy="378714"/>
              </a:xfrm>
              <a:prstGeom prst="rect">
                <a:avLst/>
              </a:prstGeom>
            </p:spPr>
          </p:pic>
          <p:pic>
            <p:nvPicPr>
              <p:cNvPr id="149" name="Picture 1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79580" y="1200441"/>
                <a:ext cx="1428571" cy="340128"/>
              </a:xfrm>
              <a:prstGeom prst="rect">
                <a:avLst/>
              </a:prstGeom>
            </p:spPr>
          </p:pic>
          <p:sp>
            <p:nvSpPr>
              <p:cNvPr id="150" name="Rectangle 149"/>
              <p:cNvSpPr/>
              <p:nvPr/>
            </p:nvSpPr>
            <p:spPr>
              <a:xfrm>
                <a:off x="6381239" y="1080834"/>
                <a:ext cx="2181030" cy="814656"/>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111" name="Rounded Rectangle 110"/>
            <p:cNvSpPr/>
            <p:nvPr/>
          </p:nvSpPr>
          <p:spPr>
            <a:xfrm>
              <a:off x="859309" y="1717462"/>
              <a:ext cx="10618631" cy="3693329"/>
            </a:xfrm>
            <a:prstGeom prst="roundRect">
              <a:avLst/>
            </a:prstGeom>
            <a:solidFill>
              <a:schemeClr val="accent3">
                <a:lumMod val="40000"/>
                <a:lumOff val="6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sp>
          <p:nvSpPr>
            <p:cNvPr id="112" name="Rectangle 111"/>
            <p:cNvSpPr/>
            <p:nvPr/>
          </p:nvSpPr>
          <p:spPr>
            <a:xfrm>
              <a:off x="2792936" y="5532119"/>
              <a:ext cx="1812494"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13" name="Up Arrow 112"/>
            <p:cNvSpPr/>
            <p:nvPr/>
          </p:nvSpPr>
          <p:spPr>
            <a:xfrm>
              <a:off x="1973684"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grpSp>
          <p:nvGrpSpPr>
            <p:cNvPr id="114" name="Group 113"/>
            <p:cNvGrpSpPr/>
            <p:nvPr/>
          </p:nvGrpSpPr>
          <p:grpSpPr>
            <a:xfrm>
              <a:off x="7261841" y="5532120"/>
              <a:ext cx="2187351" cy="640080"/>
              <a:chOff x="7261841" y="5440561"/>
              <a:chExt cx="2187351" cy="780538"/>
            </a:xfrm>
          </p:grpSpPr>
          <p:sp>
            <p:nvSpPr>
              <p:cNvPr id="146" name="Rectangle 145"/>
              <p:cNvSpPr/>
              <p:nvPr/>
            </p:nvSpPr>
            <p:spPr>
              <a:xfrm>
                <a:off x="7261841" y="5440561"/>
                <a:ext cx="2187351" cy="780538"/>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47" name="Picture 146"/>
              <p:cNvPicPr>
                <a:picLocks noChangeAspect="1"/>
              </p:cNvPicPr>
              <p:nvPr/>
            </p:nvPicPr>
            <p:blipFill>
              <a:blip r:embed="rId6"/>
              <a:stretch>
                <a:fillRect/>
              </a:stretch>
            </p:blipFill>
            <p:spPr>
              <a:xfrm>
                <a:off x="7391624" y="5724897"/>
                <a:ext cx="1043989" cy="324019"/>
              </a:xfrm>
              <a:prstGeom prst="rect">
                <a:avLst/>
              </a:prstGeom>
            </p:spPr>
          </p:pic>
        </p:grpSp>
        <p:sp>
          <p:nvSpPr>
            <p:cNvPr id="115" name="Rectangle 114"/>
            <p:cNvSpPr/>
            <p:nvPr/>
          </p:nvSpPr>
          <p:spPr>
            <a:xfrm>
              <a:off x="4884862" y="5532119"/>
              <a:ext cx="2187351"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16" name="Picture 115"/>
            <p:cNvPicPr>
              <a:picLocks noChangeAspect="1"/>
            </p:cNvPicPr>
            <p:nvPr/>
          </p:nvPicPr>
          <p:blipFill>
            <a:blip r:embed="rId7"/>
            <a:stretch>
              <a:fillRect/>
            </a:stretch>
          </p:blipFill>
          <p:spPr>
            <a:xfrm>
              <a:off x="2559893" y="3124200"/>
              <a:ext cx="6549471" cy="660376"/>
            </a:xfrm>
            <a:prstGeom prst="rect">
              <a:avLst/>
            </a:prstGeom>
          </p:spPr>
        </p:pic>
        <p:sp>
          <p:nvSpPr>
            <p:cNvPr id="117" name="Double Bracket 116"/>
            <p:cNvSpPr/>
            <p:nvPr/>
          </p:nvSpPr>
          <p:spPr>
            <a:xfrm>
              <a:off x="1253870" y="2411038"/>
              <a:ext cx="2314312" cy="560763"/>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Prevent Integration problem</a:t>
              </a:r>
            </a:p>
            <a:p>
              <a:pPr marL="285750" indent="-285750">
                <a:buFont typeface="Arial" panose="020B0604020202020204" pitchFamily="34" charset="0"/>
                <a:buChar char="•"/>
              </a:pPr>
              <a:r>
                <a:rPr lang="en-US" sz="800" dirty="0" smtClean="0"/>
                <a:t>Committing Code frequently</a:t>
              </a:r>
            </a:p>
            <a:p>
              <a:pPr marL="285750" indent="-285750">
                <a:buFont typeface="Arial" panose="020B0604020202020204" pitchFamily="34" charset="0"/>
                <a:buChar char="•"/>
              </a:pPr>
              <a:endParaRPr lang="en-US" sz="800" dirty="0"/>
            </a:p>
          </p:txBody>
        </p:sp>
        <p:sp>
          <p:nvSpPr>
            <p:cNvPr id="118" name="Double Bracket 117"/>
            <p:cNvSpPr/>
            <p:nvPr/>
          </p:nvSpPr>
          <p:spPr>
            <a:xfrm>
              <a:off x="6167336" y="2209800"/>
              <a:ext cx="2394933" cy="831505"/>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Finding Bugs Early</a:t>
              </a:r>
            </a:p>
            <a:p>
              <a:pPr marL="285750" indent="-285750">
                <a:buFont typeface="Arial" panose="020B0604020202020204" pitchFamily="34" charset="0"/>
                <a:buChar char="•"/>
              </a:pPr>
              <a:r>
                <a:rPr lang="en-US" sz="800" dirty="0" smtClean="0"/>
                <a:t>Compliance to coding standards</a:t>
              </a:r>
            </a:p>
            <a:p>
              <a:pPr marL="285750" indent="-285750">
                <a:buFont typeface="Arial" panose="020B0604020202020204" pitchFamily="34" charset="0"/>
                <a:buChar char="•"/>
              </a:pPr>
              <a:r>
                <a:rPr lang="en-US" sz="800" dirty="0" smtClean="0"/>
                <a:t>Team Cohesion</a:t>
              </a:r>
            </a:p>
            <a:p>
              <a:pPr marL="285750" indent="-285750">
                <a:buFont typeface="Arial" panose="020B0604020202020204" pitchFamily="34" charset="0"/>
                <a:buChar char="•"/>
              </a:pPr>
              <a:r>
                <a:rPr lang="en-US" sz="800" dirty="0" smtClean="0"/>
                <a:t>Confidence of stakeholders</a:t>
              </a:r>
            </a:p>
            <a:p>
              <a:pPr marL="285750" indent="-285750">
                <a:buFont typeface="Arial" panose="020B0604020202020204" pitchFamily="34" charset="0"/>
                <a:buChar char="•"/>
              </a:pPr>
              <a:endParaRPr lang="en-US" sz="800" dirty="0"/>
            </a:p>
          </p:txBody>
        </p:sp>
        <p:sp>
          <p:nvSpPr>
            <p:cNvPr id="119" name="Double Bracket 118"/>
            <p:cNvSpPr/>
            <p:nvPr/>
          </p:nvSpPr>
          <p:spPr>
            <a:xfrm>
              <a:off x="3654869" y="2452885"/>
              <a:ext cx="2010080" cy="518914"/>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Greater Portability</a:t>
              </a:r>
            </a:p>
            <a:p>
              <a:pPr marL="285750" indent="-285750">
                <a:buFont typeface="Arial" panose="020B0604020202020204" pitchFamily="34" charset="0"/>
                <a:buChar char="•"/>
              </a:pPr>
              <a:r>
                <a:rPr lang="en-US" sz="800" dirty="0" smtClean="0"/>
                <a:t>Compilation error free code</a:t>
              </a:r>
            </a:p>
            <a:p>
              <a:pPr marL="285750" indent="-285750">
                <a:buFont typeface="Arial" panose="020B0604020202020204" pitchFamily="34" charset="0"/>
                <a:buChar char="•"/>
              </a:pPr>
              <a:endParaRPr lang="en-US" sz="800" dirty="0"/>
            </a:p>
          </p:txBody>
        </p:sp>
        <p:sp>
          <p:nvSpPr>
            <p:cNvPr id="120" name="Double Bracket 119"/>
            <p:cNvSpPr/>
            <p:nvPr/>
          </p:nvSpPr>
          <p:spPr>
            <a:xfrm>
              <a:off x="8742265" y="2238605"/>
              <a:ext cx="2532300" cy="885595"/>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Reduces bugs in Prod code</a:t>
              </a:r>
            </a:p>
            <a:p>
              <a:pPr marL="285750" indent="-285750">
                <a:buFont typeface="Arial" panose="020B0604020202020204" pitchFamily="34" charset="0"/>
                <a:buChar char="•"/>
              </a:pPr>
              <a:r>
                <a:rPr lang="en-US" sz="800" dirty="0" smtClean="0"/>
                <a:t>Code change and refactoring </a:t>
              </a:r>
            </a:p>
            <a:p>
              <a:pPr marL="285750" indent="-285750">
                <a:buFont typeface="Arial" panose="020B0604020202020204" pitchFamily="34" charset="0"/>
                <a:buChar char="•"/>
              </a:pPr>
              <a:r>
                <a:rPr lang="en-US" sz="800" dirty="0" smtClean="0"/>
                <a:t>Improves the code design</a:t>
              </a:r>
            </a:p>
            <a:p>
              <a:pPr marL="285750" indent="-285750">
                <a:buFont typeface="Arial" panose="020B0604020202020204" pitchFamily="34" charset="0"/>
                <a:buChar char="•"/>
              </a:pPr>
              <a:r>
                <a:rPr lang="en-US" sz="800" dirty="0" smtClean="0"/>
                <a:t>Facilitate documentation</a:t>
              </a:r>
            </a:p>
            <a:p>
              <a:pPr marL="285750" indent="-285750">
                <a:buFont typeface="Arial" panose="020B0604020202020204" pitchFamily="34" charset="0"/>
                <a:buChar char="•"/>
              </a:pPr>
              <a:r>
                <a:rPr lang="en-US" sz="800" dirty="0" smtClean="0"/>
                <a:t>Measure of completion.</a:t>
              </a:r>
            </a:p>
            <a:p>
              <a:pPr marL="285750" indent="-285750">
                <a:buFont typeface="Arial" panose="020B0604020202020204" pitchFamily="34" charset="0"/>
                <a:buChar char="•"/>
              </a:pPr>
              <a:endParaRPr lang="en-US" sz="800" dirty="0"/>
            </a:p>
          </p:txBody>
        </p:sp>
        <p:sp>
          <p:nvSpPr>
            <p:cNvPr id="121" name="Double Bracket 120"/>
            <p:cNvSpPr/>
            <p:nvPr/>
          </p:nvSpPr>
          <p:spPr>
            <a:xfrm>
              <a:off x="8185926" y="3846344"/>
              <a:ext cx="2700209" cy="11828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Improved software quality</a:t>
              </a:r>
            </a:p>
            <a:p>
              <a:pPr marL="285750" indent="-285750">
                <a:buFont typeface="Arial" panose="020B0604020202020204" pitchFamily="34" charset="0"/>
                <a:buChar char="•"/>
              </a:pPr>
              <a:r>
                <a:rPr lang="en-US" sz="800" dirty="0" smtClean="0"/>
                <a:t>Reduce Compile and linking time</a:t>
              </a:r>
            </a:p>
            <a:p>
              <a:pPr marL="285750" indent="-285750">
                <a:buFont typeface="Arial" panose="020B0604020202020204" pitchFamily="34" charset="0"/>
                <a:buChar char="•"/>
              </a:pPr>
              <a:r>
                <a:rPr lang="en-US" sz="800" dirty="0" smtClean="0"/>
                <a:t>Minimize broken builds</a:t>
              </a:r>
            </a:p>
            <a:p>
              <a:pPr marL="285750" indent="-285750">
                <a:buFont typeface="Arial" panose="020B0604020202020204" pitchFamily="34" charset="0"/>
                <a:buChar char="•"/>
              </a:pPr>
              <a:r>
                <a:rPr lang="en-US" sz="800" dirty="0" smtClean="0"/>
                <a:t>Improved Traceability</a:t>
              </a:r>
            </a:p>
            <a:p>
              <a:pPr marL="285750" indent="-285750">
                <a:buFont typeface="Arial" panose="020B0604020202020204" pitchFamily="34" charset="0"/>
                <a:buChar char="•"/>
              </a:pPr>
              <a:r>
                <a:rPr lang="en-US" sz="800" dirty="0" smtClean="0"/>
                <a:t>Build on Check-ins</a:t>
              </a:r>
            </a:p>
            <a:p>
              <a:pPr marL="285750" indent="-285750">
                <a:buFont typeface="Arial" panose="020B0604020202020204" pitchFamily="34" charset="0"/>
                <a:buChar char="•"/>
              </a:pPr>
              <a:endParaRPr lang="en-US" sz="800" dirty="0"/>
            </a:p>
          </p:txBody>
        </p:sp>
        <p:sp>
          <p:nvSpPr>
            <p:cNvPr id="122" name="Double Bracket 121"/>
            <p:cNvSpPr/>
            <p:nvPr/>
          </p:nvSpPr>
          <p:spPr>
            <a:xfrm>
              <a:off x="2338773" y="3810000"/>
              <a:ext cx="2280796" cy="11066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Efficient Testing</a:t>
              </a:r>
            </a:p>
            <a:p>
              <a:pPr marL="285750" indent="-285750">
                <a:buFont typeface="Arial" panose="020B0604020202020204" pitchFamily="34" charset="0"/>
                <a:buChar char="•"/>
              </a:pPr>
              <a:r>
                <a:rPr lang="en-US" sz="800" dirty="0" smtClean="0"/>
                <a:t>Up gradation and Reusability</a:t>
              </a:r>
            </a:p>
            <a:p>
              <a:pPr marL="285750" indent="-285750">
                <a:buFont typeface="Arial" panose="020B0604020202020204" pitchFamily="34" charset="0"/>
                <a:buChar char="•"/>
              </a:pPr>
              <a:r>
                <a:rPr lang="en-US" sz="800" dirty="0" smtClean="0"/>
                <a:t>Consistency</a:t>
              </a:r>
            </a:p>
            <a:p>
              <a:pPr marL="285750" indent="-285750">
                <a:buFont typeface="Arial" panose="020B0604020202020204" pitchFamily="34" charset="0"/>
                <a:buChar char="•"/>
              </a:pPr>
              <a:r>
                <a:rPr lang="en-US" sz="800" dirty="0" smtClean="0"/>
                <a:t>User environment simulation</a:t>
              </a:r>
            </a:p>
            <a:p>
              <a:pPr marL="285750" indent="-285750">
                <a:buFont typeface="Arial" panose="020B0604020202020204" pitchFamily="34" charset="0"/>
                <a:buChar char="•"/>
              </a:pPr>
              <a:r>
                <a:rPr lang="en-US" sz="800" dirty="0" smtClean="0"/>
                <a:t>Increased Test Coverage</a:t>
              </a:r>
            </a:p>
            <a:p>
              <a:pPr marL="285750" indent="-285750">
                <a:buFont typeface="Arial" panose="020B0604020202020204" pitchFamily="34" charset="0"/>
                <a:buChar char="•"/>
              </a:pPr>
              <a:endParaRPr lang="en-US" sz="800" dirty="0"/>
            </a:p>
          </p:txBody>
        </p:sp>
        <p:sp>
          <p:nvSpPr>
            <p:cNvPr id="123" name="Double Bracket 122"/>
            <p:cNvSpPr/>
            <p:nvPr/>
          </p:nvSpPr>
          <p:spPr>
            <a:xfrm>
              <a:off x="5133118" y="3810000"/>
              <a:ext cx="2577730" cy="11828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Speed up deployment</a:t>
              </a:r>
            </a:p>
            <a:p>
              <a:pPr marL="285750" indent="-285750">
                <a:buFont typeface="Arial" panose="020B0604020202020204" pitchFamily="34" charset="0"/>
                <a:buChar char="•"/>
              </a:pPr>
              <a:r>
                <a:rPr lang="en-US" sz="800" dirty="0" smtClean="0"/>
                <a:t>Reducing errors and failed deployments</a:t>
              </a:r>
            </a:p>
            <a:p>
              <a:pPr marL="285750" indent="-285750">
                <a:buFont typeface="Arial" panose="020B0604020202020204" pitchFamily="34" charset="0"/>
                <a:buChar char="•"/>
              </a:pPr>
              <a:r>
                <a:rPr lang="en-US" sz="800" dirty="0" smtClean="0"/>
                <a:t>Visibility on deployment status of application and environments.</a:t>
              </a:r>
            </a:p>
          </p:txBody>
        </p:sp>
        <p:sp>
          <p:nvSpPr>
            <p:cNvPr id="124" name="Up Arrow 123"/>
            <p:cNvSpPr/>
            <p:nvPr/>
          </p:nvSpPr>
          <p:spPr>
            <a:xfrm>
              <a:off x="4779692"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5" name="Up Arrow 124"/>
            <p:cNvSpPr/>
            <p:nvPr/>
          </p:nvSpPr>
          <p:spPr>
            <a:xfrm>
              <a:off x="10200185"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6" name="Up Arrow 125"/>
            <p:cNvSpPr/>
            <p:nvPr/>
          </p:nvSpPr>
          <p:spPr>
            <a:xfrm>
              <a:off x="7261417" y="1623815"/>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7" name="Up Arrow 126"/>
            <p:cNvSpPr/>
            <p:nvPr/>
          </p:nvSpPr>
          <p:spPr>
            <a:xfrm flipV="1">
              <a:off x="10382930" y="5252125"/>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8" name="Up Arrow 127"/>
            <p:cNvSpPr/>
            <p:nvPr/>
          </p:nvSpPr>
          <p:spPr>
            <a:xfrm flipV="1">
              <a:off x="8268349" y="5249806"/>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9" name="Up Arrow 128"/>
            <p:cNvSpPr/>
            <p:nvPr/>
          </p:nvSpPr>
          <p:spPr>
            <a:xfrm flipV="1">
              <a:off x="5956999" y="5262868"/>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0" name="Up Arrow 129"/>
            <p:cNvSpPr/>
            <p:nvPr/>
          </p:nvSpPr>
          <p:spPr>
            <a:xfrm flipV="1">
              <a:off x="3568183" y="5260933"/>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1" name="Up Arrow 130"/>
            <p:cNvSpPr/>
            <p:nvPr/>
          </p:nvSpPr>
          <p:spPr>
            <a:xfrm flipV="1">
              <a:off x="1596800" y="5250122"/>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2" name="Rectangle 131"/>
            <p:cNvSpPr/>
            <p:nvPr/>
          </p:nvSpPr>
          <p:spPr>
            <a:xfrm>
              <a:off x="748473" y="5504352"/>
              <a:ext cx="1854835"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133" name="Group 132"/>
            <p:cNvGrpSpPr/>
            <p:nvPr/>
          </p:nvGrpSpPr>
          <p:grpSpPr>
            <a:xfrm>
              <a:off x="9591954" y="5524172"/>
              <a:ext cx="2002625" cy="640080"/>
              <a:chOff x="9591955" y="5421342"/>
              <a:chExt cx="2002625" cy="797343"/>
            </a:xfrm>
          </p:grpSpPr>
          <p:sp>
            <p:nvSpPr>
              <p:cNvPr id="144" name="Rectangle 143"/>
              <p:cNvSpPr/>
              <p:nvPr/>
            </p:nvSpPr>
            <p:spPr>
              <a:xfrm>
                <a:off x="9591955" y="5421342"/>
                <a:ext cx="2002625" cy="797343"/>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45" name="Picture 1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08673" y="5687095"/>
                <a:ext cx="777732" cy="394918"/>
              </a:xfrm>
              <a:prstGeom prst="rect">
                <a:avLst/>
              </a:prstGeom>
            </p:spPr>
          </p:pic>
        </p:grpSp>
        <p:graphicFrame>
          <p:nvGraphicFramePr>
            <p:cNvPr id="134" name="Content Placeholder 5"/>
            <p:cNvGraphicFramePr>
              <a:graphicFrameLocks/>
            </p:cNvGraphicFramePr>
            <p:nvPr>
              <p:extLst/>
            </p:nvPr>
          </p:nvGraphicFramePr>
          <p:xfrm>
            <a:off x="925748" y="983825"/>
            <a:ext cx="10515600" cy="510212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36" name="Picture 13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63229" y="5690626"/>
              <a:ext cx="739795" cy="369897"/>
            </a:xfrm>
            <a:prstGeom prst="rect">
              <a:avLst/>
            </a:prstGeom>
          </p:spPr>
        </p:pic>
        <p:pic>
          <p:nvPicPr>
            <p:cNvPr id="137" name="Picture 6" descr="Related imag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959268" y="5585465"/>
              <a:ext cx="1145805" cy="565331"/>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3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304382" y="5566724"/>
              <a:ext cx="686291" cy="686291"/>
            </a:xfrm>
            <a:prstGeom prst="rect">
              <a:avLst/>
            </a:prstGeom>
          </p:spPr>
        </p:pic>
        <p:pic>
          <p:nvPicPr>
            <p:cNvPr id="139" name="Picture 13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023290" y="5693130"/>
              <a:ext cx="784207" cy="361406"/>
            </a:xfrm>
            <a:prstGeom prst="rect">
              <a:avLst/>
            </a:prstGeom>
            <a:solidFill>
              <a:schemeClr val="accent2"/>
            </a:solidFill>
            <a:ln>
              <a:solidFill>
                <a:schemeClr val="accent1"/>
              </a:solidFill>
            </a:ln>
          </p:spPr>
        </p:pic>
      </p:grpSp>
      <p:sp>
        <p:nvSpPr>
          <p:cNvPr id="54" name="Rectangle 5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6" name="Picture 2" descr="https://www.naranja.com/images/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19"/>
          <a:stretch>
            <a:fillRect/>
          </a:stretch>
        </p:blipFill>
        <p:spPr>
          <a:xfrm>
            <a:off x="1123932" y="754023"/>
            <a:ext cx="352580" cy="386591"/>
          </a:xfrm>
          <a:prstGeom prst="rect">
            <a:avLst/>
          </a:prstGeom>
        </p:spPr>
      </p:pic>
      <p:pic>
        <p:nvPicPr>
          <p:cNvPr id="59" name="Picture 58"/>
          <p:cNvPicPr>
            <a:picLocks noChangeAspect="1"/>
          </p:cNvPicPr>
          <p:nvPr/>
        </p:nvPicPr>
        <p:blipFill>
          <a:blip r:embed="rId20"/>
          <a:stretch>
            <a:fillRect/>
          </a:stretch>
        </p:blipFill>
        <p:spPr>
          <a:xfrm>
            <a:off x="6575870" y="4352784"/>
            <a:ext cx="681926" cy="146732"/>
          </a:xfrm>
          <a:prstGeom prst="rect">
            <a:avLst/>
          </a:prstGeom>
        </p:spPr>
      </p:pic>
      <p:pic>
        <p:nvPicPr>
          <p:cNvPr id="60" name="Picture 59"/>
          <p:cNvPicPr>
            <a:picLocks noChangeAspect="1"/>
          </p:cNvPicPr>
          <p:nvPr/>
        </p:nvPicPr>
        <p:blipFill>
          <a:blip r:embed="rId21">
            <a:clrChange>
              <a:clrFrom>
                <a:srgbClr val="FFFFFF"/>
              </a:clrFrom>
              <a:clrTo>
                <a:srgbClr val="FFFFFF">
                  <a:alpha val="0"/>
                </a:srgbClr>
              </a:clrTo>
            </a:clrChange>
          </a:blip>
          <a:stretch>
            <a:fillRect/>
          </a:stretch>
        </p:blipFill>
        <p:spPr>
          <a:xfrm>
            <a:off x="2720928" y="4396729"/>
            <a:ext cx="548640" cy="117339"/>
          </a:xfrm>
          <a:prstGeom prst="rect">
            <a:avLst/>
          </a:prstGeom>
        </p:spPr>
      </p:pic>
      <p:pic>
        <p:nvPicPr>
          <p:cNvPr id="53" name="Picture 5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316575" y="4169301"/>
            <a:ext cx="561262" cy="114182"/>
          </a:xfrm>
          <a:prstGeom prst="rect">
            <a:avLst/>
          </a:prstGeom>
        </p:spPr>
        <p:style>
          <a:lnRef idx="0">
            <a:schemeClr val="accent5"/>
          </a:lnRef>
          <a:fillRef idx="3">
            <a:schemeClr val="accent5"/>
          </a:fillRef>
          <a:effectRef idx="3">
            <a:schemeClr val="accent5"/>
          </a:effectRef>
          <a:fontRef idx="minor">
            <a:schemeClr val="lt1"/>
          </a:fontRef>
        </p:style>
      </p:pic>
      <p:pic>
        <p:nvPicPr>
          <p:cNvPr id="55" name="Picture 54"/>
          <p:cNvPicPr>
            <a:picLocks noChangeAspect="1"/>
          </p:cNvPicPr>
          <p:nvPr/>
        </p:nvPicPr>
        <p:blipFill>
          <a:blip r:embed="rId20"/>
          <a:stretch>
            <a:fillRect/>
          </a:stretch>
        </p:blipFill>
        <p:spPr>
          <a:xfrm>
            <a:off x="5953498" y="2622271"/>
            <a:ext cx="681926" cy="146732"/>
          </a:xfrm>
          <a:prstGeom prst="rect">
            <a:avLst/>
          </a:prstGeom>
        </p:spPr>
      </p:pic>
    </p:spTree>
    <p:extLst>
      <p:ext uri="{BB962C8B-B14F-4D97-AF65-F5344CB8AC3E}">
        <p14:creationId xmlns:p14="http://schemas.microsoft.com/office/powerpoint/2010/main" val="314855822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103"/>
          <p:cNvGrpSpPr/>
          <p:nvPr/>
        </p:nvGrpSpPr>
        <p:grpSpPr>
          <a:xfrm>
            <a:off x="35857" y="627602"/>
            <a:ext cx="9061430" cy="4006922"/>
            <a:chOff x="748472" y="990600"/>
            <a:chExt cx="10846107" cy="5181600"/>
          </a:xfrm>
        </p:grpSpPr>
        <p:sp>
          <p:nvSpPr>
            <p:cNvPr id="111" name="Rounded Rectangle 110"/>
            <p:cNvSpPr/>
            <p:nvPr/>
          </p:nvSpPr>
          <p:spPr>
            <a:xfrm>
              <a:off x="859309" y="1717462"/>
              <a:ext cx="10618631" cy="3693329"/>
            </a:xfrm>
            <a:prstGeom prst="roundRect">
              <a:avLst/>
            </a:prstGeom>
            <a:solidFill>
              <a:schemeClr val="accent3">
                <a:lumMod val="40000"/>
                <a:lumOff val="6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F0"/>
                </a:solidFill>
              </a:endParaRPr>
            </a:p>
          </p:txBody>
        </p:sp>
        <p:graphicFrame>
          <p:nvGraphicFramePr>
            <p:cNvPr id="134" name="Content Placeholder 5"/>
            <p:cNvGraphicFramePr>
              <a:graphicFrameLocks/>
            </p:cNvGraphicFramePr>
            <p:nvPr>
              <p:extLst>
                <p:ext uri="{D42A27DB-BD31-4B8C-83A1-F6EECF244321}">
                  <p14:modId xmlns:p14="http://schemas.microsoft.com/office/powerpoint/2010/main" val="855184121"/>
                </p:ext>
              </p:extLst>
            </p:nvPr>
          </p:nvGraphicFramePr>
          <p:xfrm>
            <a:off x="1040347" y="1067123"/>
            <a:ext cx="10515600" cy="51021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5" name="Picture 10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37359" y="5605452"/>
              <a:ext cx="1737205" cy="527108"/>
            </a:xfrm>
            <a:prstGeom prst="rect">
              <a:avLst/>
            </a:prstGeom>
          </p:spPr>
        </p:pic>
        <p:sp>
          <p:nvSpPr>
            <p:cNvPr id="154" name="Rectangle 153"/>
            <p:cNvSpPr/>
            <p:nvPr/>
          </p:nvSpPr>
          <p:spPr>
            <a:xfrm>
              <a:off x="9074586" y="1007770"/>
              <a:ext cx="2259202" cy="639742"/>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08" name="Rectangle 107"/>
            <p:cNvSpPr/>
            <p:nvPr/>
          </p:nvSpPr>
          <p:spPr>
            <a:xfrm>
              <a:off x="928086" y="1004635"/>
              <a:ext cx="2301535"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51" name="Rectangle 150"/>
            <p:cNvSpPr/>
            <p:nvPr/>
          </p:nvSpPr>
          <p:spPr>
            <a:xfrm>
              <a:off x="3707252" y="990600"/>
              <a:ext cx="2249749"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110" name="Group 109"/>
            <p:cNvGrpSpPr/>
            <p:nvPr/>
          </p:nvGrpSpPr>
          <p:grpSpPr>
            <a:xfrm>
              <a:off x="6381239" y="1004633"/>
              <a:ext cx="2181030" cy="639674"/>
              <a:chOff x="6381239" y="1080834"/>
              <a:chExt cx="2181030" cy="815347"/>
            </a:xfrm>
          </p:grpSpPr>
          <p:pic>
            <p:nvPicPr>
              <p:cNvPr id="148" name="Picture 14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8812" y="1517467"/>
                <a:ext cx="924045" cy="378714"/>
              </a:xfrm>
              <a:prstGeom prst="rect">
                <a:avLst/>
              </a:prstGeom>
            </p:spPr>
          </p:pic>
          <p:pic>
            <p:nvPicPr>
              <p:cNvPr id="149" name="Picture 14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79580" y="1200441"/>
                <a:ext cx="1428571" cy="340128"/>
              </a:xfrm>
              <a:prstGeom prst="rect">
                <a:avLst/>
              </a:prstGeom>
            </p:spPr>
          </p:pic>
          <p:sp>
            <p:nvSpPr>
              <p:cNvPr id="150" name="Rectangle 149"/>
              <p:cNvSpPr/>
              <p:nvPr/>
            </p:nvSpPr>
            <p:spPr>
              <a:xfrm>
                <a:off x="6381239" y="1080834"/>
                <a:ext cx="2181030" cy="814656"/>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
          <p:nvSpPr>
            <p:cNvPr id="112" name="Rectangle 111"/>
            <p:cNvSpPr/>
            <p:nvPr/>
          </p:nvSpPr>
          <p:spPr>
            <a:xfrm>
              <a:off x="2792936" y="5532119"/>
              <a:ext cx="1812494"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13" name="Up Arrow 112"/>
            <p:cNvSpPr/>
            <p:nvPr/>
          </p:nvSpPr>
          <p:spPr>
            <a:xfrm>
              <a:off x="1973684"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grpSp>
          <p:nvGrpSpPr>
            <p:cNvPr id="114" name="Group 113"/>
            <p:cNvGrpSpPr/>
            <p:nvPr/>
          </p:nvGrpSpPr>
          <p:grpSpPr>
            <a:xfrm>
              <a:off x="7261841" y="5532120"/>
              <a:ext cx="2187351" cy="640080"/>
              <a:chOff x="7261841" y="5440561"/>
              <a:chExt cx="2187351" cy="780538"/>
            </a:xfrm>
          </p:grpSpPr>
          <p:sp>
            <p:nvSpPr>
              <p:cNvPr id="146" name="Rectangle 145"/>
              <p:cNvSpPr/>
              <p:nvPr/>
            </p:nvSpPr>
            <p:spPr>
              <a:xfrm>
                <a:off x="7261841" y="5440561"/>
                <a:ext cx="2187351" cy="780538"/>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47" name="Picture 146"/>
              <p:cNvPicPr>
                <a:picLocks noChangeAspect="1"/>
              </p:cNvPicPr>
              <p:nvPr/>
            </p:nvPicPr>
            <p:blipFill>
              <a:blip r:embed="rId10"/>
              <a:stretch>
                <a:fillRect/>
              </a:stretch>
            </p:blipFill>
            <p:spPr>
              <a:xfrm>
                <a:off x="7413531" y="5671432"/>
                <a:ext cx="1043989" cy="324020"/>
              </a:xfrm>
              <a:prstGeom prst="rect">
                <a:avLst/>
              </a:prstGeom>
            </p:spPr>
          </p:pic>
        </p:grpSp>
        <p:sp>
          <p:nvSpPr>
            <p:cNvPr id="115" name="Rectangle 114"/>
            <p:cNvSpPr/>
            <p:nvPr/>
          </p:nvSpPr>
          <p:spPr>
            <a:xfrm>
              <a:off x="4884862" y="5532119"/>
              <a:ext cx="2187351"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16" name="Picture 115"/>
            <p:cNvPicPr>
              <a:picLocks noChangeAspect="1"/>
            </p:cNvPicPr>
            <p:nvPr/>
          </p:nvPicPr>
          <p:blipFill>
            <a:blip r:embed="rId11"/>
            <a:stretch>
              <a:fillRect/>
            </a:stretch>
          </p:blipFill>
          <p:spPr>
            <a:xfrm>
              <a:off x="2559893" y="3124200"/>
              <a:ext cx="6549471" cy="660376"/>
            </a:xfrm>
            <a:prstGeom prst="rect">
              <a:avLst/>
            </a:prstGeom>
          </p:spPr>
        </p:pic>
        <p:sp>
          <p:nvSpPr>
            <p:cNvPr id="117" name="Double Bracket 116"/>
            <p:cNvSpPr/>
            <p:nvPr/>
          </p:nvSpPr>
          <p:spPr>
            <a:xfrm>
              <a:off x="1253870" y="2411038"/>
              <a:ext cx="2314312" cy="560763"/>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Prevent Integration problem</a:t>
              </a:r>
            </a:p>
            <a:p>
              <a:pPr marL="285750" indent="-285750">
                <a:buFont typeface="Arial" panose="020B0604020202020204" pitchFamily="34" charset="0"/>
                <a:buChar char="•"/>
              </a:pPr>
              <a:r>
                <a:rPr lang="en-US" sz="800" dirty="0" smtClean="0"/>
                <a:t>Committing Code frequently</a:t>
              </a:r>
            </a:p>
            <a:p>
              <a:pPr marL="285750" indent="-285750">
                <a:buFont typeface="Arial" panose="020B0604020202020204" pitchFamily="34" charset="0"/>
                <a:buChar char="•"/>
              </a:pPr>
              <a:endParaRPr lang="en-US" sz="800" dirty="0"/>
            </a:p>
          </p:txBody>
        </p:sp>
        <p:sp>
          <p:nvSpPr>
            <p:cNvPr id="118" name="Double Bracket 117"/>
            <p:cNvSpPr/>
            <p:nvPr/>
          </p:nvSpPr>
          <p:spPr>
            <a:xfrm>
              <a:off x="6167336" y="2209800"/>
              <a:ext cx="2394933" cy="831505"/>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Finding Bugs Early</a:t>
              </a:r>
            </a:p>
            <a:p>
              <a:pPr marL="285750" indent="-285750">
                <a:buFont typeface="Arial" panose="020B0604020202020204" pitchFamily="34" charset="0"/>
                <a:buChar char="•"/>
              </a:pPr>
              <a:r>
                <a:rPr lang="en-US" sz="800" dirty="0" smtClean="0"/>
                <a:t>Compliance to coding standards</a:t>
              </a:r>
            </a:p>
            <a:p>
              <a:pPr marL="285750" indent="-285750">
                <a:buFont typeface="Arial" panose="020B0604020202020204" pitchFamily="34" charset="0"/>
                <a:buChar char="•"/>
              </a:pPr>
              <a:r>
                <a:rPr lang="en-US" sz="800" dirty="0" smtClean="0"/>
                <a:t>Team Cohesion</a:t>
              </a:r>
            </a:p>
            <a:p>
              <a:pPr marL="285750" indent="-285750">
                <a:buFont typeface="Arial" panose="020B0604020202020204" pitchFamily="34" charset="0"/>
                <a:buChar char="•"/>
              </a:pPr>
              <a:r>
                <a:rPr lang="en-US" sz="800" dirty="0" smtClean="0"/>
                <a:t>Confidence of stakeholders</a:t>
              </a:r>
            </a:p>
            <a:p>
              <a:pPr marL="285750" indent="-285750">
                <a:buFont typeface="Arial" panose="020B0604020202020204" pitchFamily="34" charset="0"/>
                <a:buChar char="•"/>
              </a:pPr>
              <a:endParaRPr lang="en-US" sz="800" dirty="0"/>
            </a:p>
          </p:txBody>
        </p:sp>
        <p:sp>
          <p:nvSpPr>
            <p:cNvPr id="119" name="Double Bracket 118"/>
            <p:cNvSpPr/>
            <p:nvPr/>
          </p:nvSpPr>
          <p:spPr>
            <a:xfrm>
              <a:off x="3654869" y="2452885"/>
              <a:ext cx="2010080" cy="518914"/>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Greater Portability</a:t>
              </a:r>
            </a:p>
            <a:p>
              <a:pPr marL="285750" indent="-285750">
                <a:buFont typeface="Arial" panose="020B0604020202020204" pitchFamily="34" charset="0"/>
                <a:buChar char="•"/>
              </a:pPr>
              <a:r>
                <a:rPr lang="en-US" sz="800" dirty="0" smtClean="0"/>
                <a:t>Compilation error free code</a:t>
              </a:r>
            </a:p>
            <a:p>
              <a:pPr marL="285750" indent="-285750">
                <a:buFont typeface="Arial" panose="020B0604020202020204" pitchFamily="34" charset="0"/>
                <a:buChar char="•"/>
              </a:pPr>
              <a:endParaRPr lang="en-US" sz="800" dirty="0"/>
            </a:p>
          </p:txBody>
        </p:sp>
        <p:sp>
          <p:nvSpPr>
            <p:cNvPr id="120" name="Double Bracket 119"/>
            <p:cNvSpPr/>
            <p:nvPr/>
          </p:nvSpPr>
          <p:spPr>
            <a:xfrm>
              <a:off x="8742265" y="2238605"/>
              <a:ext cx="2532300" cy="885595"/>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Reduces bugs in Prod code</a:t>
              </a:r>
            </a:p>
            <a:p>
              <a:pPr marL="285750" indent="-285750">
                <a:buFont typeface="Arial" panose="020B0604020202020204" pitchFamily="34" charset="0"/>
                <a:buChar char="•"/>
              </a:pPr>
              <a:r>
                <a:rPr lang="en-US" sz="800" dirty="0" smtClean="0"/>
                <a:t>Code change and refactoring </a:t>
              </a:r>
            </a:p>
            <a:p>
              <a:pPr marL="285750" indent="-285750">
                <a:buFont typeface="Arial" panose="020B0604020202020204" pitchFamily="34" charset="0"/>
                <a:buChar char="•"/>
              </a:pPr>
              <a:r>
                <a:rPr lang="en-US" sz="800" dirty="0" smtClean="0"/>
                <a:t>Improves the code design</a:t>
              </a:r>
            </a:p>
            <a:p>
              <a:pPr marL="285750" indent="-285750">
                <a:buFont typeface="Arial" panose="020B0604020202020204" pitchFamily="34" charset="0"/>
                <a:buChar char="•"/>
              </a:pPr>
              <a:r>
                <a:rPr lang="en-US" sz="800" dirty="0" smtClean="0"/>
                <a:t>Facilitate documentation</a:t>
              </a:r>
            </a:p>
            <a:p>
              <a:pPr marL="285750" indent="-285750">
                <a:buFont typeface="Arial" panose="020B0604020202020204" pitchFamily="34" charset="0"/>
                <a:buChar char="•"/>
              </a:pPr>
              <a:r>
                <a:rPr lang="en-US" sz="800" dirty="0" smtClean="0"/>
                <a:t>Measure of completion.</a:t>
              </a:r>
            </a:p>
            <a:p>
              <a:pPr marL="285750" indent="-285750">
                <a:buFont typeface="Arial" panose="020B0604020202020204" pitchFamily="34" charset="0"/>
                <a:buChar char="•"/>
              </a:pPr>
              <a:endParaRPr lang="en-US" sz="800" dirty="0"/>
            </a:p>
          </p:txBody>
        </p:sp>
        <p:sp>
          <p:nvSpPr>
            <p:cNvPr id="121" name="Double Bracket 120"/>
            <p:cNvSpPr/>
            <p:nvPr/>
          </p:nvSpPr>
          <p:spPr>
            <a:xfrm>
              <a:off x="8185926" y="3846344"/>
              <a:ext cx="2700209" cy="11828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Improved software quality</a:t>
              </a:r>
            </a:p>
            <a:p>
              <a:pPr marL="285750" indent="-285750">
                <a:buFont typeface="Arial" panose="020B0604020202020204" pitchFamily="34" charset="0"/>
                <a:buChar char="•"/>
              </a:pPr>
              <a:r>
                <a:rPr lang="en-US" sz="800" dirty="0" smtClean="0"/>
                <a:t>Reduce Compile and linking time</a:t>
              </a:r>
            </a:p>
            <a:p>
              <a:pPr marL="285750" indent="-285750">
                <a:buFont typeface="Arial" panose="020B0604020202020204" pitchFamily="34" charset="0"/>
                <a:buChar char="•"/>
              </a:pPr>
              <a:r>
                <a:rPr lang="en-US" sz="800" dirty="0" smtClean="0"/>
                <a:t>Minimize broken builds</a:t>
              </a:r>
            </a:p>
            <a:p>
              <a:pPr marL="285750" indent="-285750">
                <a:buFont typeface="Arial" panose="020B0604020202020204" pitchFamily="34" charset="0"/>
                <a:buChar char="•"/>
              </a:pPr>
              <a:r>
                <a:rPr lang="en-US" sz="800" dirty="0" smtClean="0"/>
                <a:t>Improved Traceability</a:t>
              </a:r>
            </a:p>
            <a:p>
              <a:pPr marL="285750" indent="-285750">
                <a:buFont typeface="Arial" panose="020B0604020202020204" pitchFamily="34" charset="0"/>
                <a:buChar char="•"/>
              </a:pPr>
              <a:r>
                <a:rPr lang="en-US" sz="800" dirty="0" smtClean="0"/>
                <a:t>Build on Check-ins</a:t>
              </a:r>
            </a:p>
            <a:p>
              <a:pPr marL="285750" indent="-285750">
                <a:buFont typeface="Arial" panose="020B0604020202020204" pitchFamily="34" charset="0"/>
                <a:buChar char="•"/>
              </a:pPr>
              <a:endParaRPr lang="en-US" sz="800" dirty="0"/>
            </a:p>
          </p:txBody>
        </p:sp>
        <p:sp>
          <p:nvSpPr>
            <p:cNvPr id="122" name="Double Bracket 121"/>
            <p:cNvSpPr/>
            <p:nvPr/>
          </p:nvSpPr>
          <p:spPr>
            <a:xfrm>
              <a:off x="2338773" y="3810000"/>
              <a:ext cx="2280796" cy="11066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Efficient Testing</a:t>
              </a:r>
            </a:p>
            <a:p>
              <a:pPr marL="285750" indent="-285750">
                <a:buFont typeface="Arial" panose="020B0604020202020204" pitchFamily="34" charset="0"/>
                <a:buChar char="•"/>
              </a:pPr>
              <a:r>
                <a:rPr lang="en-US" sz="800" dirty="0" smtClean="0"/>
                <a:t>Up gradation and Reusability</a:t>
              </a:r>
            </a:p>
            <a:p>
              <a:pPr marL="285750" indent="-285750">
                <a:buFont typeface="Arial" panose="020B0604020202020204" pitchFamily="34" charset="0"/>
                <a:buChar char="•"/>
              </a:pPr>
              <a:r>
                <a:rPr lang="en-US" sz="800" dirty="0" smtClean="0"/>
                <a:t>Consistency</a:t>
              </a:r>
            </a:p>
            <a:p>
              <a:pPr marL="285750" indent="-285750">
                <a:buFont typeface="Arial" panose="020B0604020202020204" pitchFamily="34" charset="0"/>
                <a:buChar char="•"/>
              </a:pPr>
              <a:r>
                <a:rPr lang="en-US" sz="800" dirty="0" smtClean="0"/>
                <a:t>User environment simulation</a:t>
              </a:r>
            </a:p>
            <a:p>
              <a:pPr marL="285750" indent="-285750">
                <a:buFont typeface="Arial" panose="020B0604020202020204" pitchFamily="34" charset="0"/>
                <a:buChar char="•"/>
              </a:pPr>
              <a:r>
                <a:rPr lang="en-US" sz="800" dirty="0" smtClean="0"/>
                <a:t>Increased Test Coverage</a:t>
              </a:r>
            </a:p>
            <a:p>
              <a:pPr marL="285750" indent="-285750">
                <a:buFont typeface="Arial" panose="020B0604020202020204" pitchFamily="34" charset="0"/>
                <a:buChar char="•"/>
              </a:pPr>
              <a:endParaRPr lang="en-US" sz="800" dirty="0"/>
            </a:p>
          </p:txBody>
        </p:sp>
        <p:sp>
          <p:nvSpPr>
            <p:cNvPr id="123" name="Double Bracket 122"/>
            <p:cNvSpPr/>
            <p:nvPr/>
          </p:nvSpPr>
          <p:spPr>
            <a:xfrm>
              <a:off x="5133118" y="3810000"/>
              <a:ext cx="2577730" cy="118285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t"/>
            <a:lstStyle/>
            <a:p>
              <a:pPr marL="285750" indent="-285750">
                <a:buFont typeface="Arial" panose="020B0604020202020204" pitchFamily="34" charset="0"/>
                <a:buChar char="•"/>
              </a:pPr>
              <a:r>
                <a:rPr lang="en-US" sz="800" dirty="0" smtClean="0"/>
                <a:t>Speed up deployment</a:t>
              </a:r>
            </a:p>
            <a:p>
              <a:pPr marL="285750" indent="-285750">
                <a:buFont typeface="Arial" panose="020B0604020202020204" pitchFamily="34" charset="0"/>
                <a:buChar char="•"/>
              </a:pPr>
              <a:r>
                <a:rPr lang="en-US" sz="800" dirty="0" smtClean="0"/>
                <a:t>Reducing errors and failed deployments</a:t>
              </a:r>
            </a:p>
            <a:p>
              <a:pPr marL="285750" indent="-285750">
                <a:buFont typeface="Arial" panose="020B0604020202020204" pitchFamily="34" charset="0"/>
                <a:buChar char="•"/>
              </a:pPr>
              <a:r>
                <a:rPr lang="en-US" sz="800" dirty="0" smtClean="0"/>
                <a:t>Visibility on deployment status of application and environments.</a:t>
              </a:r>
            </a:p>
          </p:txBody>
        </p:sp>
        <p:sp>
          <p:nvSpPr>
            <p:cNvPr id="124" name="Up Arrow 123"/>
            <p:cNvSpPr/>
            <p:nvPr/>
          </p:nvSpPr>
          <p:spPr>
            <a:xfrm>
              <a:off x="4779692"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5" name="Up Arrow 124"/>
            <p:cNvSpPr/>
            <p:nvPr/>
          </p:nvSpPr>
          <p:spPr>
            <a:xfrm>
              <a:off x="10200185" y="1600200"/>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6" name="Up Arrow 125"/>
            <p:cNvSpPr/>
            <p:nvPr/>
          </p:nvSpPr>
          <p:spPr>
            <a:xfrm>
              <a:off x="7261417" y="1623815"/>
              <a:ext cx="210337" cy="204985"/>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7" name="Up Arrow 126"/>
            <p:cNvSpPr/>
            <p:nvPr/>
          </p:nvSpPr>
          <p:spPr>
            <a:xfrm flipV="1">
              <a:off x="10382930" y="5252125"/>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8" name="Up Arrow 127"/>
            <p:cNvSpPr/>
            <p:nvPr/>
          </p:nvSpPr>
          <p:spPr>
            <a:xfrm flipV="1">
              <a:off x="8268349" y="5249806"/>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29" name="Up Arrow 128"/>
            <p:cNvSpPr/>
            <p:nvPr/>
          </p:nvSpPr>
          <p:spPr>
            <a:xfrm flipV="1">
              <a:off x="5956999" y="5262868"/>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0" name="Up Arrow 129"/>
            <p:cNvSpPr/>
            <p:nvPr/>
          </p:nvSpPr>
          <p:spPr>
            <a:xfrm flipV="1">
              <a:off x="3568183" y="5260933"/>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1" name="Up Arrow 130"/>
            <p:cNvSpPr/>
            <p:nvPr/>
          </p:nvSpPr>
          <p:spPr>
            <a:xfrm flipV="1">
              <a:off x="1596800" y="5250122"/>
              <a:ext cx="210337" cy="188434"/>
            </a:xfrm>
            <a:prstGeom prst="up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132" name="Rectangle 131"/>
            <p:cNvSpPr/>
            <p:nvPr/>
          </p:nvSpPr>
          <p:spPr>
            <a:xfrm>
              <a:off x="748472" y="5532119"/>
              <a:ext cx="1854835"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44" name="Rectangle 143"/>
            <p:cNvSpPr/>
            <p:nvPr/>
          </p:nvSpPr>
          <p:spPr>
            <a:xfrm>
              <a:off x="9591954" y="5524172"/>
              <a:ext cx="2002625" cy="640080"/>
            </a:xfrm>
            <a:prstGeom prst="rect">
              <a:avLst/>
            </a:prstGeom>
            <a:noFill/>
            <a:ln w="28575"/>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36" name="Picture 13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09141" y="5489906"/>
              <a:ext cx="1229632" cy="614816"/>
            </a:xfrm>
            <a:prstGeom prst="rect">
              <a:avLst/>
            </a:prstGeom>
          </p:spPr>
        </p:pic>
        <p:pic>
          <p:nvPicPr>
            <p:cNvPr id="139" name="Picture 13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86864" y="5776402"/>
              <a:ext cx="720956" cy="176151"/>
            </a:xfrm>
            <a:prstGeom prst="rect">
              <a:avLst/>
            </a:prstGeom>
            <a:solidFill>
              <a:schemeClr val="accent2"/>
            </a:solidFill>
            <a:ln>
              <a:solidFill>
                <a:schemeClr val="accent1"/>
              </a:solidFill>
            </a:ln>
          </p:spPr>
        </p:pic>
        <p:pic>
          <p:nvPicPr>
            <p:cNvPr id="142" name="Picture 12" descr="Image result for karma unit testi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68309" y="1181516"/>
              <a:ext cx="1193585" cy="370219"/>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a:xfrm>
            <a:off x="87460" y="65778"/>
            <a:ext cx="8464987" cy="455444"/>
          </a:xfrm>
        </p:spPr>
        <p:txBody>
          <a:bodyPr/>
          <a:lstStyle/>
          <a:p>
            <a:r>
              <a:rPr lang="en-US" dirty="0" smtClean="0">
                <a:ea typeface="Arial Unicode MS" pitchFamily="34" charset="-128"/>
                <a:cs typeface="Arial Unicode MS" pitchFamily="34" charset="-128"/>
              </a:rPr>
              <a:t>Target CI/CD State </a:t>
            </a: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Mobile </a:t>
            </a:r>
            <a:r>
              <a:rPr lang="en-US" dirty="0">
                <a:ea typeface="Arial Unicode MS" pitchFamily="34" charset="-128"/>
                <a:cs typeface="Arial Unicode MS" pitchFamily="34" charset="-128"/>
              </a:rPr>
              <a:t>App </a:t>
            </a:r>
            <a:r>
              <a:rPr lang="en-US" dirty="0" smtClean="0">
                <a:ea typeface="Arial Unicode MS" pitchFamily="34" charset="-128"/>
                <a:cs typeface="Arial Unicode MS" pitchFamily="34" charset="-128"/>
              </a:rPr>
              <a:t>(</a:t>
            </a:r>
            <a:r>
              <a:rPr lang="en-US" dirty="0" err="1" smtClean="0">
                <a:ea typeface="Arial Unicode MS" pitchFamily="34" charset="-128"/>
                <a:cs typeface="Arial Unicode MS" pitchFamily="34" charset="-128"/>
              </a:rPr>
              <a:t>NodeJS</a:t>
            </a:r>
            <a:r>
              <a:rPr lang="en-US" dirty="0" smtClean="0">
                <a:ea typeface="Arial Unicode MS" pitchFamily="34" charset="-128"/>
                <a:cs typeface="Arial Unicode MS" pitchFamily="34" charset="-128"/>
              </a:rPr>
              <a:t> </a:t>
            </a:r>
            <a:r>
              <a:rPr lang="en-US" dirty="0">
                <a:ea typeface="Arial Unicode MS" pitchFamily="34" charset="-128"/>
                <a:cs typeface="Arial Unicode MS" pitchFamily="34" charset="-128"/>
              </a:rPr>
              <a:t>&amp; </a:t>
            </a:r>
            <a:r>
              <a:rPr lang="en-US" dirty="0" err="1">
                <a:ea typeface="Arial Unicode MS" pitchFamily="34" charset="-128"/>
                <a:cs typeface="Arial Unicode MS" pitchFamily="34" charset="-128"/>
              </a:rPr>
              <a:t>AngularJS</a:t>
            </a:r>
            <a:r>
              <a:rPr lang="en-US" dirty="0">
                <a:ea typeface="Arial Unicode MS" pitchFamily="34" charset="-128"/>
                <a:cs typeface="Arial Unicode MS" pitchFamily="34" charset="-128"/>
              </a:rPr>
              <a:t>)</a:t>
            </a:r>
            <a:endParaRPr lang="en-US" dirty="0"/>
          </a:p>
        </p:txBody>
      </p:sp>
      <p:sp>
        <p:nvSpPr>
          <p:cNvPr id="54" name="Rectangle 5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6" name="Picture 2" descr="https://www.naranja.com/images/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16"/>
          <a:stretch>
            <a:fillRect/>
          </a:stretch>
        </p:blipFill>
        <p:spPr>
          <a:xfrm>
            <a:off x="1123932" y="700858"/>
            <a:ext cx="352580" cy="386591"/>
          </a:xfrm>
          <a:prstGeom prst="rect">
            <a:avLst/>
          </a:prstGeom>
        </p:spPr>
      </p:pic>
      <p:sp>
        <p:nvSpPr>
          <p:cNvPr id="4" name="AutoShape 2" descr="Image result for Webpack"/>
          <p:cNvSpPr>
            <a:spLocks noChangeAspect="1" noChangeArrowheads="1"/>
          </p:cNvSpPr>
          <p:nvPr/>
        </p:nvSpPr>
        <p:spPr bwMode="auto">
          <a:xfrm>
            <a:off x="3375338" y="1697778"/>
            <a:ext cx="45719" cy="457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Rectangle 4"/>
          <p:cNvSpPr/>
          <p:nvPr/>
        </p:nvSpPr>
        <p:spPr>
          <a:xfrm>
            <a:off x="2966484" y="847536"/>
            <a:ext cx="1105786" cy="204369"/>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dirty="0" smtClean="0">
                <a:ln w="0"/>
                <a:effectLst>
                  <a:outerShdw blurRad="38100" dist="19050" dir="2700000" algn="tl" rotWithShape="0">
                    <a:schemeClr val="dk1">
                      <a:alpha val="40000"/>
                    </a:schemeClr>
                  </a:outerShdw>
                </a:effectLst>
              </a:rPr>
              <a:t>LINT</a:t>
            </a:r>
            <a:endParaRPr lang="en-US" sz="1400" dirty="0">
              <a:ln w="0"/>
              <a:effectLst>
                <a:outerShdw blurRad="38100" dist="19050" dir="2700000" algn="tl" rotWithShape="0">
                  <a:schemeClr val="dk1">
                    <a:alpha val="40000"/>
                  </a:schemeClr>
                </a:outerShdw>
              </a:effectLst>
            </a:endParaRPr>
          </a:p>
        </p:txBody>
      </p:sp>
      <p:pic>
        <p:nvPicPr>
          <p:cNvPr id="61" name="Picture 18"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825815" y="4384707"/>
            <a:ext cx="350938" cy="14905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descr="Related imag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566572" y="4238481"/>
            <a:ext cx="765341" cy="34635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0" descr="Image result for appium tutorial"/>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628097" y="4205194"/>
            <a:ext cx="644578" cy="243704"/>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a:blip r:embed="rId20">
            <a:clrChange>
              <a:clrFrom>
                <a:srgbClr val="FFFFFF"/>
              </a:clrFrom>
              <a:clrTo>
                <a:srgbClr val="FFFFFF">
                  <a:alpha val="0"/>
                </a:srgbClr>
              </a:clrTo>
            </a:clrChange>
          </a:blip>
          <a:stretch>
            <a:fillRect/>
          </a:stretch>
        </p:blipFill>
        <p:spPr>
          <a:xfrm>
            <a:off x="2692164" y="4456007"/>
            <a:ext cx="548640" cy="117339"/>
          </a:xfrm>
          <a:prstGeom prst="rect">
            <a:avLst/>
          </a:prstGeom>
        </p:spPr>
      </p:pic>
      <p:pic>
        <p:nvPicPr>
          <p:cNvPr id="65" name="Picture 64"/>
          <p:cNvPicPr>
            <a:picLocks noChangeAspect="1"/>
          </p:cNvPicPr>
          <p:nvPr/>
        </p:nvPicPr>
        <p:blipFill>
          <a:blip r:embed="rId21"/>
          <a:stretch>
            <a:fillRect/>
          </a:stretch>
        </p:blipFill>
        <p:spPr>
          <a:xfrm>
            <a:off x="6508278" y="4346075"/>
            <a:ext cx="681926" cy="146732"/>
          </a:xfrm>
          <a:prstGeom prst="rect">
            <a:avLst/>
          </a:prstGeom>
        </p:spPr>
      </p:pic>
      <p:pic>
        <p:nvPicPr>
          <p:cNvPr id="52" name="Picture 51"/>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009387" y="4219993"/>
            <a:ext cx="561262" cy="114182"/>
          </a:xfrm>
          <a:prstGeom prst="rect">
            <a:avLst/>
          </a:prstGeom>
        </p:spPr>
        <p:style>
          <a:lnRef idx="0">
            <a:schemeClr val="accent5"/>
          </a:lnRef>
          <a:fillRef idx="3">
            <a:schemeClr val="accent5"/>
          </a:fillRef>
          <a:effectRef idx="3">
            <a:schemeClr val="accent5"/>
          </a:effectRef>
          <a:fontRef idx="minor">
            <a:schemeClr val="lt1"/>
          </a:fontRef>
        </p:style>
      </p:pic>
      <p:pic>
        <p:nvPicPr>
          <p:cNvPr id="53" name="Picture 52"/>
          <p:cNvPicPr>
            <a:picLocks noChangeAspect="1"/>
          </p:cNvPicPr>
          <p:nvPr/>
        </p:nvPicPr>
        <p:blipFill>
          <a:blip r:embed="rId21"/>
          <a:stretch>
            <a:fillRect/>
          </a:stretch>
        </p:blipFill>
        <p:spPr>
          <a:xfrm>
            <a:off x="5699370" y="2637642"/>
            <a:ext cx="681926" cy="146732"/>
          </a:xfrm>
          <a:prstGeom prst="rect">
            <a:avLst/>
          </a:prstGeom>
        </p:spPr>
      </p:pic>
    </p:spTree>
    <p:extLst>
      <p:ext uri="{BB962C8B-B14F-4D97-AF65-F5344CB8AC3E}">
        <p14:creationId xmlns:p14="http://schemas.microsoft.com/office/powerpoint/2010/main" val="41724115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High level summary</a:t>
            </a:r>
            <a:endParaRPr lang="en-US" dirty="0"/>
          </a:p>
        </p:txBody>
      </p:sp>
      <p:grpSp>
        <p:nvGrpSpPr>
          <p:cNvPr id="13" name="Group 12"/>
          <p:cNvGrpSpPr/>
          <p:nvPr/>
        </p:nvGrpSpPr>
        <p:grpSpPr>
          <a:xfrm>
            <a:off x="107004" y="4113566"/>
            <a:ext cx="8976786" cy="618732"/>
            <a:chOff x="96927" y="5181600"/>
            <a:chExt cx="11953586" cy="1094565"/>
          </a:xfrm>
        </p:grpSpPr>
        <p:sp>
          <p:nvSpPr>
            <p:cNvPr id="14" name="Rectangle 13"/>
            <p:cNvSpPr/>
            <p:nvPr/>
          </p:nvSpPr>
          <p:spPr>
            <a:xfrm>
              <a:off x="107836" y="5181600"/>
              <a:ext cx="11942677" cy="1094565"/>
            </a:xfrm>
            <a:prstGeom prst="rect">
              <a:avLst/>
            </a:prstGeom>
            <a:solidFill>
              <a:srgbClr val="5FA8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92"/>
              <a:endParaRPr lang="en-US" sz="900" dirty="0">
                <a:solidFill>
                  <a:prstClr val="white"/>
                </a:solidFill>
              </a:endParaRPr>
            </a:p>
          </p:txBody>
        </p:sp>
        <p:sp>
          <p:nvSpPr>
            <p:cNvPr id="15" name="Retweet Icon"/>
            <p:cNvSpPr>
              <a:spLocks noChangeAspect="1" noEditPoints="1"/>
            </p:cNvSpPr>
            <p:nvPr/>
          </p:nvSpPr>
          <p:spPr bwMode="auto">
            <a:xfrm>
              <a:off x="490182" y="5428426"/>
              <a:ext cx="562194" cy="335717"/>
            </a:xfrm>
            <a:custGeom>
              <a:avLst/>
              <a:gdLst>
                <a:gd name="T0" fmla="*/ 1031 w 1546"/>
                <a:gd name="T1" fmla="*/ 902 h 928"/>
                <a:gd name="T2" fmla="*/ 1023 w 1546"/>
                <a:gd name="T3" fmla="*/ 920 h 928"/>
                <a:gd name="T4" fmla="*/ 1005 w 1546"/>
                <a:gd name="T5" fmla="*/ 928 h 928"/>
                <a:gd name="T6" fmla="*/ 232 w 1546"/>
                <a:gd name="T7" fmla="*/ 928 h 928"/>
                <a:gd name="T8" fmla="*/ 221 w 1546"/>
                <a:gd name="T9" fmla="*/ 926 h 928"/>
                <a:gd name="T10" fmla="*/ 214 w 1546"/>
                <a:gd name="T11" fmla="*/ 920 h 928"/>
                <a:gd name="T12" fmla="*/ 210 w 1546"/>
                <a:gd name="T13" fmla="*/ 914 h 928"/>
                <a:gd name="T14" fmla="*/ 207 w 1546"/>
                <a:gd name="T15" fmla="*/ 905 h 928"/>
                <a:gd name="T16" fmla="*/ 206 w 1546"/>
                <a:gd name="T17" fmla="*/ 895 h 928"/>
                <a:gd name="T18" fmla="*/ 206 w 1546"/>
                <a:gd name="T19" fmla="*/ 885 h 928"/>
                <a:gd name="T20" fmla="*/ 206 w 1546"/>
                <a:gd name="T21" fmla="*/ 876 h 928"/>
                <a:gd name="T22" fmla="*/ 206 w 1546"/>
                <a:gd name="T23" fmla="*/ 747 h 928"/>
                <a:gd name="T24" fmla="*/ 206 w 1546"/>
                <a:gd name="T25" fmla="*/ 412 h 928"/>
                <a:gd name="T26" fmla="*/ 52 w 1546"/>
                <a:gd name="T27" fmla="*/ 412 h 928"/>
                <a:gd name="T28" fmla="*/ 15 w 1546"/>
                <a:gd name="T29" fmla="*/ 397 h 928"/>
                <a:gd name="T30" fmla="*/ 0 w 1546"/>
                <a:gd name="T31" fmla="*/ 361 h 928"/>
                <a:gd name="T32" fmla="*/ 12 w 1546"/>
                <a:gd name="T33" fmla="*/ 328 h 928"/>
                <a:gd name="T34" fmla="*/ 270 w 1546"/>
                <a:gd name="T35" fmla="*/ 19 h 928"/>
                <a:gd name="T36" fmla="*/ 309 w 1546"/>
                <a:gd name="T37" fmla="*/ 1 h 928"/>
                <a:gd name="T38" fmla="*/ 349 w 1546"/>
                <a:gd name="T39" fmla="*/ 19 h 928"/>
                <a:gd name="T40" fmla="*/ 606 w 1546"/>
                <a:gd name="T41" fmla="*/ 328 h 928"/>
                <a:gd name="T42" fmla="*/ 618 w 1546"/>
                <a:gd name="T43" fmla="*/ 361 h 928"/>
                <a:gd name="T44" fmla="*/ 603 w 1546"/>
                <a:gd name="T45" fmla="*/ 397 h 928"/>
                <a:gd name="T46" fmla="*/ 567 w 1546"/>
                <a:gd name="T47" fmla="*/ 412 h 928"/>
                <a:gd name="T48" fmla="*/ 412 w 1546"/>
                <a:gd name="T49" fmla="*/ 412 h 928"/>
                <a:gd name="T50" fmla="*/ 412 w 1546"/>
                <a:gd name="T51" fmla="*/ 721 h 928"/>
                <a:gd name="T52" fmla="*/ 876 w 1546"/>
                <a:gd name="T53" fmla="*/ 721 h 928"/>
                <a:gd name="T54" fmla="*/ 896 w 1546"/>
                <a:gd name="T55" fmla="*/ 730 h 928"/>
                <a:gd name="T56" fmla="*/ 1025 w 1546"/>
                <a:gd name="T57" fmla="*/ 885 h 928"/>
                <a:gd name="T58" fmla="*/ 1031 w 1546"/>
                <a:gd name="T59" fmla="*/ 902 h 928"/>
                <a:gd name="T60" fmla="*/ 1546 w 1546"/>
                <a:gd name="T61" fmla="*/ 567 h 928"/>
                <a:gd name="T62" fmla="*/ 1534 w 1546"/>
                <a:gd name="T63" fmla="*/ 600 h 928"/>
                <a:gd name="T64" fmla="*/ 1276 w 1546"/>
                <a:gd name="T65" fmla="*/ 909 h 928"/>
                <a:gd name="T66" fmla="*/ 1237 w 1546"/>
                <a:gd name="T67" fmla="*/ 928 h 928"/>
                <a:gd name="T68" fmla="*/ 1197 w 1546"/>
                <a:gd name="T69" fmla="*/ 909 h 928"/>
                <a:gd name="T70" fmla="*/ 940 w 1546"/>
                <a:gd name="T71" fmla="*/ 600 h 928"/>
                <a:gd name="T72" fmla="*/ 928 w 1546"/>
                <a:gd name="T73" fmla="*/ 567 h 928"/>
                <a:gd name="T74" fmla="*/ 943 w 1546"/>
                <a:gd name="T75" fmla="*/ 531 h 928"/>
                <a:gd name="T76" fmla="*/ 979 w 1546"/>
                <a:gd name="T77" fmla="*/ 515 h 928"/>
                <a:gd name="T78" fmla="*/ 1134 w 1546"/>
                <a:gd name="T79" fmla="*/ 515 h 928"/>
                <a:gd name="T80" fmla="*/ 1134 w 1546"/>
                <a:gd name="T81" fmla="*/ 206 h 928"/>
                <a:gd name="T82" fmla="*/ 670 w 1546"/>
                <a:gd name="T83" fmla="*/ 206 h 928"/>
                <a:gd name="T84" fmla="*/ 650 w 1546"/>
                <a:gd name="T85" fmla="*/ 197 h 928"/>
                <a:gd name="T86" fmla="*/ 521 w 1546"/>
                <a:gd name="T87" fmla="*/ 42 h 928"/>
                <a:gd name="T88" fmla="*/ 516 w 1546"/>
                <a:gd name="T89" fmla="*/ 26 h 928"/>
                <a:gd name="T90" fmla="*/ 523 w 1546"/>
                <a:gd name="T91" fmla="*/ 8 h 928"/>
                <a:gd name="T92" fmla="*/ 541 w 1546"/>
                <a:gd name="T93" fmla="*/ 0 h 928"/>
                <a:gd name="T94" fmla="*/ 1314 w 1546"/>
                <a:gd name="T95" fmla="*/ 0 h 928"/>
                <a:gd name="T96" fmla="*/ 1325 w 1546"/>
                <a:gd name="T97" fmla="*/ 2 h 928"/>
                <a:gd name="T98" fmla="*/ 1332 w 1546"/>
                <a:gd name="T99" fmla="*/ 7 h 928"/>
                <a:gd name="T100" fmla="*/ 1337 w 1546"/>
                <a:gd name="T101" fmla="*/ 14 h 928"/>
                <a:gd name="T102" fmla="*/ 1339 w 1546"/>
                <a:gd name="T103" fmla="*/ 23 h 928"/>
                <a:gd name="T104" fmla="*/ 1340 w 1546"/>
                <a:gd name="T105" fmla="*/ 32 h 928"/>
                <a:gd name="T106" fmla="*/ 1340 w 1546"/>
                <a:gd name="T107" fmla="*/ 43 h 928"/>
                <a:gd name="T108" fmla="*/ 1340 w 1546"/>
                <a:gd name="T109" fmla="*/ 52 h 928"/>
                <a:gd name="T110" fmla="*/ 1340 w 1546"/>
                <a:gd name="T111" fmla="*/ 181 h 928"/>
                <a:gd name="T112" fmla="*/ 1340 w 1546"/>
                <a:gd name="T113" fmla="*/ 515 h 928"/>
                <a:gd name="T114" fmla="*/ 1494 w 1546"/>
                <a:gd name="T115" fmla="*/ 515 h 928"/>
                <a:gd name="T116" fmla="*/ 1531 w 1546"/>
                <a:gd name="T117" fmla="*/ 531 h 928"/>
                <a:gd name="T118" fmla="*/ 1546 w 1546"/>
                <a:gd name="T119" fmla="*/ 567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6" h="928">
                  <a:moveTo>
                    <a:pt x="1031" y="902"/>
                  </a:moveTo>
                  <a:cubicBezTo>
                    <a:pt x="1031" y="909"/>
                    <a:pt x="1028" y="915"/>
                    <a:pt x="1023" y="920"/>
                  </a:cubicBezTo>
                  <a:cubicBezTo>
                    <a:pt x="1018" y="925"/>
                    <a:pt x="1012" y="928"/>
                    <a:pt x="1005" y="928"/>
                  </a:cubicBezTo>
                  <a:lnTo>
                    <a:pt x="232" y="928"/>
                  </a:lnTo>
                  <a:cubicBezTo>
                    <a:pt x="228" y="928"/>
                    <a:pt x="224" y="927"/>
                    <a:pt x="221" y="926"/>
                  </a:cubicBezTo>
                  <a:cubicBezTo>
                    <a:pt x="218" y="925"/>
                    <a:pt x="216" y="923"/>
                    <a:pt x="214" y="920"/>
                  </a:cubicBezTo>
                  <a:cubicBezTo>
                    <a:pt x="212" y="918"/>
                    <a:pt x="211" y="915"/>
                    <a:pt x="210" y="914"/>
                  </a:cubicBezTo>
                  <a:cubicBezTo>
                    <a:pt x="208" y="912"/>
                    <a:pt x="208" y="909"/>
                    <a:pt x="207" y="905"/>
                  </a:cubicBezTo>
                  <a:cubicBezTo>
                    <a:pt x="207" y="900"/>
                    <a:pt x="206" y="897"/>
                    <a:pt x="206" y="895"/>
                  </a:cubicBezTo>
                  <a:lnTo>
                    <a:pt x="206" y="885"/>
                  </a:lnTo>
                  <a:lnTo>
                    <a:pt x="206" y="876"/>
                  </a:lnTo>
                  <a:lnTo>
                    <a:pt x="206" y="747"/>
                  </a:lnTo>
                  <a:lnTo>
                    <a:pt x="206" y="412"/>
                  </a:lnTo>
                  <a:lnTo>
                    <a:pt x="52" y="412"/>
                  </a:lnTo>
                  <a:cubicBezTo>
                    <a:pt x="38" y="412"/>
                    <a:pt x="26" y="407"/>
                    <a:pt x="15" y="397"/>
                  </a:cubicBezTo>
                  <a:cubicBezTo>
                    <a:pt x="5" y="387"/>
                    <a:pt x="0" y="375"/>
                    <a:pt x="0" y="361"/>
                  </a:cubicBezTo>
                  <a:cubicBezTo>
                    <a:pt x="0" y="348"/>
                    <a:pt x="4" y="337"/>
                    <a:pt x="12" y="328"/>
                  </a:cubicBezTo>
                  <a:lnTo>
                    <a:pt x="270" y="19"/>
                  </a:lnTo>
                  <a:cubicBezTo>
                    <a:pt x="280" y="7"/>
                    <a:pt x="293" y="1"/>
                    <a:pt x="309" y="1"/>
                  </a:cubicBezTo>
                  <a:cubicBezTo>
                    <a:pt x="325" y="1"/>
                    <a:pt x="339" y="7"/>
                    <a:pt x="349" y="19"/>
                  </a:cubicBezTo>
                  <a:lnTo>
                    <a:pt x="606" y="328"/>
                  </a:lnTo>
                  <a:cubicBezTo>
                    <a:pt x="614" y="337"/>
                    <a:pt x="618" y="348"/>
                    <a:pt x="618" y="361"/>
                  </a:cubicBezTo>
                  <a:cubicBezTo>
                    <a:pt x="618" y="375"/>
                    <a:pt x="613" y="387"/>
                    <a:pt x="603" y="397"/>
                  </a:cubicBezTo>
                  <a:cubicBezTo>
                    <a:pt x="593" y="407"/>
                    <a:pt x="581" y="412"/>
                    <a:pt x="567" y="412"/>
                  </a:cubicBezTo>
                  <a:lnTo>
                    <a:pt x="412" y="412"/>
                  </a:lnTo>
                  <a:lnTo>
                    <a:pt x="412" y="721"/>
                  </a:lnTo>
                  <a:lnTo>
                    <a:pt x="876" y="721"/>
                  </a:lnTo>
                  <a:cubicBezTo>
                    <a:pt x="885" y="721"/>
                    <a:pt x="891" y="724"/>
                    <a:pt x="896" y="730"/>
                  </a:cubicBezTo>
                  <a:lnTo>
                    <a:pt x="1025" y="885"/>
                  </a:lnTo>
                  <a:cubicBezTo>
                    <a:pt x="1029" y="891"/>
                    <a:pt x="1031" y="896"/>
                    <a:pt x="1031" y="902"/>
                  </a:cubicBezTo>
                  <a:close/>
                  <a:moveTo>
                    <a:pt x="1546" y="567"/>
                  </a:moveTo>
                  <a:cubicBezTo>
                    <a:pt x="1546" y="580"/>
                    <a:pt x="1542" y="591"/>
                    <a:pt x="1534" y="600"/>
                  </a:cubicBezTo>
                  <a:lnTo>
                    <a:pt x="1276" y="909"/>
                  </a:lnTo>
                  <a:cubicBezTo>
                    <a:pt x="1266" y="921"/>
                    <a:pt x="1252" y="928"/>
                    <a:pt x="1237" y="928"/>
                  </a:cubicBezTo>
                  <a:cubicBezTo>
                    <a:pt x="1221" y="928"/>
                    <a:pt x="1208" y="921"/>
                    <a:pt x="1197" y="909"/>
                  </a:cubicBezTo>
                  <a:lnTo>
                    <a:pt x="940" y="600"/>
                  </a:lnTo>
                  <a:cubicBezTo>
                    <a:pt x="932" y="591"/>
                    <a:pt x="928" y="580"/>
                    <a:pt x="928" y="567"/>
                  </a:cubicBezTo>
                  <a:cubicBezTo>
                    <a:pt x="928" y="553"/>
                    <a:pt x="933" y="541"/>
                    <a:pt x="943" y="531"/>
                  </a:cubicBezTo>
                  <a:cubicBezTo>
                    <a:pt x="953" y="520"/>
                    <a:pt x="965" y="515"/>
                    <a:pt x="979" y="515"/>
                  </a:cubicBezTo>
                  <a:lnTo>
                    <a:pt x="1134" y="515"/>
                  </a:lnTo>
                  <a:lnTo>
                    <a:pt x="1134" y="206"/>
                  </a:lnTo>
                  <a:lnTo>
                    <a:pt x="670" y="206"/>
                  </a:lnTo>
                  <a:cubicBezTo>
                    <a:pt x="662" y="206"/>
                    <a:pt x="655" y="203"/>
                    <a:pt x="650" y="197"/>
                  </a:cubicBezTo>
                  <a:lnTo>
                    <a:pt x="521" y="42"/>
                  </a:lnTo>
                  <a:cubicBezTo>
                    <a:pt x="517" y="37"/>
                    <a:pt x="516" y="32"/>
                    <a:pt x="516" y="26"/>
                  </a:cubicBezTo>
                  <a:cubicBezTo>
                    <a:pt x="516" y="19"/>
                    <a:pt x="518" y="13"/>
                    <a:pt x="523" y="8"/>
                  </a:cubicBezTo>
                  <a:cubicBezTo>
                    <a:pt x="528" y="3"/>
                    <a:pt x="534" y="0"/>
                    <a:pt x="541" y="0"/>
                  </a:cubicBezTo>
                  <a:lnTo>
                    <a:pt x="1314" y="0"/>
                  </a:lnTo>
                  <a:cubicBezTo>
                    <a:pt x="1318" y="0"/>
                    <a:pt x="1322" y="1"/>
                    <a:pt x="1325" y="2"/>
                  </a:cubicBezTo>
                  <a:cubicBezTo>
                    <a:pt x="1328" y="3"/>
                    <a:pt x="1330" y="5"/>
                    <a:pt x="1332" y="7"/>
                  </a:cubicBezTo>
                  <a:cubicBezTo>
                    <a:pt x="1334" y="10"/>
                    <a:pt x="1336" y="12"/>
                    <a:pt x="1337" y="14"/>
                  </a:cubicBezTo>
                  <a:cubicBezTo>
                    <a:pt x="1338" y="16"/>
                    <a:pt x="1339" y="19"/>
                    <a:pt x="1339" y="23"/>
                  </a:cubicBezTo>
                  <a:cubicBezTo>
                    <a:pt x="1340" y="28"/>
                    <a:pt x="1340" y="31"/>
                    <a:pt x="1340" y="32"/>
                  </a:cubicBezTo>
                  <a:lnTo>
                    <a:pt x="1340" y="43"/>
                  </a:lnTo>
                  <a:lnTo>
                    <a:pt x="1340" y="52"/>
                  </a:lnTo>
                  <a:lnTo>
                    <a:pt x="1340" y="181"/>
                  </a:lnTo>
                  <a:lnTo>
                    <a:pt x="1340" y="515"/>
                  </a:lnTo>
                  <a:lnTo>
                    <a:pt x="1494" y="515"/>
                  </a:lnTo>
                  <a:cubicBezTo>
                    <a:pt x="1508" y="515"/>
                    <a:pt x="1520" y="521"/>
                    <a:pt x="1531" y="531"/>
                  </a:cubicBezTo>
                  <a:cubicBezTo>
                    <a:pt x="1541" y="541"/>
                    <a:pt x="1546" y="553"/>
                    <a:pt x="1546" y="567"/>
                  </a:cubicBezTo>
                  <a:close/>
                </a:path>
              </a:pathLst>
            </a:custGeom>
            <a:solidFill>
              <a:schemeClr val="bg1"/>
            </a:solidFill>
            <a:ln w="0">
              <a:noFill/>
              <a:prstDash val="solid"/>
              <a:round/>
              <a:headEnd/>
              <a:tailEnd/>
            </a:ln>
          </p:spPr>
          <p:txBody>
            <a:bodyPr vert="horz" wrap="square" lIns="91214" tIns="45607" rIns="91214" bIns="45607" numCol="1" anchor="t" anchorCtr="0" compatLnSpc="1">
              <a:prstTxWarp prst="textNoShape">
                <a:avLst/>
              </a:prstTxWarp>
            </a:bodyPr>
            <a:lstStyle/>
            <a:p>
              <a:pPr defTabSz="912092"/>
              <a:endParaRPr lang="en-US" sz="900" dirty="0">
                <a:solidFill>
                  <a:prstClr val="black"/>
                </a:solidFill>
                <a:latin typeface="Arial" panose="020B0604020202020204" pitchFamily="34" charset="0"/>
                <a:cs typeface="Arial" panose="020B0604020202020204" pitchFamily="34" charset="0"/>
              </a:endParaRPr>
            </a:p>
          </p:txBody>
        </p:sp>
        <p:sp>
          <p:nvSpPr>
            <p:cNvPr id="16" name="TextBox 15"/>
            <p:cNvSpPr txBox="1"/>
            <p:nvPr/>
          </p:nvSpPr>
          <p:spPr>
            <a:xfrm>
              <a:off x="1421704" y="5616832"/>
              <a:ext cx="1730802" cy="407945"/>
            </a:xfrm>
            <a:prstGeom prst="rect">
              <a:avLst/>
            </a:prstGeom>
            <a:solidFill>
              <a:srgbClr val="529AA0"/>
            </a:solidFill>
          </p:spPr>
          <p:txBody>
            <a:bodyPr wrap="square" rtlCol="0" anchor="ctr">
              <a:spAutoFit/>
            </a:bodyPr>
            <a:lstStyle/>
            <a:p>
              <a:pPr algn="ctr" defTabSz="912092"/>
              <a:r>
                <a:rPr lang="en-AU" sz="900" b="1" dirty="0">
                  <a:solidFill>
                    <a:prstClr val="black"/>
                  </a:solidFill>
                </a:rPr>
                <a:t>Continuous Assessment</a:t>
              </a:r>
            </a:p>
          </p:txBody>
        </p:sp>
        <p:cxnSp>
          <p:nvCxnSpPr>
            <p:cNvPr id="17" name="Straight Connector 16"/>
            <p:cNvCxnSpPr/>
            <p:nvPr/>
          </p:nvCxnSpPr>
          <p:spPr>
            <a:xfrm>
              <a:off x="3152507" y="5600795"/>
              <a:ext cx="7821821" cy="61281"/>
            </a:xfrm>
            <a:prstGeom prst="line">
              <a:avLst/>
            </a:prstGeom>
            <a:ln w="190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862135" y="5430616"/>
              <a:ext cx="1781072" cy="254965"/>
            </a:xfrm>
            <a:prstGeom prst="rect">
              <a:avLst/>
            </a:prstGeom>
            <a:solidFill>
              <a:srgbClr val="5FA8AD"/>
            </a:solidFill>
          </p:spPr>
          <p:txBody>
            <a:bodyPr wrap="none" rtlCol="0">
              <a:spAutoFit/>
            </a:bodyPr>
            <a:lstStyle/>
            <a:p>
              <a:pPr algn="ctr" defTabSz="912092"/>
              <a:r>
                <a:rPr lang="en-AU" sz="900" b="1" dirty="0">
                  <a:solidFill>
                    <a:prstClr val="black"/>
                  </a:solidFill>
                </a:rPr>
                <a:t>Continuous Delivery</a:t>
              </a:r>
            </a:p>
          </p:txBody>
        </p:sp>
        <p:cxnSp>
          <p:nvCxnSpPr>
            <p:cNvPr id="19" name="Straight Connector 18"/>
            <p:cNvCxnSpPr/>
            <p:nvPr/>
          </p:nvCxnSpPr>
          <p:spPr>
            <a:xfrm>
              <a:off x="3152506" y="5949612"/>
              <a:ext cx="3162078" cy="0"/>
            </a:xfrm>
            <a:prstGeom prst="line">
              <a:avLst/>
            </a:prstGeom>
            <a:ln w="190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359363" y="5779433"/>
              <a:ext cx="2742396" cy="254965"/>
            </a:xfrm>
            <a:prstGeom prst="rect">
              <a:avLst/>
            </a:prstGeom>
            <a:solidFill>
              <a:srgbClr val="5FA8AD"/>
            </a:solidFill>
          </p:spPr>
          <p:txBody>
            <a:bodyPr wrap="none" rtlCol="0">
              <a:spAutoFit/>
            </a:bodyPr>
            <a:lstStyle/>
            <a:p>
              <a:pPr algn="ctr" defTabSz="912092"/>
              <a:r>
                <a:rPr lang="en-AU" sz="900" b="1" dirty="0">
                  <a:solidFill>
                    <a:prstClr val="black"/>
                  </a:solidFill>
                </a:rPr>
                <a:t>Continuous Integration &amp; Testing</a:t>
              </a:r>
            </a:p>
          </p:txBody>
        </p:sp>
        <p:cxnSp>
          <p:nvCxnSpPr>
            <p:cNvPr id="21" name="Straight Connector 20"/>
            <p:cNvCxnSpPr/>
            <p:nvPr/>
          </p:nvCxnSpPr>
          <p:spPr>
            <a:xfrm>
              <a:off x="6308433" y="5949612"/>
              <a:ext cx="4696004" cy="0"/>
            </a:xfrm>
            <a:prstGeom prst="line">
              <a:avLst/>
            </a:prstGeom>
            <a:ln w="190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090472" y="5779433"/>
              <a:ext cx="3030794" cy="254965"/>
            </a:xfrm>
            <a:prstGeom prst="rect">
              <a:avLst/>
            </a:prstGeom>
            <a:solidFill>
              <a:srgbClr val="5FA8AD"/>
            </a:solidFill>
          </p:spPr>
          <p:txBody>
            <a:bodyPr wrap="none" rtlCol="0">
              <a:spAutoFit/>
            </a:bodyPr>
            <a:lstStyle/>
            <a:p>
              <a:pPr algn="ctr" defTabSz="912092"/>
              <a:r>
                <a:rPr lang="en-AU" sz="900" b="1" dirty="0">
                  <a:solidFill>
                    <a:prstClr val="black"/>
                  </a:solidFill>
                </a:rPr>
                <a:t>Continuous Release and Deployment</a:t>
              </a:r>
            </a:p>
          </p:txBody>
        </p:sp>
        <p:sp>
          <p:nvSpPr>
            <p:cNvPr id="23" name="TextBox 22"/>
            <p:cNvSpPr txBox="1"/>
            <p:nvPr/>
          </p:nvSpPr>
          <p:spPr>
            <a:xfrm>
              <a:off x="10974328" y="5693323"/>
              <a:ext cx="1074242" cy="254965"/>
            </a:xfrm>
            <a:prstGeom prst="rect">
              <a:avLst/>
            </a:prstGeom>
            <a:solidFill>
              <a:srgbClr val="529AA0"/>
            </a:solidFill>
          </p:spPr>
          <p:txBody>
            <a:bodyPr wrap="square" rtlCol="0" anchor="ctr">
              <a:spAutoFit/>
            </a:bodyPr>
            <a:lstStyle/>
            <a:p>
              <a:pPr algn="ctr" defTabSz="912092"/>
              <a:r>
                <a:rPr lang="en-AU" sz="900" b="1" dirty="0">
                  <a:solidFill>
                    <a:prstClr val="black"/>
                  </a:solidFill>
                </a:rPr>
                <a:t>Cont. Ops</a:t>
              </a:r>
            </a:p>
          </p:txBody>
        </p:sp>
        <p:sp>
          <p:nvSpPr>
            <p:cNvPr id="24" name="TextBox 23"/>
            <p:cNvSpPr txBox="1"/>
            <p:nvPr/>
          </p:nvSpPr>
          <p:spPr>
            <a:xfrm>
              <a:off x="96927" y="5776812"/>
              <a:ext cx="968316" cy="254965"/>
            </a:xfrm>
            <a:prstGeom prst="rect">
              <a:avLst/>
            </a:prstGeom>
            <a:noFill/>
          </p:spPr>
          <p:txBody>
            <a:bodyPr wrap="none" rtlCol="0">
              <a:spAutoFit/>
            </a:bodyPr>
            <a:lstStyle/>
            <a:p>
              <a:pPr defTabSz="912092"/>
              <a:r>
                <a:rPr lang="en-US" sz="900" b="1" dirty="0">
                  <a:solidFill>
                    <a:prstClr val="white"/>
                  </a:solidFill>
                </a:rPr>
                <a:t>Solutions</a:t>
              </a:r>
            </a:p>
          </p:txBody>
        </p:sp>
      </p:grpSp>
      <p:grpSp>
        <p:nvGrpSpPr>
          <p:cNvPr id="36" name="Group 35"/>
          <p:cNvGrpSpPr/>
          <p:nvPr/>
        </p:nvGrpSpPr>
        <p:grpSpPr>
          <a:xfrm>
            <a:off x="73280" y="642803"/>
            <a:ext cx="9057978" cy="3319359"/>
            <a:chOff x="73280" y="653437"/>
            <a:chExt cx="9057978" cy="3067958"/>
          </a:xfrm>
        </p:grpSpPr>
        <p:sp>
          <p:nvSpPr>
            <p:cNvPr id="5" name="Rectangle 4"/>
            <p:cNvSpPr/>
            <p:nvPr/>
          </p:nvSpPr>
          <p:spPr>
            <a:xfrm>
              <a:off x="2285313" y="655310"/>
              <a:ext cx="6798477" cy="2743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accent3"/>
                </a:solidFill>
              </a:endParaRPr>
            </a:p>
          </p:txBody>
        </p:sp>
        <p:sp>
          <p:nvSpPr>
            <p:cNvPr id="6" name="Rectangle 5"/>
            <p:cNvSpPr/>
            <p:nvPr/>
          </p:nvSpPr>
          <p:spPr>
            <a:xfrm>
              <a:off x="73280" y="931180"/>
              <a:ext cx="2194560" cy="27847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Wingdings" panose="05000000000000000000" pitchFamily="2" charset="2"/>
                <a:buChar char="ü"/>
              </a:pPr>
              <a:r>
                <a:rPr lang="en-US" sz="1000" dirty="0">
                  <a:solidFill>
                    <a:schemeClr val="accent2"/>
                  </a:solidFill>
                </a:rPr>
                <a:t>Branching and merging </a:t>
              </a:r>
              <a:r>
                <a:rPr lang="en-US" sz="1000" dirty="0" smtClean="0">
                  <a:solidFill>
                    <a:schemeClr val="accent2"/>
                  </a:solidFill>
                </a:rPr>
                <a:t>strategies</a:t>
              </a:r>
            </a:p>
            <a:p>
              <a:pPr marL="285750" indent="-285750">
                <a:lnSpc>
                  <a:spcPct val="150000"/>
                </a:lnSpc>
                <a:buFont typeface="Wingdings" panose="05000000000000000000" pitchFamily="2" charset="2"/>
                <a:buChar char="ü"/>
              </a:pPr>
              <a:r>
                <a:rPr lang="en-US" sz="1000" dirty="0" smtClean="0">
                  <a:solidFill>
                    <a:schemeClr val="accent2"/>
                  </a:solidFill>
                </a:rPr>
                <a:t>Tool Adoption and Rationalization</a:t>
              </a:r>
            </a:p>
            <a:p>
              <a:pPr marL="285750" indent="-285750">
                <a:lnSpc>
                  <a:spcPct val="150000"/>
                </a:lnSpc>
                <a:buFont typeface="Wingdings" panose="05000000000000000000" pitchFamily="2" charset="2"/>
                <a:buChar char="ü"/>
              </a:pPr>
              <a:r>
                <a:rPr lang="en-US" sz="1000" dirty="0" smtClean="0">
                  <a:solidFill>
                    <a:schemeClr val="accent2"/>
                  </a:solidFill>
                </a:rPr>
                <a:t>Automated Build Management</a:t>
              </a:r>
            </a:p>
            <a:p>
              <a:pPr marL="285750" indent="-285750">
                <a:lnSpc>
                  <a:spcPct val="150000"/>
                </a:lnSpc>
                <a:buFont typeface="Wingdings" panose="05000000000000000000" pitchFamily="2" charset="2"/>
                <a:buChar char="ü"/>
              </a:pPr>
              <a:r>
                <a:rPr lang="en-US" sz="1000" dirty="0">
                  <a:solidFill>
                    <a:schemeClr val="bg2"/>
                  </a:solidFill>
                </a:rPr>
                <a:t>Code </a:t>
              </a:r>
              <a:r>
                <a:rPr lang="en-US" sz="1000" dirty="0" smtClean="0">
                  <a:solidFill>
                    <a:schemeClr val="bg2"/>
                  </a:solidFill>
                </a:rPr>
                <a:t>reviews</a:t>
              </a:r>
            </a:p>
            <a:p>
              <a:pPr>
                <a:lnSpc>
                  <a:spcPct val="150000"/>
                </a:lnSpc>
              </a:pPr>
              <a:endParaRPr lang="en-US" sz="1000" dirty="0" smtClean="0">
                <a:solidFill>
                  <a:schemeClr val="accent2"/>
                </a:solidFill>
              </a:endParaRPr>
            </a:p>
            <a:p>
              <a:pPr marL="285750" indent="-285750">
                <a:lnSpc>
                  <a:spcPct val="150000"/>
                </a:lnSpc>
                <a:buFont typeface="Wingdings" panose="05000000000000000000" pitchFamily="2" charset="2"/>
                <a:buChar char="ü"/>
              </a:pPr>
              <a:r>
                <a:rPr lang="en-US" sz="1000" dirty="0" smtClean="0">
                  <a:solidFill>
                    <a:schemeClr val="bg2"/>
                  </a:solidFill>
                </a:rPr>
                <a:t>Code Quality and Coverage</a:t>
              </a:r>
            </a:p>
            <a:p>
              <a:pPr marL="285750" indent="-285750">
                <a:lnSpc>
                  <a:spcPct val="150000"/>
                </a:lnSpc>
                <a:buFont typeface="Wingdings" panose="05000000000000000000" pitchFamily="2" charset="2"/>
                <a:buChar char="ü"/>
              </a:pPr>
              <a:r>
                <a:rPr lang="en-US" sz="1000" dirty="0" smtClean="0">
                  <a:solidFill>
                    <a:schemeClr val="bg2"/>
                  </a:solidFill>
                </a:rPr>
                <a:t>Test Automation</a:t>
              </a:r>
            </a:p>
            <a:p>
              <a:pPr marL="285750" indent="-285750">
                <a:lnSpc>
                  <a:spcPct val="150000"/>
                </a:lnSpc>
                <a:buFont typeface="Wingdings" panose="05000000000000000000" pitchFamily="2" charset="2"/>
                <a:buChar char="ü"/>
              </a:pPr>
              <a:r>
                <a:rPr lang="en-US" sz="1000" dirty="0" smtClean="0">
                  <a:solidFill>
                    <a:schemeClr val="bg2"/>
                  </a:solidFill>
                </a:rPr>
                <a:t>Continuous Integration</a:t>
              </a:r>
            </a:p>
            <a:p>
              <a:pPr marL="285750" indent="-285750">
                <a:lnSpc>
                  <a:spcPct val="150000"/>
                </a:lnSpc>
                <a:buFont typeface="Wingdings" panose="05000000000000000000" pitchFamily="2" charset="2"/>
                <a:buChar char="ü"/>
              </a:pPr>
              <a:r>
                <a:rPr lang="en-US" sz="1000" dirty="0">
                  <a:solidFill>
                    <a:schemeClr val="bg2"/>
                  </a:solidFill>
                </a:rPr>
                <a:t>Continuous Monitoring</a:t>
              </a:r>
            </a:p>
            <a:p>
              <a:pPr marL="285750" indent="-285750">
                <a:lnSpc>
                  <a:spcPct val="150000"/>
                </a:lnSpc>
                <a:buFont typeface="Wingdings" panose="05000000000000000000" pitchFamily="2" charset="2"/>
                <a:buChar char="ü"/>
              </a:pPr>
              <a:endParaRPr lang="en-US" sz="1000" dirty="0" smtClean="0">
                <a:solidFill>
                  <a:schemeClr val="bg2"/>
                </a:solidFill>
              </a:endParaRPr>
            </a:p>
          </p:txBody>
        </p:sp>
        <p:sp>
          <p:nvSpPr>
            <p:cNvPr id="7" name="Rectangle 6"/>
            <p:cNvSpPr/>
            <p:nvPr/>
          </p:nvSpPr>
          <p:spPr>
            <a:xfrm>
              <a:off x="2288241" y="925003"/>
              <a:ext cx="2456071" cy="2790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Wingdings" panose="05000000000000000000" pitchFamily="2" charset="2"/>
                <a:buChar char="q"/>
              </a:pPr>
              <a:r>
                <a:rPr lang="en-US" sz="900" dirty="0" smtClean="0">
                  <a:solidFill>
                    <a:schemeClr val="accent3"/>
                  </a:solidFill>
                </a:rPr>
                <a:t>Enterprise Continuous Integration</a:t>
              </a:r>
            </a:p>
            <a:p>
              <a:pPr marL="285750" indent="-285750">
                <a:lnSpc>
                  <a:spcPct val="150000"/>
                </a:lnSpc>
                <a:buFont typeface="Wingdings" panose="05000000000000000000" pitchFamily="2" charset="2"/>
                <a:buChar char="q"/>
              </a:pPr>
              <a:r>
                <a:rPr lang="en-US" sz="900" dirty="0" smtClean="0">
                  <a:solidFill>
                    <a:schemeClr val="accent3"/>
                  </a:solidFill>
                </a:rPr>
                <a:t>Enterprise Artifact Management</a:t>
              </a:r>
            </a:p>
            <a:p>
              <a:pPr marL="285750" indent="-285750">
                <a:lnSpc>
                  <a:spcPct val="150000"/>
                </a:lnSpc>
                <a:buFont typeface="Wingdings" panose="05000000000000000000" pitchFamily="2" charset="2"/>
                <a:buChar char="q"/>
              </a:pPr>
              <a:r>
                <a:rPr lang="en-US" sz="900" dirty="0" smtClean="0">
                  <a:solidFill>
                    <a:schemeClr val="accent3"/>
                  </a:solidFill>
                </a:rPr>
                <a:t>Collaboration Tool</a:t>
              </a:r>
            </a:p>
            <a:p>
              <a:pPr marL="285750" indent="-285750">
                <a:lnSpc>
                  <a:spcPct val="150000"/>
                </a:lnSpc>
                <a:buFont typeface="Wingdings" panose="05000000000000000000" pitchFamily="2" charset="2"/>
                <a:buChar char="q"/>
              </a:pPr>
              <a:r>
                <a:rPr lang="en-US" sz="900" dirty="0" smtClean="0">
                  <a:solidFill>
                    <a:schemeClr val="accent3"/>
                  </a:solidFill>
                </a:rPr>
                <a:t>JIRA (ALM) - </a:t>
              </a:r>
              <a:r>
                <a:rPr lang="en-US" sz="900" dirty="0" err="1" smtClean="0">
                  <a:solidFill>
                    <a:schemeClr val="accent3"/>
                  </a:solidFill>
                </a:rPr>
                <a:t>GitLab</a:t>
              </a:r>
              <a:r>
                <a:rPr lang="en-US" sz="900" dirty="0" smtClean="0">
                  <a:solidFill>
                    <a:schemeClr val="accent3"/>
                  </a:solidFill>
                </a:rPr>
                <a:t> (SCM) Integration</a:t>
              </a:r>
            </a:p>
            <a:p>
              <a:pPr marL="285750" indent="-285750">
                <a:lnSpc>
                  <a:spcPct val="150000"/>
                </a:lnSpc>
                <a:buFont typeface="Wingdings" panose="05000000000000000000" pitchFamily="2" charset="2"/>
                <a:buChar char="q"/>
              </a:pPr>
              <a:r>
                <a:rPr lang="en-US" sz="900" dirty="0" smtClean="0">
                  <a:solidFill>
                    <a:schemeClr val="accent3"/>
                  </a:solidFill>
                </a:rPr>
                <a:t>Automated Release &amp; Deployment Orchestration</a:t>
              </a:r>
            </a:p>
            <a:p>
              <a:pPr marL="285750" indent="-285750">
                <a:lnSpc>
                  <a:spcPct val="150000"/>
                </a:lnSpc>
                <a:buFont typeface="Wingdings" panose="05000000000000000000" pitchFamily="2" charset="2"/>
                <a:buChar char="q"/>
              </a:pPr>
              <a:r>
                <a:rPr lang="en-US" sz="900" dirty="0" smtClean="0">
                  <a:solidFill>
                    <a:schemeClr val="accent3"/>
                  </a:solidFill>
                </a:rPr>
                <a:t>DB Release &amp; Deployments</a:t>
              </a:r>
            </a:p>
            <a:p>
              <a:pPr marL="285750" indent="-285750">
                <a:lnSpc>
                  <a:spcPct val="150000"/>
                </a:lnSpc>
                <a:buFont typeface="Wingdings" panose="05000000000000000000" pitchFamily="2" charset="2"/>
                <a:buChar char="q"/>
              </a:pPr>
              <a:r>
                <a:rPr lang="en-US" sz="900" dirty="0" smtClean="0">
                  <a:solidFill>
                    <a:schemeClr val="accent3"/>
                  </a:solidFill>
                </a:rPr>
                <a:t>Oracle BEPL &amp; Service Bus  Release and Deployment</a:t>
              </a:r>
            </a:p>
            <a:p>
              <a:pPr marL="285750" indent="-285750">
                <a:lnSpc>
                  <a:spcPct val="150000"/>
                </a:lnSpc>
                <a:buFont typeface="Wingdings" panose="05000000000000000000" pitchFamily="2" charset="2"/>
                <a:buChar char="q"/>
              </a:pPr>
              <a:r>
                <a:rPr lang="en-US" sz="900" dirty="0" smtClean="0">
                  <a:solidFill>
                    <a:schemeClr val="accent3"/>
                  </a:solidFill>
                </a:rPr>
                <a:t>DevOps on COBOL</a:t>
              </a:r>
              <a:endParaRPr lang="en-US" sz="900" dirty="0">
                <a:solidFill>
                  <a:schemeClr val="accent3"/>
                </a:solidFill>
              </a:endParaRPr>
            </a:p>
            <a:p>
              <a:pPr marL="285750" indent="-285750">
                <a:lnSpc>
                  <a:spcPct val="150000"/>
                </a:lnSpc>
                <a:buFont typeface="Wingdings" panose="05000000000000000000" pitchFamily="2" charset="2"/>
                <a:buChar char="q"/>
              </a:pPr>
              <a:r>
                <a:rPr lang="en-US" sz="900" dirty="0" smtClean="0">
                  <a:solidFill>
                    <a:schemeClr val="accent3"/>
                  </a:solidFill>
                </a:rPr>
                <a:t>Containerization</a:t>
              </a:r>
            </a:p>
            <a:p>
              <a:pPr marL="285750" indent="-285750">
                <a:lnSpc>
                  <a:spcPct val="150000"/>
                </a:lnSpc>
                <a:buFont typeface="Wingdings" panose="05000000000000000000" pitchFamily="2" charset="2"/>
                <a:buChar char="q"/>
              </a:pPr>
              <a:r>
                <a:rPr lang="en-US" sz="900" dirty="0" smtClean="0">
                  <a:solidFill>
                    <a:schemeClr val="accent3"/>
                  </a:solidFill>
                </a:rPr>
                <a:t>Automated Environment Provisioning</a:t>
              </a:r>
            </a:p>
            <a:p>
              <a:pPr marL="285750" indent="-285750">
                <a:lnSpc>
                  <a:spcPct val="150000"/>
                </a:lnSpc>
                <a:buFont typeface="Wingdings" panose="05000000000000000000" pitchFamily="2" charset="2"/>
                <a:buChar char="q"/>
              </a:pPr>
              <a:r>
                <a:rPr lang="en-US" sz="900" dirty="0" smtClean="0">
                  <a:solidFill>
                    <a:schemeClr val="accent3"/>
                  </a:solidFill>
                </a:rPr>
                <a:t>Continuous Feedback.</a:t>
              </a:r>
            </a:p>
          </p:txBody>
        </p:sp>
        <p:sp>
          <p:nvSpPr>
            <p:cNvPr id="8" name="TextBox 7"/>
            <p:cNvSpPr txBox="1"/>
            <p:nvPr/>
          </p:nvSpPr>
          <p:spPr>
            <a:xfrm>
              <a:off x="73280" y="655310"/>
              <a:ext cx="2194560" cy="227573"/>
            </a:xfrm>
            <a:prstGeom prst="rect">
              <a:avLst/>
            </a:prstGeom>
            <a:solidFill>
              <a:schemeClr val="accent4">
                <a:lumMod val="60000"/>
                <a:lumOff val="40000"/>
              </a:schemeClr>
            </a:solidFill>
          </p:spPr>
          <p:txBody>
            <a:bodyPr wrap="square" rtlCol="0">
              <a:spAutoFit/>
            </a:bodyPr>
            <a:lstStyle/>
            <a:p>
              <a:pPr algn="ctr"/>
              <a:r>
                <a:rPr lang="en-US" sz="1000" b="1" dirty="0" smtClean="0">
                  <a:solidFill>
                    <a:schemeClr val="accent3"/>
                  </a:solidFill>
                </a:rPr>
                <a:t>Current DevOps Aspect Adopted</a:t>
              </a:r>
              <a:endParaRPr lang="en-US" sz="1000" b="1" dirty="0">
                <a:solidFill>
                  <a:schemeClr val="accent3"/>
                </a:solidFill>
              </a:endParaRPr>
            </a:p>
          </p:txBody>
        </p:sp>
        <p:sp>
          <p:nvSpPr>
            <p:cNvPr id="9" name="TextBox 8"/>
            <p:cNvSpPr txBox="1"/>
            <p:nvPr/>
          </p:nvSpPr>
          <p:spPr>
            <a:xfrm>
              <a:off x="2394116" y="663313"/>
              <a:ext cx="2286000" cy="227573"/>
            </a:xfrm>
            <a:prstGeom prst="rect">
              <a:avLst/>
            </a:prstGeom>
            <a:noFill/>
          </p:spPr>
          <p:txBody>
            <a:bodyPr wrap="square" rtlCol="0">
              <a:spAutoFit/>
            </a:bodyPr>
            <a:lstStyle/>
            <a:p>
              <a:pPr algn="ctr"/>
              <a:r>
                <a:rPr lang="en-US" sz="1000" b="1" dirty="0" smtClean="0">
                  <a:solidFill>
                    <a:schemeClr val="accent3"/>
                  </a:solidFill>
                </a:rPr>
                <a:t>Future DevOps  Initiatives</a:t>
              </a:r>
              <a:endParaRPr lang="en-US" sz="1000" b="1" dirty="0">
                <a:solidFill>
                  <a:schemeClr val="accent3"/>
                </a:solidFill>
              </a:endParaRPr>
            </a:p>
          </p:txBody>
        </p:sp>
        <p:sp>
          <p:nvSpPr>
            <p:cNvPr id="10" name="Rectangle 9"/>
            <p:cNvSpPr/>
            <p:nvPr/>
          </p:nvSpPr>
          <p:spPr>
            <a:xfrm>
              <a:off x="4780004" y="939214"/>
              <a:ext cx="2227552" cy="278218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Wingdings" panose="05000000000000000000" pitchFamily="2" charset="2"/>
                <a:buChar char="q"/>
              </a:pPr>
              <a:r>
                <a:rPr lang="en-US" sz="900" dirty="0" smtClean="0">
                  <a:solidFill>
                    <a:schemeClr val="accent3"/>
                  </a:solidFill>
                </a:rPr>
                <a:t>Low benefit realization</a:t>
              </a:r>
            </a:p>
            <a:p>
              <a:pPr marL="285750" indent="-285750">
                <a:lnSpc>
                  <a:spcPct val="150000"/>
                </a:lnSpc>
                <a:buFont typeface="Wingdings" panose="05000000000000000000" pitchFamily="2" charset="2"/>
                <a:buChar char="q"/>
              </a:pPr>
              <a:r>
                <a:rPr lang="en-US" sz="900" dirty="0" smtClean="0">
                  <a:solidFill>
                    <a:schemeClr val="accent3"/>
                  </a:solidFill>
                </a:rPr>
                <a:t>Hindrance for one touch deploys</a:t>
              </a:r>
            </a:p>
            <a:p>
              <a:pPr marL="285750" indent="-285750">
                <a:lnSpc>
                  <a:spcPct val="150000"/>
                </a:lnSpc>
                <a:buFont typeface="Wingdings" panose="05000000000000000000" pitchFamily="2" charset="2"/>
                <a:buChar char="q"/>
              </a:pPr>
              <a:r>
                <a:rPr lang="en-US" sz="900" dirty="0" smtClean="0">
                  <a:solidFill>
                    <a:schemeClr val="accent3"/>
                  </a:solidFill>
                </a:rPr>
                <a:t>Delays in Triaging Issues</a:t>
              </a:r>
            </a:p>
            <a:p>
              <a:pPr marL="285750" indent="-285750">
                <a:lnSpc>
                  <a:spcPct val="150000"/>
                </a:lnSpc>
                <a:buFont typeface="Wingdings" panose="05000000000000000000" pitchFamily="2" charset="2"/>
                <a:buChar char="q"/>
              </a:pPr>
              <a:r>
                <a:rPr lang="en-US" sz="900" dirty="0" smtClean="0">
                  <a:solidFill>
                    <a:schemeClr val="accent3"/>
                  </a:solidFill>
                </a:rPr>
                <a:t>No Traceability </a:t>
              </a:r>
              <a:r>
                <a:rPr lang="en-US" sz="900" dirty="0">
                  <a:solidFill>
                    <a:schemeClr val="accent3"/>
                  </a:solidFill>
                </a:rPr>
                <a:t>and </a:t>
              </a:r>
              <a:r>
                <a:rPr lang="en-US" sz="900" dirty="0" smtClean="0">
                  <a:solidFill>
                    <a:schemeClr val="accent3"/>
                  </a:solidFill>
                </a:rPr>
                <a:t>Accountability</a:t>
              </a:r>
            </a:p>
            <a:p>
              <a:pPr marL="285750" indent="-285750">
                <a:lnSpc>
                  <a:spcPct val="150000"/>
                </a:lnSpc>
                <a:buFont typeface="Wingdings" panose="05000000000000000000" pitchFamily="2" charset="2"/>
                <a:buChar char="q"/>
              </a:pPr>
              <a:r>
                <a:rPr lang="en-US" sz="900" dirty="0" smtClean="0">
                  <a:solidFill>
                    <a:schemeClr val="accent3"/>
                  </a:solidFill>
                </a:rPr>
                <a:t>Uncertainty, Delays and no accountability</a:t>
              </a:r>
              <a:endParaRPr lang="en-US" sz="900" dirty="0">
                <a:solidFill>
                  <a:schemeClr val="accent3"/>
                </a:solidFill>
              </a:endParaRPr>
            </a:p>
            <a:p>
              <a:pPr marL="285750" indent="-285750">
                <a:lnSpc>
                  <a:spcPct val="150000"/>
                </a:lnSpc>
                <a:buFont typeface="Wingdings" panose="05000000000000000000" pitchFamily="2" charset="2"/>
                <a:buChar char="q"/>
              </a:pPr>
              <a:r>
                <a:rPr lang="en-US" sz="900" dirty="0">
                  <a:solidFill>
                    <a:schemeClr val="accent3"/>
                  </a:solidFill>
                </a:rPr>
                <a:t>No Full Stack Deployment</a:t>
              </a:r>
            </a:p>
            <a:p>
              <a:pPr marL="285750" indent="-285750">
                <a:lnSpc>
                  <a:spcPct val="150000"/>
                </a:lnSpc>
                <a:buFont typeface="Wingdings" panose="05000000000000000000" pitchFamily="2" charset="2"/>
                <a:buChar char="q"/>
              </a:pPr>
              <a:r>
                <a:rPr lang="en-US" sz="900" dirty="0" smtClean="0">
                  <a:solidFill>
                    <a:schemeClr val="accent3"/>
                  </a:solidFill>
                </a:rPr>
                <a:t>No </a:t>
              </a:r>
              <a:r>
                <a:rPr lang="en-US" sz="900" dirty="0">
                  <a:solidFill>
                    <a:schemeClr val="accent3"/>
                  </a:solidFill>
                </a:rPr>
                <a:t>Full Stack Deployment</a:t>
              </a:r>
            </a:p>
            <a:p>
              <a:pPr marL="285750" indent="-285750">
                <a:lnSpc>
                  <a:spcPct val="150000"/>
                </a:lnSpc>
                <a:buFont typeface="Wingdings" panose="05000000000000000000" pitchFamily="2" charset="2"/>
                <a:buChar char="q"/>
              </a:pPr>
              <a:endParaRPr lang="en-US" sz="900" dirty="0" smtClean="0">
                <a:solidFill>
                  <a:schemeClr val="accent3"/>
                </a:solidFill>
              </a:endParaRPr>
            </a:p>
            <a:p>
              <a:pPr marL="285750" indent="-285750">
                <a:lnSpc>
                  <a:spcPct val="150000"/>
                </a:lnSpc>
                <a:buFont typeface="Wingdings" panose="05000000000000000000" pitchFamily="2" charset="2"/>
                <a:buChar char="q"/>
              </a:pPr>
              <a:r>
                <a:rPr lang="en-US" sz="900" dirty="0" smtClean="0">
                  <a:solidFill>
                    <a:schemeClr val="accent3"/>
                  </a:solidFill>
                </a:rPr>
                <a:t>No Full Stack Deployment</a:t>
              </a:r>
            </a:p>
            <a:p>
              <a:pPr marL="285750" indent="-285750">
                <a:lnSpc>
                  <a:spcPct val="150000"/>
                </a:lnSpc>
                <a:buFont typeface="Wingdings" panose="05000000000000000000" pitchFamily="2" charset="2"/>
                <a:buChar char="q"/>
              </a:pPr>
              <a:r>
                <a:rPr lang="en-US" sz="900" dirty="0" smtClean="0">
                  <a:solidFill>
                    <a:schemeClr val="accent3"/>
                  </a:solidFill>
                </a:rPr>
                <a:t>First Time Right Environment</a:t>
              </a:r>
            </a:p>
            <a:p>
              <a:pPr marL="285750" indent="-285750">
                <a:lnSpc>
                  <a:spcPct val="150000"/>
                </a:lnSpc>
                <a:buFont typeface="Wingdings" panose="05000000000000000000" pitchFamily="2" charset="2"/>
                <a:buChar char="q"/>
              </a:pPr>
              <a:r>
                <a:rPr lang="en-US" sz="900" dirty="0" smtClean="0">
                  <a:solidFill>
                    <a:schemeClr val="accent3"/>
                  </a:solidFill>
                </a:rPr>
                <a:t>Low fulfillment</a:t>
              </a:r>
            </a:p>
            <a:p>
              <a:pPr marL="285750" indent="-285750">
                <a:lnSpc>
                  <a:spcPct val="150000"/>
                </a:lnSpc>
                <a:buFont typeface="Wingdings" panose="05000000000000000000" pitchFamily="2" charset="2"/>
                <a:buChar char="q"/>
              </a:pPr>
              <a:r>
                <a:rPr lang="en-US" sz="900" dirty="0" smtClean="0">
                  <a:solidFill>
                    <a:schemeClr val="accent3"/>
                  </a:solidFill>
                </a:rPr>
                <a:t>Quick Feedback</a:t>
              </a:r>
            </a:p>
          </p:txBody>
        </p:sp>
        <p:sp>
          <p:nvSpPr>
            <p:cNvPr id="11" name="TextBox 10"/>
            <p:cNvSpPr txBox="1"/>
            <p:nvPr/>
          </p:nvSpPr>
          <p:spPr>
            <a:xfrm>
              <a:off x="4794175" y="653437"/>
              <a:ext cx="2233961" cy="227573"/>
            </a:xfrm>
            <a:prstGeom prst="rect">
              <a:avLst/>
            </a:prstGeom>
            <a:noFill/>
          </p:spPr>
          <p:txBody>
            <a:bodyPr wrap="square" rtlCol="0">
              <a:spAutoFit/>
            </a:bodyPr>
            <a:lstStyle/>
            <a:p>
              <a:pPr algn="ctr"/>
              <a:r>
                <a:rPr lang="en-US" sz="1000" b="1" dirty="0" smtClean="0">
                  <a:solidFill>
                    <a:schemeClr val="accent3"/>
                  </a:solidFill>
                </a:rPr>
                <a:t>Impacts if not initiated</a:t>
              </a:r>
              <a:endParaRPr lang="en-US" sz="1000" b="1" dirty="0">
                <a:solidFill>
                  <a:schemeClr val="accent3"/>
                </a:solidFill>
              </a:endParaRPr>
            </a:p>
          </p:txBody>
        </p:sp>
        <p:sp>
          <p:nvSpPr>
            <p:cNvPr id="12" name="Rectangle 11"/>
            <p:cNvSpPr/>
            <p:nvPr/>
          </p:nvSpPr>
          <p:spPr>
            <a:xfrm>
              <a:off x="7053882" y="940116"/>
              <a:ext cx="2029909" cy="277583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Wingdings" panose="05000000000000000000" pitchFamily="2" charset="2"/>
                <a:buChar char="q"/>
              </a:pPr>
              <a:r>
                <a:rPr lang="en-US" sz="900" dirty="0" smtClean="0">
                  <a:solidFill>
                    <a:schemeClr val="accent3"/>
                  </a:solidFill>
                </a:rPr>
                <a:t>Jenkin/Team Service</a:t>
              </a:r>
            </a:p>
            <a:p>
              <a:pPr marL="285750" indent="-285750">
                <a:lnSpc>
                  <a:spcPct val="150000"/>
                </a:lnSpc>
                <a:buFont typeface="Wingdings" panose="05000000000000000000" pitchFamily="2" charset="2"/>
                <a:buChar char="q"/>
              </a:pPr>
              <a:r>
                <a:rPr lang="en-US" sz="900" dirty="0" smtClean="0">
                  <a:solidFill>
                    <a:schemeClr val="accent3"/>
                  </a:solidFill>
                </a:rPr>
                <a:t>Nexus</a:t>
              </a:r>
            </a:p>
            <a:p>
              <a:pPr marL="285750" indent="-285750">
                <a:lnSpc>
                  <a:spcPct val="150000"/>
                </a:lnSpc>
                <a:buFont typeface="Wingdings" panose="05000000000000000000" pitchFamily="2" charset="2"/>
                <a:buChar char="q"/>
              </a:pPr>
              <a:r>
                <a:rPr lang="en-US" sz="900" dirty="0" smtClean="0">
                  <a:solidFill>
                    <a:schemeClr val="accent3"/>
                  </a:solidFill>
                </a:rPr>
                <a:t>Confluence/Yammer</a:t>
              </a:r>
            </a:p>
            <a:p>
              <a:pPr marL="285750" indent="-285750">
                <a:lnSpc>
                  <a:spcPct val="150000"/>
                </a:lnSpc>
                <a:buFont typeface="Wingdings" panose="05000000000000000000" pitchFamily="2" charset="2"/>
                <a:buChar char="q"/>
              </a:pPr>
              <a:r>
                <a:rPr lang="en-US" sz="900" dirty="0" smtClean="0">
                  <a:solidFill>
                    <a:schemeClr val="accent3"/>
                  </a:solidFill>
                </a:rPr>
                <a:t>JIRA Integrated with </a:t>
              </a:r>
              <a:r>
                <a:rPr lang="en-US" sz="900" dirty="0" err="1" smtClean="0">
                  <a:solidFill>
                    <a:schemeClr val="accent3"/>
                  </a:solidFill>
                </a:rPr>
                <a:t>GitLab</a:t>
              </a:r>
              <a:endParaRPr lang="en-US" sz="900" dirty="0">
                <a:solidFill>
                  <a:schemeClr val="accent3"/>
                </a:solidFill>
              </a:endParaRPr>
            </a:p>
            <a:p>
              <a:pPr marL="285750" indent="-285750">
                <a:lnSpc>
                  <a:spcPct val="150000"/>
                </a:lnSpc>
                <a:buFont typeface="Wingdings" panose="05000000000000000000" pitchFamily="2" charset="2"/>
                <a:buChar char="q"/>
              </a:pPr>
              <a:r>
                <a:rPr lang="en-US" sz="900" dirty="0" err="1" smtClean="0">
                  <a:solidFill>
                    <a:schemeClr val="accent3"/>
                  </a:solidFill>
                </a:rPr>
                <a:t>UrbanCode</a:t>
              </a:r>
              <a:r>
                <a:rPr lang="en-US" sz="900" dirty="0" smtClean="0">
                  <a:solidFill>
                    <a:schemeClr val="accent3"/>
                  </a:solidFill>
                </a:rPr>
                <a:t>/XL-Release</a:t>
              </a:r>
            </a:p>
            <a:p>
              <a:pPr marL="285750" indent="-285750">
                <a:lnSpc>
                  <a:spcPct val="150000"/>
                </a:lnSpc>
                <a:buFont typeface="Wingdings" panose="05000000000000000000" pitchFamily="2" charset="2"/>
                <a:buChar char="q"/>
              </a:pPr>
              <a:endParaRPr lang="en-US" sz="900" dirty="0" smtClean="0">
                <a:solidFill>
                  <a:schemeClr val="accent3"/>
                </a:solidFill>
              </a:endParaRPr>
            </a:p>
            <a:p>
              <a:pPr marL="285750" indent="-285750">
                <a:lnSpc>
                  <a:spcPct val="150000"/>
                </a:lnSpc>
                <a:buFont typeface="Wingdings" panose="05000000000000000000" pitchFamily="2" charset="2"/>
                <a:buChar char="q"/>
              </a:pPr>
              <a:r>
                <a:rPr lang="en-US" sz="900" dirty="0" err="1" smtClean="0">
                  <a:solidFill>
                    <a:schemeClr val="accent3"/>
                  </a:solidFill>
                </a:rPr>
                <a:t>Liquibase</a:t>
              </a:r>
              <a:r>
                <a:rPr lang="en-US" sz="900" dirty="0" smtClean="0">
                  <a:solidFill>
                    <a:schemeClr val="accent3"/>
                  </a:solidFill>
                </a:rPr>
                <a:t> / </a:t>
              </a:r>
              <a:r>
                <a:rPr lang="en-US" sz="900" dirty="0" err="1" smtClean="0">
                  <a:solidFill>
                    <a:schemeClr val="accent3"/>
                  </a:solidFill>
                </a:rPr>
                <a:t>DBMaestro</a:t>
              </a:r>
              <a:endParaRPr lang="en-US" sz="900" dirty="0">
                <a:solidFill>
                  <a:schemeClr val="accent3"/>
                </a:solidFill>
              </a:endParaRPr>
            </a:p>
            <a:p>
              <a:pPr marL="285750" indent="-285750">
                <a:lnSpc>
                  <a:spcPct val="150000"/>
                </a:lnSpc>
                <a:buFont typeface="Wingdings" panose="05000000000000000000" pitchFamily="2" charset="2"/>
                <a:buChar char="q"/>
              </a:pPr>
              <a:r>
                <a:rPr lang="en-US" sz="900" dirty="0" smtClean="0">
                  <a:solidFill>
                    <a:schemeClr val="accent3"/>
                  </a:solidFill>
                </a:rPr>
                <a:t>Dockers</a:t>
              </a:r>
            </a:p>
            <a:p>
              <a:pPr marL="285750" indent="-285750">
                <a:lnSpc>
                  <a:spcPct val="150000"/>
                </a:lnSpc>
                <a:buFont typeface="Wingdings" panose="05000000000000000000" pitchFamily="2" charset="2"/>
                <a:buChar char="q"/>
              </a:pPr>
              <a:endParaRPr lang="en-US" sz="900" dirty="0" smtClean="0">
                <a:solidFill>
                  <a:schemeClr val="accent3"/>
                </a:solidFill>
              </a:endParaRPr>
            </a:p>
            <a:p>
              <a:pPr marL="285750" indent="-285750">
                <a:lnSpc>
                  <a:spcPct val="150000"/>
                </a:lnSpc>
                <a:buFont typeface="Wingdings" panose="05000000000000000000" pitchFamily="2" charset="2"/>
                <a:buChar char="q"/>
              </a:pPr>
              <a:r>
                <a:rPr lang="en-US" sz="900" dirty="0" err="1" smtClean="0">
                  <a:solidFill>
                    <a:schemeClr val="accent3"/>
                  </a:solidFill>
                </a:rPr>
                <a:t>Endevor,Xpediter</a:t>
              </a:r>
              <a:r>
                <a:rPr lang="en-US" sz="900" dirty="0" smtClean="0">
                  <a:solidFill>
                    <a:schemeClr val="accent3"/>
                  </a:solidFill>
                </a:rPr>
                <a:t>, CAST</a:t>
              </a:r>
            </a:p>
            <a:p>
              <a:pPr marL="285750" indent="-285750">
                <a:lnSpc>
                  <a:spcPct val="150000"/>
                </a:lnSpc>
                <a:buFont typeface="Wingdings" panose="05000000000000000000" pitchFamily="2" charset="2"/>
                <a:buChar char="q"/>
              </a:pPr>
              <a:r>
                <a:rPr lang="en-US" sz="900" dirty="0" smtClean="0">
                  <a:solidFill>
                    <a:schemeClr val="accent3"/>
                  </a:solidFill>
                </a:rPr>
                <a:t>Ansible/Chef/Puppet</a:t>
              </a:r>
            </a:p>
            <a:p>
              <a:pPr marL="285750" indent="-285750">
                <a:lnSpc>
                  <a:spcPct val="150000"/>
                </a:lnSpc>
                <a:buFont typeface="Wingdings" panose="05000000000000000000" pitchFamily="2" charset="2"/>
                <a:buChar char="q"/>
              </a:pPr>
              <a:r>
                <a:rPr lang="en-US" sz="900" dirty="0" smtClean="0">
                  <a:solidFill>
                    <a:schemeClr val="accent3"/>
                  </a:solidFill>
                </a:rPr>
                <a:t>AWS Cloud/</a:t>
              </a:r>
              <a:r>
                <a:rPr lang="en-US" sz="900" dirty="0" err="1" smtClean="0">
                  <a:solidFill>
                    <a:schemeClr val="accent3"/>
                  </a:solidFill>
                </a:rPr>
                <a:t>OpenShift</a:t>
              </a:r>
              <a:endParaRPr lang="en-US" sz="900" dirty="0" smtClean="0">
                <a:solidFill>
                  <a:schemeClr val="accent3"/>
                </a:solidFill>
              </a:endParaRPr>
            </a:p>
            <a:p>
              <a:pPr marL="285750" indent="-285750">
                <a:lnSpc>
                  <a:spcPct val="150000"/>
                </a:lnSpc>
                <a:buFont typeface="Wingdings" panose="05000000000000000000" pitchFamily="2" charset="2"/>
                <a:buChar char="q"/>
              </a:pPr>
              <a:r>
                <a:rPr lang="en-US" sz="900" dirty="0" smtClean="0">
                  <a:solidFill>
                    <a:schemeClr val="accent3"/>
                  </a:solidFill>
                </a:rPr>
                <a:t>ELK, Kibana</a:t>
              </a:r>
            </a:p>
          </p:txBody>
        </p:sp>
        <p:sp>
          <p:nvSpPr>
            <p:cNvPr id="25" name="TextBox 24"/>
            <p:cNvSpPr txBox="1"/>
            <p:nvPr/>
          </p:nvSpPr>
          <p:spPr>
            <a:xfrm>
              <a:off x="6897297" y="666860"/>
              <a:ext cx="2233961" cy="227573"/>
            </a:xfrm>
            <a:prstGeom prst="rect">
              <a:avLst/>
            </a:prstGeom>
            <a:noFill/>
          </p:spPr>
          <p:txBody>
            <a:bodyPr wrap="square" rtlCol="0">
              <a:spAutoFit/>
            </a:bodyPr>
            <a:lstStyle/>
            <a:p>
              <a:pPr algn="ctr"/>
              <a:r>
                <a:rPr lang="en-US" sz="1000" b="1" dirty="0" smtClean="0">
                  <a:solidFill>
                    <a:schemeClr val="accent3"/>
                  </a:solidFill>
                </a:rPr>
                <a:t>Recommendation</a:t>
              </a:r>
              <a:endParaRPr lang="en-US" sz="1000" b="1" dirty="0">
                <a:solidFill>
                  <a:schemeClr val="accent3"/>
                </a:solidFill>
              </a:endParaRPr>
            </a:p>
          </p:txBody>
        </p:sp>
        <p:cxnSp>
          <p:nvCxnSpPr>
            <p:cNvPr id="26" name="Straight Connector 25"/>
            <p:cNvCxnSpPr/>
            <p:nvPr/>
          </p:nvCxnSpPr>
          <p:spPr>
            <a:xfrm flipH="1">
              <a:off x="2612560" y="1156682"/>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2612560" y="1362255"/>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2609035" y="1782239"/>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583030" y="2127462"/>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2583030" y="2689868"/>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2609035" y="1567820"/>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2540483" y="2328684"/>
              <a:ext cx="6550353" cy="10559"/>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2607837" y="3065723"/>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2611375" y="3241804"/>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2614914" y="3456391"/>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49" name="Straight Connector 48"/>
          <p:cNvCxnSpPr/>
          <p:nvPr/>
        </p:nvCxnSpPr>
        <p:spPr>
          <a:xfrm flipH="1">
            <a:off x="2632641" y="3054281"/>
            <a:ext cx="636110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75105" y="3955473"/>
            <a:ext cx="5224455" cy="215444"/>
          </a:xfrm>
          <a:prstGeom prst="rect">
            <a:avLst/>
          </a:prstGeom>
          <a:noFill/>
        </p:spPr>
        <p:txBody>
          <a:bodyPr wrap="square" rtlCol="0">
            <a:spAutoFit/>
          </a:bodyPr>
          <a:lstStyle/>
          <a:p>
            <a:r>
              <a:rPr lang="en-US" sz="800" dirty="0" smtClean="0"/>
              <a:t>Note : Current DevOps Aspects adopted are partially adopted and across all portfolios</a:t>
            </a:r>
            <a:endParaRPr lang="en-US" sz="800" dirty="0"/>
          </a:p>
        </p:txBody>
      </p:sp>
    </p:spTree>
    <p:extLst>
      <p:ext uri="{BB962C8B-B14F-4D97-AF65-F5344CB8AC3E}">
        <p14:creationId xmlns:p14="http://schemas.microsoft.com/office/powerpoint/2010/main" val="16225366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4" name="Rounded Rectangle 3"/>
          <p:cNvSpPr/>
          <p:nvPr/>
        </p:nvSpPr>
        <p:spPr bwMode="auto">
          <a:xfrm>
            <a:off x="3419543" y="587818"/>
            <a:ext cx="1404534" cy="213675"/>
          </a:xfrm>
          <a:prstGeom prst="roundRect">
            <a:avLst>
              <a:gd name="adj" fmla="val 4342"/>
            </a:avLst>
          </a:prstGeom>
          <a:solidFill>
            <a:srgbClr val="C7EAFB">
              <a:lumMod val="75000"/>
            </a:srgbClr>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Solution Themes</a:t>
            </a:r>
          </a:p>
        </p:txBody>
      </p:sp>
      <p:sp>
        <p:nvSpPr>
          <p:cNvPr id="5" name="Rounded Rectangle 4"/>
          <p:cNvSpPr/>
          <p:nvPr/>
        </p:nvSpPr>
        <p:spPr bwMode="auto">
          <a:xfrm>
            <a:off x="6757289" y="569149"/>
            <a:ext cx="1266290" cy="235346"/>
          </a:xfrm>
          <a:prstGeom prst="roundRect">
            <a:avLst>
              <a:gd name="adj" fmla="val 4342"/>
            </a:avLst>
          </a:prstGeom>
          <a:solidFill>
            <a:srgbClr val="92D050"/>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Indicative Benefit</a:t>
            </a:r>
          </a:p>
        </p:txBody>
      </p:sp>
      <p:sp>
        <p:nvSpPr>
          <p:cNvPr id="6" name="Rounded Rectangle 5"/>
          <p:cNvSpPr/>
          <p:nvPr/>
        </p:nvSpPr>
        <p:spPr bwMode="auto">
          <a:xfrm>
            <a:off x="4979464" y="594730"/>
            <a:ext cx="1493911" cy="201815"/>
          </a:xfrm>
          <a:prstGeom prst="roundRect">
            <a:avLst>
              <a:gd name="adj" fmla="val 4342"/>
            </a:avLst>
          </a:prstGeom>
          <a:solidFill>
            <a:schemeClr val="tx2">
              <a:lumMod val="75000"/>
            </a:schemeClr>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smtClean="0">
                <a:solidFill>
                  <a:sysClr val="window" lastClr="FFFFFF"/>
                </a:solidFill>
                <a:latin typeface="Calibri" panose="020F0502020204030204" pitchFamily="34" charset="0"/>
                <a:ea typeface="ＭＳ Ｐゴシック" pitchFamily="-12" charset="-128"/>
                <a:cs typeface="Calibri" pitchFamily="34" charset="0"/>
              </a:rPr>
              <a:t>Best Practice</a:t>
            </a:r>
            <a:endParaRPr lang="en-US" sz="1050" b="1" kern="0" dirty="0">
              <a:solidFill>
                <a:sysClr val="window" lastClr="FFFFFF"/>
              </a:solidFill>
              <a:latin typeface="Calibri" panose="020F0502020204030204" pitchFamily="34" charset="0"/>
              <a:ea typeface="ＭＳ Ｐゴシック" pitchFamily="-12" charset="-128"/>
              <a:cs typeface="Calibri" pitchFamily="34" charset="0"/>
            </a:endParaRPr>
          </a:p>
        </p:txBody>
      </p:sp>
      <p:sp>
        <p:nvSpPr>
          <p:cNvPr id="7" name="Rounded Rectangle 6"/>
          <p:cNvSpPr/>
          <p:nvPr/>
        </p:nvSpPr>
        <p:spPr bwMode="auto">
          <a:xfrm>
            <a:off x="793724" y="590821"/>
            <a:ext cx="1404534" cy="213675"/>
          </a:xfrm>
          <a:prstGeom prst="roundRect">
            <a:avLst>
              <a:gd name="adj" fmla="val 4342"/>
            </a:avLst>
          </a:prstGeom>
          <a:solidFill>
            <a:srgbClr val="FF7575"/>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Problem</a:t>
            </a:r>
          </a:p>
        </p:txBody>
      </p:sp>
      <p:graphicFrame>
        <p:nvGraphicFramePr>
          <p:cNvPr id="8" name="Table 7"/>
          <p:cNvGraphicFramePr>
            <a:graphicFrameLocks noGrp="1"/>
          </p:cNvGraphicFramePr>
          <p:nvPr>
            <p:extLst>
              <p:ext uri="{D42A27DB-BD31-4B8C-83A1-F6EECF244321}">
                <p14:modId xmlns:p14="http://schemas.microsoft.com/office/powerpoint/2010/main" val="1466217610"/>
              </p:ext>
            </p:extLst>
          </p:nvPr>
        </p:nvGraphicFramePr>
        <p:xfrm>
          <a:off x="123864" y="814949"/>
          <a:ext cx="8839162" cy="4046220"/>
        </p:xfrm>
        <a:graphic>
          <a:graphicData uri="http://schemas.openxmlformats.org/drawingml/2006/table">
            <a:tbl>
              <a:tblPr firstRow="1" bandRow="1">
                <a:tableStyleId>{2D5ABB26-0587-4C30-8999-92F81FD0307C}</a:tableStyleId>
              </a:tblPr>
              <a:tblGrid>
                <a:gridCol w="641545"/>
                <a:gridCol w="2643451"/>
                <a:gridCol w="1571148"/>
                <a:gridCol w="1773218"/>
                <a:gridCol w="2209800"/>
              </a:tblGrid>
              <a:tr h="1612281">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DEV</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Calibri" panose="020F0502020204030204" pitchFamily="34" charset="0"/>
                        </a:rPr>
                        <a:t>No immediate feedback to developer on code change.</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rgbClr val="FF0000"/>
                          </a:solidFill>
                          <a:latin typeface="Calibri" panose="020F0502020204030204" pitchFamily="34" charset="0"/>
                        </a:rPr>
                        <a:t>Deployment</a:t>
                      </a:r>
                      <a:r>
                        <a:rPr lang="en-US" sz="900" b="0" baseline="0" dirty="0" smtClean="0">
                          <a:solidFill>
                            <a:srgbClr val="FF0000"/>
                          </a:solidFill>
                          <a:latin typeface="Calibri" panose="020F0502020204030204" pitchFamily="34" charset="0"/>
                        </a:rPr>
                        <a:t> is manual in lower environments. Longer wait time for code drop to relevant environments.</a:t>
                      </a:r>
                      <a:endParaRPr lang="en-US" sz="900" b="0" dirty="0" smtClean="0">
                        <a:solidFill>
                          <a:srgbClr val="FF0000"/>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Enterprise Continuous Delivery</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kern="1200" cap="none" dirty="0" smtClean="0">
                          <a:solidFill>
                            <a:schemeClr val="tx1"/>
                          </a:solidFill>
                          <a:latin typeface="Calibri" panose="020F0502020204030204" pitchFamily="34" charset="0"/>
                          <a:ea typeface="+mn-ea"/>
                          <a:cs typeface="+mn-cs"/>
                        </a:rPr>
                        <a:t>Establish</a:t>
                      </a:r>
                      <a:r>
                        <a:rPr lang="en-US" sz="900" b="0" i="0" u="none" strike="noStrike" kern="1200" cap="none" baseline="0" dirty="0" smtClean="0">
                          <a:solidFill>
                            <a:schemeClr val="tx1"/>
                          </a:solidFill>
                          <a:latin typeface="Calibri" panose="020F0502020204030204" pitchFamily="34" charset="0"/>
                          <a:ea typeface="+mn-ea"/>
                          <a:cs typeface="+mn-cs"/>
                        </a:rPr>
                        <a:t> branching for each development feature, release or hotfix for all impacted components/sub-system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kern="1200" cap="none" baseline="0" dirty="0" smtClean="0">
                          <a:solidFill>
                            <a:schemeClr val="tx1"/>
                          </a:solidFill>
                          <a:latin typeface="Calibri" panose="020F0502020204030204" pitchFamily="34" charset="0"/>
                          <a:ea typeface="+mn-ea"/>
                          <a:cs typeface="+mn-cs"/>
                        </a:rPr>
                        <a:t>Create a build mechanism for outputting release artifact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kern="1200" cap="none" baseline="0" dirty="0" smtClean="0">
                          <a:solidFill>
                            <a:schemeClr val="tx1"/>
                          </a:solidFill>
                          <a:latin typeface="Calibri" panose="020F0502020204030204" pitchFamily="34" charset="0"/>
                          <a:ea typeface="+mn-ea"/>
                          <a:cs typeface="+mn-cs"/>
                        </a:rPr>
                        <a:t>Frequently ensure auto-merge and manual conflict resolution is followed as early as possible</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kern="1200" cap="none" baseline="0" dirty="0" smtClean="0">
                          <a:solidFill>
                            <a:schemeClr val="tx1"/>
                          </a:solidFill>
                          <a:latin typeface="Calibri" panose="020F0502020204030204" pitchFamily="34" charset="0"/>
                          <a:ea typeface="+mn-ea"/>
                          <a:cs typeface="+mn-cs"/>
                          <a:sym typeface="Arial"/>
                        </a:rPr>
                        <a:t>Provision environment for build verification and deploy artifacts for each baselined release</a:t>
                      </a:r>
                      <a:endParaRPr lang="en-US" sz="900" b="0" i="0" u="none" strike="noStrike" kern="1200"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indent="-171450">
                        <a:buFont typeface="Wingdings" panose="05000000000000000000" pitchFamily="2" charset="2"/>
                        <a:buChar char="ü"/>
                      </a:pPr>
                      <a:r>
                        <a:rPr lang="en-US" sz="900" dirty="0" smtClean="0">
                          <a:latin typeface="Calibri" panose="020F0502020204030204" pitchFamily="34" charset="0"/>
                        </a:rPr>
                        <a:t>Early detection of</a:t>
                      </a:r>
                      <a:r>
                        <a:rPr lang="en-US" sz="900" baseline="0" dirty="0" smtClean="0">
                          <a:latin typeface="Calibri" panose="020F0502020204030204" pitchFamily="34" charset="0"/>
                        </a:rPr>
                        <a:t> problems,  continuous feedback on the product to developer</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smtClean="0">
                          <a:latin typeface="Calibri" panose="020F0502020204030204" pitchFamily="34" charset="0"/>
                        </a:rPr>
                        <a:t>Effort Reduction up to 40%,</a:t>
                      </a:r>
                      <a:r>
                        <a:rPr lang="en-US" sz="900" baseline="0" dirty="0" smtClean="0">
                          <a:latin typeface="Calibri" panose="020F0502020204030204" pitchFamily="34" charset="0"/>
                        </a:rPr>
                        <a:t> per industry experience and depending on effort spend on manual deployment</a:t>
                      </a:r>
                      <a:endParaRPr lang="en-US" sz="900" dirty="0" smtClean="0">
                        <a:latin typeface="Calibri" panose="020F0502020204030204" pitchFamily="34" charset="0"/>
                      </a:endParaRPr>
                    </a:p>
                    <a:p>
                      <a:endParaRPr lang="en-US" sz="900" dirty="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r h="1373424">
                <a:tc row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QA</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rowSpan="2">
                  <a:txBody>
                    <a:bodyPr/>
                    <a:lstStyle/>
                    <a:p>
                      <a:pPr marL="0" marR="0" lvl="0" indent="0" algn="l" defTabSz="469028"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In-consistent QA cycles.</a:t>
                      </a:r>
                      <a:endParaRPr lang="en-US" sz="900" baseline="0" dirty="0" smtClean="0">
                        <a:latin typeface="Calibri" panose="020F0502020204030204" pitchFamily="34" charset="0"/>
                      </a:endParaRPr>
                    </a:p>
                    <a:p>
                      <a:pPr marL="0" marR="0" lvl="0" indent="0" algn="l" defTabSz="469028"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Test Execution results are hard to trace</a:t>
                      </a:r>
                      <a:r>
                        <a:rPr lang="en-US" sz="900" baseline="0" dirty="0" smtClean="0">
                          <a:latin typeface="Calibri" panose="020F0502020204030204" pitchFamily="34" charset="0"/>
                        </a:rPr>
                        <a:t>.</a:t>
                      </a:r>
                    </a:p>
                    <a:p>
                      <a:pPr marL="0" marR="0" lvl="0" indent="0" algn="l" defTabSz="469028" rtl="0" eaLnBrk="1" fontAlgn="auto" latinLnBrk="0" hangingPunct="1">
                        <a:lnSpc>
                          <a:spcPct val="100000"/>
                        </a:lnSpc>
                        <a:spcBef>
                          <a:spcPts val="0"/>
                        </a:spcBef>
                        <a:spcAft>
                          <a:spcPts val="0"/>
                        </a:spcAft>
                        <a:buClrTx/>
                        <a:buSzTx/>
                        <a:buFontTx/>
                        <a:buNone/>
                        <a:tabLst/>
                        <a:defRPr/>
                      </a:pPr>
                      <a:r>
                        <a:rPr lang="en-US" sz="900" b="1" baseline="0" dirty="0" smtClean="0">
                          <a:solidFill>
                            <a:schemeClr val="tx1"/>
                          </a:solidFill>
                          <a:latin typeface="Calibri" panose="020F0502020204030204" pitchFamily="34" charset="0"/>
                        </a:rPr>
                        <a:t>Failure and Negative Scenarios needs to be included in to regression cycles</a:t>
                      </a:r>
                    </a:p>
                    <a:p>
                      <a:pPr marL="0" marR="0" lvl="0" indent="0" algn="l" defTabSz="469028" rtl="0" eaLnBrk="1" fontAlgn="auto" latinLnBrk="0" hangingPunct="1">
                        <a:lnSpc>
                          <a:spcPct val="100000"/>
                        </a:lnSpc>
                        <a:spcBef>
                          <a:spcPts val="0"/>
                        </a:spcBef>
                        <a:spcAft>
                          <a:spcPts val="0"/>
                        </a:spcAft>
                        <a:buClrTx/>
                        <a:buSzTx/>
                        <a:buFontTx/>
                        <a:buNone/>
                        <a:tabLst/>
                        <a:defRPr/>
                      </a:pPr>
                      <a:r>
                        <a:rPr lang="en-US" sz="900" b="1" baseline="0" dirty="0" smtClean="0">
                          <a:solidFill>
                            <a:schemeClr val="tx1"/>
                          </a:solidFill>
                          <a:latin typeface="Calibri" panose="020F0502020204030204" pitchFamily="34" charset="0"/>
                        </a:rPr>
                        <a:t>Antagonistic Smoke E2E testing needs to increased</a:t>
                      </a:r>
                      <a:endParaRPr lang="en-US" sz="900" b="1"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rowSpan="2">
                  <a:txBody>
                    <a:bodyPr/>
                    <a:lstStyle/>
                    <a:p>
                      <a:pPr marL="0" marR="0" lvl="0" indent="0" algn="ctr" defTabSz="469028"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Test Automation</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smtClean="0">
                          <a:latin typeface="Calibri" panose="020F0502020204030204" pitchFamily="34" charset="0"/>
                        </a:rPr>
                        <a:t>Collaboratively</a:t>
                      </a:r>
                      <a:r>
                        <a:rPr lang="en-US" sz="900" baseline="0" dirty="0" smtClean="0">
                          <a:latin typeface="Calibri" panose="020F0502020204030204" pitchFamily="34" charset="0"/>
                        </a:rPr>
                        <a:t> c</a:t>
                      </a:r>
                      <a:r>
                        <a:rPr lang="en-US" sz="900" dirty="0" smtClean="0">
                          <a:latin typeface="Calibri" panose="020F0502020204030204" pitchFamily="34" charset="0"/>
                        </a:rPr>
                        <a:t>reate and maintain test library</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smtClean="0">
                          <a:latin typeface="Calibri" panose="020F0502020204030204" pitchFamily="34" charset="0"/>
                        </a:rPr>
                        <a:t>Identify test scenarios/cases for each of the impacted code change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smtClean="0">
                          <a:latin typeface="Calibri" panose="020F0502020204030204" pitchFamily="34" charset="0"/>
                        </a:rPr>
                        <a:t>Establish bi-directional</a:t>
                      </a:r>
                      <a:r>
                        <a:rPr lang="en-US" sz="900" baseline="0" dirty="0" smtClean="0">
                          <a:latin typeface="Calibri" panose="020F0502020204030204" pitchFamily="34" charset="0"/>
                        </a:rPr>
                        <a:t> traceability from requirement to test scenarios/cases</a:t>
                      </a:r>
                      <a:endParaRPr lang="en-US" sz="900" dirty="0" smtClean="0">
                        <a:latin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smtClean="0">
                          <a:latin typeface="Calibri" panose="020F0502020204030204" pitchFamily="34" charset="0"/>
                        </a:rPr>
                        <a:t>Ensure</a:t>
                      </a:r>
                      <a:r>
                        <a:rPr lang="en-US" sz="900" baseline="0" dirty="0" smtClean="0">
                          <a:latin typeface="Calibri" panose="020F0502020204030204" pitchFamily="34" charset="0"/>
                        </a:rPr>
                        <a:t> code/test coverage using bi-directional traceability</a:t>
                      </a:r>
                      <a:endParaRPr lang="en-US" sz="900" dirty="0" smtClean="0">
                        <a:latin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900" dirty="0" smtClean="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l" defTabSz="46902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Calibri" panose="020F0502020204030204" pitchFamily="34" charset="0"/>
                        </a:rPr>
                        <a:t>Effort Reduction up to 40%,</a:t>
                      </a:r>
                      <a:r>
                        <a:rPr lang="en-US" sz="900" baseline="0" dirty="0" smtClean="0">
                          <a:solidFill>
                            <a:schemeClr val="tx1"/>
                          </a:solidFill>
                          <a:latin typeface="Calibri" panose="020F0502020204030204" pitchFamily="34" charset="0"/>
                        </a:rPr>
                        <a:t> per industry experience and depending on effort spend on manual E2E testing.</a:t>
                      </a:r>
                      <a:endParaRPr lang="en-US" sz="900" dirty="0" smtClean="0">
                        <a:solidFill>
                          <a:schemeClr val="tx1"/>
                        </a:solidFill>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r h="537427">
                <a:tc vMerge="1">
                  <a:txBody>
                    <a:bodyPr/>
                    <a:lstStyle/>
                    <a:p>
                      <a:endParaRPr lang="en-US"/>
                    </a:p>
                  </a:txBody>
                  <a:tcPr/>
                </a:tc>
                <a:tc vMerge="1">
                  <a:txBody>
                    <a:bodyPr/>
                    <a:lstStyle/>
                    <a:p>
                      <a:endParaRPr lang="en-US"/>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vMerge="1">
                  <a:txBody>
                    <a:bodyPr/>
                    <a:lstStyle/>
                    <a:p>
                      <a:endParaRPr lang="en-US" dirty="0"/>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cap="none" dirty="0" smtClean="0">
                          <a:solidFill>
                            <a:schemeClr val="tx1"/>
                          </a:solidFill>
                          <a:latin typeface="Calibri" panose="020F0502020204030204" pitchFamily="34" charset="0"/>
                          <a:ea typeface="+mn-ea"/>
                          <a:cs typeface="+mn-cs"/>
                          <a:sym typeface="Arial"/>
                        </a:rPr>
                        <a:t>Ensure</a:t>
                      </a:r>
                      <a:r>
                        <a:rPr lang="en-US" sz="900" b="0" i="0" u="none" strike="noStrike" cap="none" baseline="0" dirty="0" smtClean="0">
                          <a:solidFill>
                            <a:schemeClr val="tx1"/>
                          </a:solidFill>
                          <a:latin typeface="Calibri" panose="020F0502020204030204" pitchFamily="34" charset="0"/>
                          <a:ea typeface="+mn-ea"/>
                          <a:cs typeface="+mn-cs"/>
                          <a:sym typeface="Arial"/>
                        </a:rPr>
                        <a:t> all</a:t>
                      </a:r>
                      <a:r>
                        <a:rPr lang="en-US" sz="900" b="0" i="0" u="none" strike="noStrike" cap="none" dirty="0" smtClean="0">
                          <a:solidFill>
                            <a:schemeClr val="tx1"/>
                          </a:solidFill>
                          <a:latin typeface="Calibri" panose="020F0502020204030204" pitchFamily="34" charset="0"/>
                          <a:ea typeface="+mn-ea"/>
                          <a:cs typeface="+mn-cs"/>
                          <a:sym typeface="Arial"/>
                        </a:rPr>
                        <a:t> E2E testing execution is triggered within the CI pipeline</a:t>
                      </a:r>
                      <a:r>
                        <a:rPr lang="en-US" sz="900" b="0" i="0" u="none" strike="noStrike" cap="none" baseline="0" dirty="0" smtClean="0">
                          <a:solidFill>
                            <a:schemeClr val="tx1"/>
                          </a:solidFill>
                          <a:latin typeface="Calibri" panose="020F0502020204030204" pitchFamily="34" charset="0"/>
                          <a:ea typeface="+mn-ea"/>
                          <a:cs typeface="+mn-cs"/>
                          <a:sym typeface="Arial"/>
                        </a:rPr>
                        <a:t> for every deployment</a:t>
                      </a:r>
                      <a:endParaRPr lang="en-US" sz="900" b="0" i="0" u="none" strike="noStrike"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r>
                        <a:rPr lang="en-US" sz="900" dirty="0" smtClean="0">
                          <a:solidFill>
                            <a:schemeClr val="tx1"/>
                          </a:solidFill>
                          <a:latin typeface="Calibri" panose="020F0502020204030204" pitchFamily="34" charset="0"/>
                        </a:rPr>
                        <a:t>Effort Reduction in sanity E2E testing post</a:t>
                      </a:r>
                      <a:r>
                        <a:rPr lang="en-US" sz="900" baseline="0" dirty="0" smtClean="0">
                          <a:solidFill>
                            <a:schemeClr val="tx1"/>
                          </a:solidFill>
                          <a:latin typeface="Calibri" panose="020F0502020204030204" pitchFamily="34" charset="0"/>
                        </a:rPr>
                        <a:t> deployment and accelerated time to market.</a:t>
                      </a:r>
                      <a:endParaRPr lang="en-US" sz="900" dirty="0">
                        <a:solidFill>
                          <a:schemeClr val="tx1"/>
                        </a:solidFill>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bl>
          </a:graphicData>
        </a:graphic>
      </p:graphicFrame>
      <p:sp>
        <p:nvSpPr>
          <p:cNvPr id="9" name="Title 1"/>
          <p:cNvSpPr txBox="1">
            <a:spLocks/>
          </p:cNvSpPr>
          <p:nvPr/>
        </p:nvSpPr>
        <p:spPr>
          <a:xfrm>
            <a:off x="123382" y="92144"/>
            <a:ext cx="8743950" cy="4037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defTabSz="457200">
              <a:defRPr sz="2400">
                <a:ea typeface="+mj-ea"/>
                <a:cs typeface="Frutiger LT Std 55 Roman"/>
              </a:defRPr>
            </a:lvl1pPr>
          </a:lstStyle>
          <a:p>
            <a:pPr indent="-381000" defTabSz="914400">
              <a:spcBef>
                <a:spcPct val="0"/>
              </a:spcBef>
              <a:buClr>
                <a:srgbClr val="0070C0"/>
              </a:buClr>
              <a:buSzPct val="25000"/>
            </a:pPr>
            <a:r>
              <a:rPr lang="en-US" b="1" dirty="0">
                <a:solidFill>
                  <a:srgbClr val="0099CC"/>
                </a:solidFill>
                <a:latin typeface="Arial"/>
                <a:cs typeface="Arial"/>
              </a:rPr>
              <a:t>Findings &amp; </a:t>
            </a:r>
            <a:r>
              <a:rPr lang="en-US" b="1" dirty="0" smtClean="0">
                <a:solidFill>
                  <a:srgbClr val="0099CC"/>
                </a:solidFill>
                <a:latin typeface="Arial"/>
                <a:cs typeface="Arial"/>
              </a:rPr>
              <a:t>Best Practice/Recommendations </a:t>
            </a:r>
            <a:r>
              <a:rPr lang="en-US" b="1" dirty="0">
                <a:solidFill>
                  <a:srgbClr val="0099CC"/>
                </a:solidFill>
                <a:latin typeface="Arial"/>
                <a:cs typeface="Arial"/>
              </a:rPr>
              <a:t>… (1/4)</a:t>
            </a:r>
          </a:p>
        </p:txBody>
      </p:sp>
    </p:spTree>
    <p:extLst>
      <p:ext uri="{BB962C8B-B14F-4D97-AF65-F5344CB8AC3E}">
        <p14:creationId xmlns:p14="http://schemas.microsoft.com/office/powerpoint/2010/main" val="21986544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4" name="Rounded Rectangle 3"/>
          <p:cNvSpPr/>
          <p:nvPr/>
        </p:nvSpPr>
        <p:spPr bwMode="auto">
          <a:xfrm>
            <a:off x="3419543" y="598454"/>
            <a:ext cx="1404534" cy="213675"/>
          </a:xfrm>
          <a:prstGeom prst="roundRect">
            <a:avLst>
              <a:gd name="adj" fmla="val 4342"/>
            </a:avLst>
          </a:prstGeom>
          <a:solidFill>
            <a:srgbClr val="C7EAFB">
              <a:lumMod val="75000"/>
            </a:srgbClr>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Solution Themes</a:t>
            </a:r>
          </a:p>
        </p:txBody>
      </p:sp>
      <p:sp>
        <p:nvSpPr>
          <p:cNvPr id="5" name="Rounded Rectangle 4"/>
          <p:cNvSpPr/>
          <p:nvPr/>
        </p:nvSpPr>
        <p:spPr bwMode="auto">
          <a:xfrm>
            <a:off x="6757289" y="579785"/>
            <a:ext cx="1266290" cy="235346"/>
          </a:xfrm>
          <a:prstGeom prst="roundRect">
            <a:avLst>
              <a:gd name="adj" fmla="val 4342"/>
            </a:avLst>
          </a:prstGeom>
          <a:solidFill>
            <a:srgbClr val="92D050"/>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Indicative Benefit</a:t>
            </a:r>
          </a:p>
        </p:txBody>
      </p:sp>
      <p:sp>
        <p:nvSpPr>
          <p:cNvPr id="6" name="Rounded Rectangle 5"/>
          <p:cNvSpPr/>
          <p:nvPr/>
        </p:nvSpPr>
        <p:spPr bwMode="auto">
          <a:xfrm>
            <a:off x="4979464" y="605366"/>
            <a:ext cx="1493911" cy="201815"/>
          </a:xfrm>
          <a:prstGeom prst="roundRect">
            <a:avLst>
              <a:gd name="adj" fmla="val 4342"/>
            </a:avLst>
          </a:prstGeom>
          <a:solidFill>
            <a:schemeClr val="tx2">
              <a:lumMod val="75000"/>
            </a:schemeClr>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smtClean="0">
                <a:solidFill>
                  <a:sysClr val="window" lastClr="FFFFFF"/>
                </a:solidFill>
                <a:latin typeface="Calibri" panose="020F0502020204030204" pitchFamily="34" charset="0"/>
                <a:ea typeface="ＭＳ Ｐゴシック" pitchFamily="-12" charset="-128"/>
                <a:cs typeface="Calibri" pitchFamily="34" charset="0"/>
              </a:rPr>
              <a:t>Best Practice</a:t>
            </a:r>
            <a:endParaRPr lang="en-US" sz="1050" b="1" kern="0" dirty="0">
              <a:solidFill>
                <a:sysClr val="window" lastClr="FFFFFF"/>
              </a:solidFill>
              <a:latin typeface="Calibri" panose="020F0502020204030204" pitchFamily="34" charset="0"/>
              <a:ea typeface="ＭＳ Ｐゴシック" pitchFamily="-12" charset="-128"/>
              <a:cs typeface="Calibri" pitchFamily="34" charset="0"/>
            </a:endParaRPr>
          </a:p>
        </p:txBody>
      </p:sp>
      <p:sp>
        <p:nvSpPr>
          <p:cNvPr id="7" name="Rounded Rectangle 6"/>
          <p:cNvSpPr/>
          <p:nvPr/>
        </p:nvSpPr>
        <p:spPr bwMode="auto">
          <a:xfrm>
            <a:off x="793724" y="601457"/>
            <a:ext cx="1404534" cy="213675"/>
          </a:xfrm>
          <a:prstGeom prst="roundRect">
            <a:avLst>
              <a:gd name="adj" fmla="val 4342"/>
            </a:avLst>
          </a:prstGeom>
          <a:solidFill>
            <a:srgbClr val="FF7575"/>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Problem</a:t>
            </a:r>
          </a:p>
        </p:txBody>
      </p:sp>
      <p:graphicFrame>
        <p:nvGraphicFramePr>
          <p:cNvPr id="8" name="Table 7"/>
          <p:cNvGraphicFramePr>
            <a:graphicFrameLocks noGrp="1"/>
          </p:cNvGraphicFramePr>
          <p:nvPr>
            <p:extLst>
              <p:ext uri="{D42A27DB-BD31-4B8C-83A1-F6EECF244321}">
                <p14:modId xmlns:p14="http://schemas.microsoft.com/office/powerpoint/2010/main" val="2216938284"/>
              </p:ext>
            </p:extLst>
          </p:nvPr>
        </p:nvGraphicFramePr>
        <p:xfrm>
          <a:off x="123864" y="825585"/>
          <a:ext cx="8839162" cy="3909060"/>
        </p:xfrm>
        <a:graphic>
          <a:graphicData uri="http://schemas.openxmlformats.org/drawingml/2006/table">
            <a:tbl>
              <a:tblPr firstRow="1" bandRow="1">
                <a:tableStyleId>{2D5ABB26-0587-4C30-8999-92F81FD0307C}</a:tableStyleId>
              </a:tblPr>
              <a:tblGrid>
                <a:gridCol w="716108"/>
                <a:gridCol w="2568888"/>
                <a:gridCol w="1571148"/>
                <a:gridCol w="1773218"/>
                <a:gridCol w="2209800"/>
              </a:tblGrid>
              <a:tr h="61722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QA</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Test data</a:t>
                      </a:r>
                      <a:r>
                        <a:rPr lang="en-US" sz="900" baseline="0" dirty="0" smtClean="0">
                          <a:latin typeface="Calibri" panose="020F0502020204030204" pitchFamily="34" charset="0"/>
                        </a:rPr>
                        <a:t> is processed manually.</a:t>
                      </a:r>
                      <a:endParaRPr lang="en-US" sz="900" dirty="0" smtClean="0">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Test Data Management</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smtClean="0">
                          <a:latin typeface="Calibri" panose="020F0502020204030204" pitchFamily="34" charset="0"/>
                        </a:rPr>
                        <a:t>Create test</a:t>
                      </a:r>
                      <a:r>
                        <a:rPr lang="en-US" sz="900" baseline="0" dirty="0" smtClean="0">
                          <a:latin typeface="Calibri" panose="020F0502020204030204" pitchFamily="34" charset="0"/>
                        </a:rPr>
                        <a:t> data snapshot/image for every deployment</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cap="none" baseline="0" dirty="0" smtClean="0">
                          <a:solidFill>
                            <a:schemeClr val="tx1"/>
                          </a:solidFill>
                          <a:latin typeface="Calibri" panose="020F0502020204030204" pitchFamily="34" charset="0"/>
                          <a:ea typeface="+mn-ea"/>
                          <a:cs typeface="+mn-cs"/>
                          <a:sym typeface="Arial"/>
                        </a:rPr>
                        <a:t>Ensure relevant test data is refreshed before test execution</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cap="none" baseline="0" dirty="0" smtClean="0">
                          <a:solidFill>
                            <a:schemeClr val="tx1"/>
                          </a:solidFill>
                          <a:latin typeface="Calibri" panose="020F0502020204030204" pitchFamily="34" charset="0"/>
                          <a:ea typeface="+mn-ea"/>
                          <a:cs typeface="+mn-cs"/>
                          <a:sym typeface="Arial"/>
                        </a:rPr>
                        <a:t>Establish periodic test data refresh to cover all impacted test scenarios/case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cap="none" baseline="0" dirty="0" smtClean="0">
                          <a:solidFill>
                            <a:schemeClr val="tx1"/>
                          </a:solidFill>
                          <a:latin typeface="Calibri" panose="020F0502020204030204" pitchFamily="34" charset="0"/>
                          <a:ea typeface="+mn-ea"/>
                          <a:cs typeface="+mn-cs"/>
                          <a:sym typeface="Arial"/>
                        </a:rPr>
                        <a:t>Rebase test data after each test execution</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cap="none" baseline="0" dirty="0" smtClean="0">
                          <a:solidFill>
                            <a:schemeClr val="tx1"/>
                          </a:solidFill>
                          <a:latin typeface="Calibri" panose="020F0502020204030204" pitchFamily="34" charset="0"/>
                          <a:ea typeface="+mn-ea"/>
                          <a:cs typeface="+mn-cs"/>
                          <a:sym typeface="Arial"/>
                        </a:rPr>
                        <a:t>Obfuscate production data image so that test data refresh to non-production environment doesn’t violate security measures</a:t>
                      </a:r>
                      <a:endParaRPr lang="en-US" sz="900" b="0" i="0" u="none" strike="noStrike"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Effort Reduction up to 35%,</a:t>
                      </a:r>
                      <a:r>
                        <a:rPr lang="en-US" sz="900" baseline="0" dirty="0" smtClean="0">
                          <a:latin typeface="Calibri" panose="020F0502020204030204" pitchFamily="34" charset="0"/>
                        </a:rPr>
                        <a:t> per industry experience and depending on effort spend on manual process.</a:t>
                      </a:r>
                      <a:r>
                        <a:rPr lang="en-US" sz="900" dirty="0" smtClean="0">
                          <a:latin typeface="Calibri" panose="020F0502020204030204" pitchFamily="34" charset="0"/>
                        </a:rPr>
                        <a:t> Less error prone</a:t>
                      </a:r>
                      <a:r>
                        <a:rPr lang="en-US" sz="900" baseline="0" dirty="0" smtClean="0">
                          <a:latin typeface="Calibri" panose="020F0502020204030204" pitchFamily="34" charset="0"/>
                        </a:rPr>
                        <a:t> and frequently production replicated test data.</a:t>
                      </a: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r h="61722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Unit Testing</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No Trace of Unit Testing and Code/Peer Review</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Test Automation</a:t>
                      </a: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dirty="0" smtClean="0">
                          <a:latin typeface="Calibri" panose="020F0502020204030204" pitchFamily="34" charset="0"/>
                        </a:rPr>
                        <a:t>Create Unit Test Cases Library and Maintain Unit Test Execution with traceability to Requirements and ST/SIT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aseline="0" dirty="0" smtClean="0">
                          <a:latin typeface="Calibri" panose="020F0502020204030204" pitchFamily="34" charset="0"/>
                        </a:rPr>
                        <a:t>Leverage Unit testing Framework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900" b="0" i="0" u="none" strike="noStrike"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n-US" sz="900" baseline="0" dirty="0" smtClean="0">
                          <a:latin typeface="Calibri" panose="020F0502020204030204" pitchFamily="34" charset="0"/>
                        </a:rPr>
                        <a:t>Improved Code Quality and  Reduced Cycles between CUT and User Verification</a:t>
                      </a: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r h="61722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SCM</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Calibri" panose="020F0502020204030204" pitchFamily="34" charset="0"/>
                        </a:rPr>
                        <a:t>Vendor</a:t>
                      </a:r>
                      <a:r>
                        <a:rPr lang="en-US" sz="900" b="0" baseline="0" dirty="0" smtClean="0">
                          <a:solidFill>
                            <a:schemeClr val="tx1"/>
                          </a:solidFill>
                          <a:latin typeface="Calibri" panose="020F0502020204030204" pitchFamily="34" charset="0"/>
                        </a:rPr>
                        <a:t> and </a:t>
                      </a:r>
                      <a:r>
                        <a:rPr lang="en-US" sz="900" b="0" baseline="0" dirty="0" err="1" smtClean="0">
                          <a:solidFill>
                            <a:schemeClr val="tx1"/>
                          </a:solidFill>
                          <a:latin typeface="Calibri" panose="020F0502020204030204" pitchFamily="34" charset="0"/>
                        </a:rPr>
                        <a:t>Naranja</a:t>
                      </a:r>
                      <a:r>
                        <a:rPr lang="en-US" sz="900" b="0" baseline="0" dirty="0" smtClean="0">
                          <a:solidFill>
                            <a:schemeClr val="tx1"/>
                          </a:solidFill>
                          <a:latin typeface="Calibri" panose="020F0502020204030204" pitchFamily="34" charset="0"/>
                        </a:rPr>
                        <a:t> is using SCM in silo.</a:t>
                      </a:r>
                      <a:endParaRPr lang="en-US" sz="900" b="0"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Continuous Integration</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900" b="0" i="0" u="none" strike="noStrike" cap="none" dirty="0" smtClean="0">
                          <a:solidFill>
                            <a:schemeClr val="tx1"/>
                          </a:solidFill>
                          <a:latin typeface="Calibri" panose="020F0502020204030204" pitchFamily="34" charset="0"/>
                          <a:ea typeface="+mn-ea"/>
                          <a:cs typeface="+mn-cs"/>
                          <a:sym typeface="Arial"/>
                        </a:rPr>
                        <a:t>Leverage the Auto Merge, Branch/Merge Best Practices</a:t>
                      </a: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n-US" sz="900" baseline="0" dirty="0" smtClean="0">
                          <a:latin typeface="Calibri" panose="020F0502020204030204" pitchFamily="34" charset="0"/>
                        </a:rPr>
                        <a:t>Improved Code Quality and  Reduced Cycles between CUT and User Verification</a:t>
                      </a:r>
                    </a:p>
                    <a:p>
                      <a:pPr marL="0" marR="0" lvl="0" indent="0" algn="just" defTabSz="1219170" rtl="0" eaLnBrk="1" fontAlgn="auto" latinLnBrk="0" hangingPunct="1">
                        <a:lnSpc>
                          <a:spcPct val="100000"/>
                        </a:lnSpc>
                        <a:spcBef>
                          <a:spcPts val="0"/>
                        </a:spcBef>
                        <a:spcAft>
                          <a:spcPts val="0"/>
                        </a:spcAft>
                        <a:buClrTx/>
                        <a:buSzTx/>
                        <a:buFontTx/>
                        <a:buNone/>
                        <a:tabLst/>
                        <a:defRPr/>
                      </a:pPr>
                      <a:endParaRPr lang="en-US" sz="900" baseline="0" dirty="0" smtClean="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bl>
          </a:graphicData>
        </a:graphic>
      </p:graphicFrame>
      <p:sp>
        <p:nvSpPr>
          <p:cNvPr id="9" name="Title 1"/>
          <p:cNvSpPr txBox="1">
            <a:spLocks/>
          </p:cNvSpPr>
          <p:nvPr/>
        </p:nvSpPr>
        <p:spPr>
          <a:xfrm>
            <a:off x="145309" y="113409"/>
            <a:ext cx="8743950" cy="3275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defTabSz="457200">
              <a:defRPr sz="2400">
                <a:ea typeface="+mj-ea"/>
                <a:cs typeface="Frutiger LT Std 55 Roman"/>
              </a:defRPr>
            </a:lvl1pPr>
          </a:lstStyle>
          <a:p>
            <a:pPr indent="-381000" defTabSz="914400">
              <a:spcBef>
                <a:spcPct val="0"/>
              </a:spcBef>
              <a:buClr>
                <a:srgbClr val="0070C0"/>
              </a:buClr>
              <a:buSzPct val="25000"/>
            </a:pPr>
            <a:r>
              <a:rPr lang="en-US" b="1" dirty="0">
                <a:solidFill>
                  <a:srgbClr val="0099CC"/>
                </a:solidFill>
                <a:latin typeface="Arial"/>
                <a:cs typeface="Arial"/>
              </a:rPr>
              <a:t>Findings &amp; </a:t>
            </a:r>
            <a:r>
              <a:rPr lang="en-US" b="1" dirty="0">
                <a:solidFill>
                  <a:srgbClr val="0099CC"/>
                </a:solidFill>
                <a:cs typeface="Arial"/>
              </a:rPr>
              <a:t>Best </a:t>
            </a:r>
            <a:r>
              <a:rPr lang="en-US" b="1" dirty="0" smtClean="0">
                <a:solidFill>
                  <a:srgbClr val="0099CC"/>
                </a:solidFill>
                <a:cs typeface="Arial"/>
              </a:rPr>
              <a:t>Practice/Recommendations</a:t>
            </a:r>
            <a:r>
              <a:rPr lang="en-US" b="1" dirty="0" smtClean="0">
                <a:solidFill>
                  <a:srgbClr val="0099CC"/>
                </a:solidFill>
                <a:latin typeface="Arial"/>
                <a:cs typeface="Arial"/>
              </a:rPr>
              <a:t>… </a:t>
            </a:r>
            <a:r>
              <a:rPr lang="en-US" b="1" dirty="0">
                <a:solidFill>
                  <a:srgbClr val="0099CC"/>
                </a:solidFill>
                <a:latin typeface="Arial"/>
                <a:cs typeface="Arial"/>
              </a:rPr>
              <a:t>(2/4)</a:t>
            </a:r>
          </a:p>
        </p:txBody>
      </p:sp>
    </p:spTree>
    <p:extLst>
      <p:ext uri="{BB962C8B-B14F-4D97-AF65-F5344CB8AC3E}">
        <p14:creationId xmlns:p14="http://schemas.microsoft.com/office/powerpoint/2010/main" val="8344285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5" name="Title 1"/>
          <p:cNvSpPr txBox="1">
            <a:spLocks/>
          </p:cNvSpPr>
          <p:nvPr/>
        </p:nvSpPr>
        <p:spPr>
          <a:xfrm>
            <a:off x="219610" y="228600"/>
            <a:ext cx="8743950" cy="3275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defTabSz="457200">
              <a:defRPr sz="2400">
                <a:ea typeface="+mj-ea"/>
                <a:cs typeface="Frutiger LT Std 55 Roman"/>
              </a:defRPr>
            </a:lvl1pPr>
          </a:lstStyle>
          <a:p>
            <a:pPr indent="-381000" defTabSz="914400">
              <a:spcBef>
                <a:spcPct val="0"/>
              </a:spcBef>
              <a:buClr>
                <a:srgbClr val="0070C0"/>
              </a:buClr>
              <a:buSzPct val="25000"/>
            </a:pPr>
            <a:r>
              <a:rPr lang="en-US" b="1" dirty="0">
                <a:solidFill>
                  <a:srgbClr val="0099CC"/>
                </a:solidFill>
                <a:latin typeface="Arial"/>
                <a:cs typeface="Arial"/>
              </a:rPr>
              <a:t>Findings &amp; </a:t>
            </a:r>
            <a:r>
              <a:rPr lang="en-US" b="1" dirty="0">
                <a:solidFill>
                  <a:srgbClr val="0099CC"/>
                </a:solidFill>
                <a:cs typeface="Arial"/>
              </a:rPr>
              <a:t>Best </a:t>
            </a:r>
            <a:r>
              <a:rPr lang="en-US" b="1" dirty="0" smtClean="0">
                <a:solidFill>
                  <a:srgbClr val="0099CC"/>
                </a:solidFill>
                <a:cs typeface="Arial"/>
              </a:rPr>
              <a:t>Practice/Recommendations</a:t>
            </a:r>
            <a:r>
              <a:rPr lang="en-US" b="1" dirty="0" smtClean="0">
                <a:solidFill>
                  <a:srgbClr val="0099CC"/>
                </a:solidFill>
                <a:latin typeface="Arial"/>
                <a:cs typeface="Arial"/>
              </a:rPr>
              <a:t>… </a:t>
            </a:r>
            <a:r>
              <a:rPr lang="en-US" b="1" dirty="0">
                <a:solidFill>
                  <a:srgbClr val="0099CC"/>
                </a:solidFill>
                <a:latin typeface="Arial"/>
                <a:cs typeface="Arial"/>
              </a:rPr>
              <a:t>(3/4)</a:t>
            </a:r>
          </a:p>
        </p:txBody>
      </p:sp>
      <p:sp>
        <p:nvSpPr>
          <p:cNvPr id="6" name="Rounded Rectangle 5"/>
          <p:cNvSpPr/>
          <p:nvPr/>
        </p:nvSpPr>
        <p:spPr bwMode="auto">
          <a:xfrm>
            <a:off x="3446273" y="703983"/>
            <a:ext cx="1116688" cy="237458"/>
          </a:xfrm>
          <a:prstGeom prst="roundRect">
            <a:avLst>
              <a:gd name="adj" fmla="val 4342"/>
            </a:avLst>
          </a:prstGeom>
          <a:solidFill>
            <a:srgbClr val="C7EAFB">
              <a:lumMod val="75000"/>
            </a:srgbClr>
          </a:solidFill>
          <a:ln w="9525" cap="flat" cmpd="sng" algn="ctr">
            <a:solidFill>
              <a:srgbClr val="4F81BD">
                <a:shade val="95000"/>
                <a:satMod val="105000"/>
              </a:srgbClr>
            </a:solidFill>
            <a:prstDash val="solid"/>
            <a:headEnd type="none" w="med" len="med"/>
            <a:tailEnd type="none" w="med" len="med"/>
          </a:ln>
          <a:effectLst/>
        </p:spPr>
        <p:txBody>
          <a:bodyPr anchor="ctr"/>
          <a:lstStyle/>
          <a:p>
            <a:pPr algn="ct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Solution Themes</a:t>
            </a:r>
          </a:p>
        </p:txBody>
      </p:sp>
      <p:sp>
        <p:nvSpPr>
          <p:cNvPr id="7" name="Rounded Rectangle 6"/>
          <p:cNvSpPr/>
          <p:nvPr/>
        </p:nvSpPr>
        <p:spPr bwMode="auto">
          <a:xfrm>
            <a:off x="6862491" y="703982"/>
            <a:ext cx="1133795" cy="237458"/>
          </a:xfrm>
          <a:prstGeom prst="roundRect">
            <a:avLst>
              <a:gd name="adj" fmla="val 4342"/>
            </a:avLst>
          </a:prstGeom>
          <a:solidFill>
            <a:srgbClr val="92D050"/>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Indicative Benefit</a:t>
            </a:r>
          </a:p>
        </p:txBody>
      </p:sp>
      <p:graphicFrame>
        <p:nvGraphicFramePr>
          <p:cNvPr id="8" name="Table 7"/>
          <p:cNvGraphicFramePr>
            <a:graphicFrameLocks noGrp="1"/>
          </p:cNvGraphicFramePr>
          <p:nvPr>
            <p:extLst>
              <p:ext uri="{D42A27DB-BD31-4B8C-83A1-F6EECF244321}">
                <p14:modId xmlns:p14="http://schemas.microsoft.com/office/powerpoint/2010/main" val="4237336329"/>
              </p:ext>
            </p:extLst>
          </p:nvPr>
        </p:nvGraphicFramePr>
        <p:xfrm>
          <a:off x="162362" y="979451"/>
          <a:ext cx="8801198" cy="3712936"/>
        </p:xfrm>
        <a:graphic>
          <a:graphicData uri="http://schemas.openxmlformats.org/drawingml/2006/table">
            <a:tbl>
              <a:tblPr firstRow="1" bandRow="1">
                <a:tableStyleId>{2D5ABB26-0587-4C30-8999-92F81FD0307C}</a:tableStyleId>
              </a:tblPr>
              <a:tblGrid>
                <a:gridCol w="1635443"/>
                <a:gridCol w="1635443"/>
                <a:gridCol w="1599663"/>
                <a:gridCol w="1830065"/>
                <a:gridCol w="2100584"/>
              </a:tblGrid>
              <a:tr h="926060">
                <a:tc row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mn-lt"/>
                          <a:ea typeface="+mn-ea"/>
                          <a:cs typeface="+mn-cs"/>
                        </a:rPr>
                        <a:t>Operation </a:t>
                      </a:r>
                      <a:r>
                        <a:rPr lang="en-US" sz="1200" b="1" baseline="0" dirty="0" smtClean="0">
                          <a:latin typeface="Calibri" panose="020F0502020204030204" pitchFamily="34" charset="0"/>
                        </a:rPr>
                        <a:t>[</a:t>
                      </a:r>
                      <a:r>
                        <a:rPr lang="en-US" sz="1200" b="1" baseline="0" dirty="0" smtClean="0">
                          <a:solidFill>
                            <a:schemeClr val="tx1"/>
                          </a:solidFill>
                          <a:latin typeface="Calibri" panose="020F0502020204030204" pitchFamily="34" charset="0"/>
                        </a:rPr>
                        <a:t>Production</a:t>
                      </a:r>
                      <a:r>
                        <a:rPr lang="en-US" sz="1200" b="1" baseline="0" dirty="0" smtClean="0">
                          <a:latin typeface="Calibri" panose="020F0502020204030204" pitchFamily="34" charset="0"/>
                        </a:rPr>
                        <a:t>]</a:t>
                      </a:r>
                      <a:endParaRPr lang="en-US" sz="1200" b="1" dirty="0" smtClean="0">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row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Application</a:t>
                      </a:r>
                      <a:r>
                        <a:rPr lang="en-US" sz="900" baseline="0" dirty="0" smtClean="0">
                          <a:latin typeface="Calibri" panose="020F0502020204030204" pitchFamily="34" charset="0"/>
                        </a:rPr>
                        <a:t> Issues are identified by manual log/monitoring Tools.</a:t>
                      </a:r>
                      <a:endParaRPr lang="en-US" sz="900" dirty="0" smtClean="0">
                        <a:latin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No automatic dependency</a:t>
                      </a:r>
                      <a:r>
                        <a:rPr lang="en-US" sz="900" baseline="0" dirty="0" smtClean="0">
                          <a:latin typeface="Calibri" panose="020F0502020204030204" pitchFamily="34" charset="0"/>
                        </a:rPr>
                        <a:t> interface failure check</a:t>
                      </a:r>
                      <a:r>
                        <a:rPr lang="en-US" sz="900" b="1" baseline="0" dirty="0" smtClean="0">
                          <a:solidFill>
                            <a:schemeClr val="tx1"/>
                          </a:solidFill>
                          <a:latin typeface="Calibri" panose="020F0502020204030204" pitchFamily="34" charset="0"/>
                        </a:rPr>
                        <a:t>.</a:t>
                      </a:r>
                      <a:endParaRPr lang="en-US" sz="900" dirty="0" smtClean="0">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row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Feedback Amplification</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285750" marR="0" lvl="0" indent="-285750" algn="l" defTabSz="914251"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kern="1200" baseline="0" dirty="0" smtClean="0">
                          <a:solidFill>
                            <a:schemeClr val="tx1"/>
                          </a:solidFill>
                          <a:latin typeface="+mn-lt"/>
                          <a:ea typeface="+mn-ea"/>
                          <a:cs typeface="+mn-cs"/>
                        </a:rPr>
                        <a:t>Establish proactive mechanism for correction of recurring critical events</a:t>
                      </a:r>
                    </a:p>
                    <a:p>
                      <a:pPr marL="285750" marR="0" lvl="0" indent="-285750" algn="l" defTabSz="914251"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kern="1200" baseline="0" dirty="0" smtClean="0">
                          <a:solidFill>
                            <a:schemeClr val="tx1"/>
                          </a:solidFill>
                          <a:latin typeface="+mn-lt"/>
                          <a:ea typeface="+mn-ea"/>
                          <a:cs typeface="+mn-cs"/>
                        </a:rPr>
                        <a:t>Establish event management automation to capture application errors and events for corrective actions by relevant team</a:t>
                      </a:r>
                      <a:endParaRPr lang="en-US" sz="800" kern="1200" baseline="0" dirty="0" smtClean="0">
                        <a:solidFill>
                          <a:srgbClr val="0070C0"/>
                        </a:solidFill>
                        <a:latin typeface="+mn-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800" b="0" i="0" u="none" strike="noStrike"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0" marR="0" lvl="0" indent="0" algn="l" defTabSz="469028" rtl="0" eaLnBrk="1" fontAlgn="auto" latinLnBrk="0" hangingPunct="1">
                        <a:lnSpc>
                          <a:spcPct val="100000"/>
                        </a:lnSpc>
                        <a:spcBef>
                          <a:spcPts val="0"/>
                        </a:spcBef>
                        <a:spcAft>
                          <a:spcPts val="0"/>
                        </a:spcAft>
                        <a:buClrTx/>
                        <a:buSzTx/>
                        <a:buFontTx/>
                        <a:buNone/>
                        <a:tabLst/>
                        <a:defRPr/>
                      </a:pPr>
                      <a:r>
                        <a:rPr lang="en-US" sz="800" baseline="0" dirty="0" smtClean="0">
                          <a:solidFill>
                            <a:schemeClr val="tx1"/>
                          </a:solidFill>
                          <a:latin typeface="Calibri" panose="020F0502020204030204" pitchFamily="34" charset="0"/>
                        </a:rPr>
                        <a:t>Effort reduction up to 30%  with automated log/event management and log/event monitoring. </a:t>
                      </a:r>
                      <a:r>
                        <a:rPr lang="en-US" sz="800" dirty="0" smtClean="0">
                          <a:latin typeface="Calibri" panose="020F0502020204030204" pitchFamily="34" charset="0"/>
                        </a:rPr>
                        <a:t>Reduced Application downtime window.</a:t>
                      </a:r>
                      <a:endParaRPr lang="en-US" sz="800" baseline="0" dirty="0" smtClean="0">
                        <a:solidFill>
                          <a:schemeClr val="tx1"/>
                        </a:solidFill>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r>
              <a:tr h="667462">
                <a:tc vMerge="1">
                  <a:txBody>
                    <a:bodyPr/>
                    <a:lstStyle/>
                    <a:p>
                      <a:endParaRPr lang="en-US"/>
                    </a:p>
                  </a:txBody>
                  <a:tcPr/>
                </a:tc>
                <a:tc vMerge="1">
                  <a:txBody>
                    <a:bodyPr/>
                    <a:lstStyle/>
                    <a:p>
                      <a:endParaRPr lang="en-US"/>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85000"/>
                      </a:schemeClr>
                    </a:solidFill>
                  </a:tcPr>
                </a:tc>
                <a:tc vMerge="1">
                  <a:txBody>
                    <a:bodyPr/>
                    <a:lstStyle/>
                    <a:p>
                      <a:endParaRPr lang="en-US"/>
                    </a:p>
                  </a:txBody>
                  <a:tcP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85000"/>
                      </a:schemeClr>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kern="1200" noProof="0" dirty="0" smtClean="0">
                          <a:solidFill>
                            <a:schemeClr val="tx1"/>
                          </a:solidFill>
                          <a:latin typeface="+mn-lt"/>
                          <a:ea typeface="+mn-ea"/>
                          <a:cs typeface="+mn-cs"/>
                          <a:sym typeface="Calibri"/>
                        </a:rPr>
                        <a:t>Setup Proactive Log/Event monitoring in production environment</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kern="1200" noProof="0" dirty="0" smtClean="0">
                          <a:solidFill>
                            <a:schemeClr val="tx1"/>
                          </a:solidFill>
                          <a:latin typeface="+mn-lt"/>
                          <a:ea typeface="+mn-ea"/>
                          <a:cs typeface="+mn-cs"/>
                          <a:sym typeface="Calibri"/>
                        </a:rPr>
                        <a:t>Implement DB monitoring &amp; Analysis tools</a:t>
                      </a: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n-US" sz="800" dirty="0" smtClean="0">
                          <a:latin typeface="Calibri" panose="020F0502020204030204" pitchFamily="34" charset="0"/>
                        </a:rPr>
                        <a:t>E</a:t>
                      </a:r>
                      <a:r>
                        <a:rPr lang="en-US" sz="800" baseline="0" dirty="0" smtClean="0">
                          <a:latin typeface="Calibri" panose="020F0502020204030204" pitchFamily="34" charset="0"/>
                        </a:rPr>
                        <a:t>arly detection of feature impact due to dependent interface issue</a:t>
                      </a:r>
                      <a:endParaRPr lang="en-US" sz="800" dirty="0" smtClean="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r>
              <a:tr h="934448">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mn-lt"/>
                          <a:ea typeface="+mn-ea"/>
                          <a:cs typeface="+mn-cs"/>
                        </a:rPr>
                        <a:t>Operation </a:t>
                      </a:r>
                      <a:r>
                        <a:rPr lang="en-US" sz="1200" b="1" dirty="0" smtClean="0">
                          <a:solidFill>
                            <a:schemeClr val="tx1"/>
                          </a:solidFill>
                          <a:latin typeface="Calibri" panose="020F0502020204030204" pitchFamily="34" charset="0"/>
                        </a:rPr>
                        <a:t>[</a:t>
                      </a:r>
                      <a:r>
                        <a:rPr lang="en-US" sz="1200" b="1" baseline="0" dirty="0" smtClean="0">
                          <a:solidFill>
                            <a:schemeClr val="tx1"/>
                          </a:solidFill>
                          <a:latin typeface="Calibri" panose="020F0502020204030204" pitchFamily="34" charset="0"/>
                        </a:rPr>
                        <a:t>Production</a:t>
                      </a:r>
                      <a:r>
                        <a:rPr lang="en-US" sz="1200" b="1" dirty="0" smtClean="0">
                          <a:solidFill>
                            <a:schemeClr val="tx1"/>
                          </a:solidFill>
                          <a:latin typeface="Calibri" panose="020F0502020204030204" pitchFamily="34" charset="0"/>
                        </a:rPr>
                        <a:t>&amp; Non</a:t>
                      </a:r>
                      <a:r>
                        <a:rPr lang="en-US" sz="1200" b="1" baseline="0" dirty="0" smtClean="0">
                          <a:solidFill>
                            <a:schemeClr val="tx1"/>
                          </a:solidFill>
                          <a:latin typeface="Calibri" panose="020F0502020204030204" pitchFamily="34" charset="0"/>
                        </a:rPr>
                        <a:t> Production]</a:t>
                      </a:r>
                      <a:endParaRPr lang="en-US" sz="1200" b="1"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Calibri" panose="020F0502020204030204" pitchFamily="34" charset="0"/>
                        </a:rPr>
                        <a:t>Environment</a:t>
                      </a:r>
                      <a:r>
                        <a:rPr lang="en-US" sz="900" b="0" baseline="0" dirty="0" smtClean="0">
                          <a:solidFill>
                            <a:schemeClr val="tx1"/>
                          </a:solidFill>
                          <a:latin typeface="Calibri" panose="020F0502020204030204" pitchFamily="34" charset="0"/>
                        </a:rPr>
                        <a:t> is a high maintenance.</a:t>
                      </a:r>
                      <a:endParaRPr lang="en-US" sz="900" b="0"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Environment Automation</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cap="none" dirty="0" smtClean="0">
                          <a:solidFill>
                            <a:schemeClr val="tx1"/>
                          </a:solidFill>
                          <a:latin typeface="Calibri" panose="020F0502020204030204" pitchFamily="34" charset="0"/>
                          <a:ea typeface="+mn-ea"/>
                          <a:cs typeface="+mn-cs"/>
                          <a:sym typeface="Arial"/>
                        </a:rPr>
                        <a:t>Establish configuration</a:t>
                      </a:r>
                      <a:r>
                        <a:rPr lang="en-US" sz="800" b="0" i="0" u="none" strike="noStrike" cap="none" baseline="0" dirty="0" smtClean="0">
                          <a:solidFill>
                            <a:schemeClr val="tx1"/>
                          </a:solidFill>
                          <a:latin typeface="Calibri" panose="020F0502020204030204" pitchFamily="34" charset="0"/>
                          <a:ea typeface="+mn-ea"/>
                          <a:cs typeface="+mn-cs"/>
                          <a:sym typeface="Arial"/>
                        </a:rPr>
                        <a:t> automation that complies with industry standard tools (e.g. Ansible, Chef, etc.)</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kern="1200" noProof="0" dirty="0" smtClean="0">
                          <a:solidFill>
                            <a:schemeClr val="tx1"/>
                          </a:solidFill>
                          <a:latin typeface="+mn-lt"/>
                          <a:ea typeface="+mn-ea"/>
                          <a:cs typeface="+mn-cs"/>
                          <a:sym typeface="Calibri"/>
                        </a:rPr>
                        <a:t>Initiate CD automation to ensure</a:t>
                      </a:r>
                      <a:r>
                        <a:rPr lang="en-US" sz="800" b="0" kern="1200" baseline="0" noProof="0" dirty="0" smtClean="0">
                          <a:solidFill>
                            <a:schemeClr val="tx1"/>
                          </a:solidFill>
                          <a:latin typeface="+mn-lt"/>
                          <a:ea typeface="+mn-ea"/>
                          <a:cs typeface="+mn-cs"/>
                          <a:sym typeface="Calibri"/>
                        </a:rPr>
                        <a:t> release artifacts are deployed based on environment configuration</a:t>
                      </a:r>
                      <a:endParaRPr lang="en-US" sz="800" b="0" i="0" u="none" strike="noStrike"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n-US" sz="800" dirty="0" smtClean="0">
                          <a:latin typeface="Calibri" panose="020F0502020204030204" pitchFamily="34" charset="0"/>
                        </a:rPr>
                        <a:t>Effort Reduction up to 40%,</a:t>
                      </a:r>
                      <a:r>
                        <a:rPr lang="en-US" sz="800" baseline="0" dirty="0" smtClean="0">
                          <a:latin typeface="Calibri" panose="020F0502020204030204" pitchFamily="34" charset="0"/>
                        </a:rPr>
                        <a:t> per industry experience and depending on effort spend on manual provisioning and configuration.</a:t>
                      </a:r>
                      <a:endParaRPr lang="en-US" sz="800" dirty="0" smtClean="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r>
              <a:tr h="934448">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mn-lt"/>
                          <a:ea typeface="+mn-ea"/>
                          <a:cs typeface="+mn-cs"/>
                        </a:rPr>
                        <a:t>Operation               </a:t>
                      </a:r>
                      <a:r>
                        <a:rPr lang="en-US" sz="1200" b="1" dirty="0" smtClean="0">
                          <a:solidFill>
                            <a:schemeClr val="tx1"/>
                          </a:solidFill>
                          <a:latin typeface="Calibri" panose="020F0502020204030204" pitchFamily="34" charset="0"/>
                        </a:rPr>
                        <a:t>[</a:t>
                      </a:r>
                      <a:r>
                        <a:rPr lang="en-US" sz="1200" b="1" baseline="0" dirty="0" smtClean="0">
                          <a:solidFill>
                            <a:schemeClr val="tx1"/>
                          </a:solidFill>
                          <a:latin typeface="Calibri" panose="020F0502020204030204" pitchFamily="34" charset="0"/>
                        </a:rPr>
                        <a:t>Production</a:t>
                      </a:r>
                      <a:r>
                        <a:rPr lang="en-US" sz="1200" b="1" dirty="0" smtClean="0">
                          <a:solidFill>
                            <a:schemeClr val="tx1"/>
                          </a:solidFill>
                          <a:latin typeface="Calibri" panose="020F0502020204030204" pitchFamily="34" charset="0"/>
                        </a:rPr>
                        <a:t>&amp; Non</a:t>
                      </a:r>
                      <a:r>
                        <a:rPr lang="en-US" sz="1200" b="1" baseline="0" dirty="0" smtClean="0">
                          <a:solidFill>
                            <a:schemeClr val="tx1"/>
                          </a:solidFill>
                          <a:latin typeface="Calibri" panose="020F0502020204030204" pitchFamily="34" charset="0"/>
                        </a:rPr>
                        <a:t> Production]</a:t>
                      </a:r>
                      <a:endParaRPr lang="en-US" sz="1200" b="1" dirty="0" smtClean="0">
                        <a:solidFill>
                          <a:schemeClr val="tx1"/>
                        </a:solidFill>
                        <a:latin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Calibri" panose="020F0502020204030204" pitchFamily="34" charset="0"/>
                        </a:rPr>
                        <a:t>Build, Installation/Deployment is done for each specific Environment</a:t>
                      </a:r>
                      <a:r>
                        <a:rPr lang="en-US" sz="900" b="0" baseline="0" dirty="0" smtClean="0">
                          <a:solidFill>
                            <a:schemeClr val="tx1"/>
                          </a:solidFill>
                          <a:latin typeface="Calibri" panose="020F0502020204030204" pitchFamily="34" charset="0"/>
                        </a:rPr>
                        <a:t> with “</a:t>
                      </a:r>
                      <a:r>
                        <a:rPr lang="en-US" sz="900" b="1" u="sng" baseline="0" dirty="0" smtClean="0">
                          <a:solidFill>
                            <a:schemeClr val="tx1"/>
                          </a:solidFill>
                          <a:latin typeface="Calibri" panose="020F0502020204030204" pitchFamily="34" charset="0"/>
                        </a:rPr>
                        <a:t>No One Time Build</a:t>
                      </a:r>
                      <a:r>
                        <a:rPr lang="en-US" sz="900" b="0" baseline="0" dirty="0" smtClean="0">
                          <a:solidFill>
                            <a:schemeClr val="tx1"/>
                          </a:solidFill>
                          <a:latin typeface="Calibri" panose="020F0502020204030204" pitchFamily="34" charset="0"/>
                        </a:rPr>
                        <a:t>” and Configuration for each of the deployed environment</a:t>
                      </a:r>
                      <a:endParaRPr lang="en-US" sz="900" b="0"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Calibri" panose="020F0502020204030204" pitchFamily="34" charset="0"/>
                        </a:rPr>
                        <a:t>Environment Automation</a:t>
                      </a: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cap="none" dirty="0" smtClean="0">
                          <a:solidFill>
                            <a:schemeClr val="tx1"/>
                          </a:solidFill>
                          <a:latin typeface="Calibri" panose="020F0502020204030204" pitchFamily="34" charset="0"/>
                          <a:ea typeface="+mn-ea"/>
                          <a:cs typeface="+mn-cs"/>
                          <a:sym typeface="Arial"/>
                        </a:rPr>
                        <a:t>Establish configuration</a:t>
                      </a:r>
                      <a:r>
                        <a:rPr lang="en-US" sz="800" b="0" i="0" u="none" strike="noStrike" cap="none" baseline="0" dirty="0" smtClean="0">
                          <a:solidFill>
                            <a:schemeClr val="tx1"/>
                          </a:solidFill>
                          <a:latin typeface="Calibri" panose="020F0502020204030204" pitchFamily="34" charset="0"/>
                          <a:ea typeface="+mn-ea"/>
                          <a:cs typeface="+mn-cs"/>
                          <a:sym typeface="Arial"/>
                        </a:rPr>
                        <a:t> automation that complies with industry standard tools (e.g. Ansible, Chef, etc.)</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kern="1200" noProof="0" dirty="0" smtClean="0">
                          <a:solidFill>
                            <a:schemeClr val="tx1"/>
                          </a:solidFill>
                          <a:latin typeface="+mn-lt"/>
                          <a:ea typeface="+mn-ea"/>
                          <a:cs typeface="+mn-cs"/>
                          <a:sym typeface="Calibri"/>
                        </a:rPr>
                        <a:t>Initiate CD automation to ensure</a:t>
                      </a:r>
                      <a:r>
                        <a:rPr lang="en-US" sz="800" b="0" kern="1200" baseline="0" noProof="0" dirty="0" smtClean="0">
                          <a:solidFill>
                            <a:schemeClr val="tx1"/>
                          </a:solidFill>
                          <a:latin typeface="+mn-lt"/>
                          <a:ea typeface="+mn-ea"/>
                          <a:cs typeface="+mn-cs"/>
                          <a:sym typeface="Calibri"/>
                        </a:rPr>
                        <a:t> release artifacts are deployed based on environment configuration</a:t>
                      </a:r>
                      <a:endParaRPr lang="en-US" sz="800" b="0" i="0" u="none" strike="noStrike"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n-US" sz="800" dirty="0" smtClean="0">
                          <a:latin typeface="Calibri" panose="020F0502020204030204" pitchFamily="34" charset="0"/>
                        </a:rPr>
                        <a:t>Effort Reduction up to 40%,</a:t>
                      </a:r>
                      <a:r>
                        <a:rPr lang="en-US" sz="800" baseline="0" dirty="0" smtClean="0">
                          <a:latin typeface="Calibri" panose="020F0502020204030204" pitchFamily="34" charset="0"/>
                        </a:rPr>
                        <a:t> per industry experience and depending on effort spend on manual provisioning and configuration.</a:t>
                      </a:r>
                      <a:endParaRPr lang="en-US" sz="800" dirty="0" smtClean="0">
                        <a:latin typeface="Calibri" panose="020F0502020204030204" pitchFamily="34" charset="0"/>
                      </a:endParaRPr>
                    </a:p>
                    <a:p>
                      <a:pPr marL="0" marR="0" lvl="0" indent="0" algn="just" defTabSz="1219170" rtl="0" eaLnBrk="1" fontAlgn="auto" latinLnBrk="0" hangingPunct="1">
                        <a:lnSpc>
                          <a:spcPct val="100000"/>
                        </a:lnSpc>
                        <a:spcBef>
                          <a:spcPts val="0"/>
                        </a:spcBef>
                        <a:spcAft>
                          <a:spcPts val="0"/>
                        </a:spcAft>
                        <a:buClrTx/>
                        <a:buSzTx/>
                        <a:buFontTx/>
                        <a:buNone/>
                        <a:tabLst/>
                        <a:defRPr/>
                      </a:pPr>
                      <a:endParaRPr lang="en-US" sz="800" dirty="0" smtClean="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r>
            </a:tbl>
          </a:graphicData>
        </a:graphic>
      </p:graphicFrame>
      <p:sp>
        <p:nvSpPr>
          <p:cNvPr id="9" name="Rounded Rectangle 8"/>
          <p:cNvSpPr/>
          <p:nvPr/>
        </p:nvSpPr>
        <p:spPr bwMode="auto">
          <a:xfrm>
            <a:off x="5050544" y="703983"/>
            <a:ext cx="1324362" cy="237458"/>
          </a:xfrm>
          <a:prstGeom prst="roundRect">
            <a:avLst>
              <a:gd name="adj" fmla="val 4342"/>
            </a:avLst>
          </a:prstGeom>
          <a:solidFill>
            <a:schemeClr val="tx2">
              <a:lumMod val="75000"/>
            </a:schemeClr>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Solution Information</a:t>
            </a:r>
          </a:p>
        </p:txBody>
      </p:sp>
      <p:sp>
        <p:nvSpPr>
          <p:cNvPr id="10" name="Rounded Rectangle 9"/>
          <p:cNvSpPr/>
          <p:nvPr/>
        </p:nvSpPr>
        <p:spPr bwMode="auto">
          <a:xfrm>
            <a:off x="1781244" y="741993"/>
            <a:ext cx="959974" cy="237458"/>
          </a:xfrm>
          <a:prstGeom prst="roundRect">
            <a:avLst>
              <a:gd name="adj" fmla="val 4342"/>
            </a:avLst>
          </a:prstGeom>
          <a:solidFill>
            <a:srgbClr val="FF7575"/>
          </a:solidFill>
          <a:ln w="9525" cap="flat" cmpd="sng" algn="ctr">
            <a:solidFill>
              <a:srgbClr val="4F81BD">
                <a:shade val="95000"/>
                <a:satMod val="105000"/>
              </a:srgbClr>
            </a:solidFill>
            <a:prstDash val="solid"/>
            <a:headEnd type="none" w="med" len="med"/>
            <a:tailEnd type="none" w="med" len="med"/>
          </a:ln>
          <a:effectLst/>
        </p:spPr>
        <p:txBody>
          <a:bodyPr anchor="ctr"/>
          <a:lstStyle/>
          <a:p>
            <a:pPr algn="ct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Problem</a:t>
            </a:r>
          </a:p>
        </p:txBody>
      </p:sp>
    </p:spTree>
    <p:extLst>
      <p:ext uri="{BB962C8B-B14F-4D97-AF65-F5344CB8AC3E}">
        <p14:creationId xmlns:p14="http://schemas.microsoft.com/office/powerpoint/2010/main" val="13370136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Artifacts Reviewed</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828599431"/>
              </p:ext>
            </p:extLst>
          </p:nvPr>
        </p:nvGraphicFramePr>
        <p:xfrm>
          <a:off x="319875" y="788882"/>
          <a:ext cx="8567629" cy="3851364"/>
        </p:xfrm>
        <a:graphic>
          <a:graphicData uri="http://schemas.openxmlformats.org/drawingml/2006/table">
            <a:tbl>
              <a:tblPr firstRow="1" bandRow="1">
                <a:tableStyleId>{5C22544A-7EE6-4342-B048-85BDC9FD1C3A}</a:tableStyleId>
              </a:tblPr>
              <a:tblGrid>
                <a:gridCol w="744368"/>
                <a:gridCol w="2994408"/>
                <a:gridCol w="1972638"/>
                <a:gridCol w="2856215"/>
              </a:tblGrid>
              <a:tr h="856443">
                <a:tc>
                  <a:txBody>
                    <a:bodyPr/>
                    <a:lstStyle/>
                    <a:p>
                      <a:pPr algn="ctr"/>
                      <a:r>
                        <a:rPr lang="en-US" sz="1400" dirty="0" smtClean="0">
                          <a:latin typeface="Calibri" panose="020F0502020204030204" pitchFamily="34" charset="0"/>
                        </a:rPr>
                        <a:t>Sl.No</a:t>
                      </a:r>
                      <a:endParaRPr lang="en-US" sz="1400" dirty="0">
                        <a:latin typeface="Calibri" panose="020F0502020204030204" pitchFamily="34" charset="0"/>
                      </a:endParaRPr>
                    </a:p>
                  </a:txBody>
                  <a:tcPr/>
                </a:tc>
                <a:tc>
                  <a:txBody>
                    <a:bodyPr/>
                    <a:lstStyle/>
                    <a:p>
                      <a:pPr algn="ctr"/>
                      <a:r>
                        <a:rPr lang="en-US" sz="1400" dirty="0" smtClean="0">
                          <a:latin typeface="Calibri" panose="020F0502020204030204" pitchFamily="34" charset="0"/>
                        </a:rPr>
                        <a:t>Artifacts Available / Reviewed</a:t>
                      </a:r>
                      <a:endParaRPr lang="en-US" sz="1400" dirty="0">
                        <a:latin typeface="Calibri" panose="020F0502020204030204" pitchFamily="34" charset="0"/>
                      </a:endParaRPr>
                    </a:p>
                  </a:txBody>
                  <a:tcPr/>
                </a:tc>
                <a:tc>
                  <a:txBody>
                    <a:bodyPr/>
                    <a:lstStyle/>
                    <a:p>
                      <a:pPr algn="ctr"/>
                      <a:r>
                        <a:rPr lang="en-US" sz="1400" dirty="0" smtClean="0">
                          <a:latin typeface="Calibri" panose="020F0502020204030204" pitchFamily="34" charset="0"/>
                        </a:rPr>
                        <a:t>Not</a:t>
                      </a:r>
                      <a:r>
                        <a:rPr lang="en-US" sz="1400" baseline="0" dirty="0" smtClean="0">
                          <a:latin typeface="Calibri" panose="020F0502020204030204" pitchFamily="34" charset="0"/>
                        </a:rPr>
                        <a:t> Available/Meeting Expectations</a:t>
                      </a:r>
                      <a:r>
                        <a:rPr lang="en-US" sz="1400" dirty="0" smtClean="0">
                          <a:latin typeface="Calibri" panose="020F0502020204030204" pitchFamily="34" charset="0"/>
                        </a:rPr>
                        <a:t>/ Needs</a:t>
                      </a:r>
                      <a:r>
                        <a:rPr lang="en-US" sz="1400" baseline="0" dirty="0" smtClean="0">
                          <a:latin typeface="Calibri" panose="020F0502020204030204" pitchFamily="34" charset="0"/>
                        </a:rPr>
                        <a:t> Improvement</a:t>
                      </a:r>
                      <a:endParaRPr lang="en-US" sz="1400" dirty="0">
                        <a:latin typeface="Calibri" panose="020F0502020204030204" pitchFamily="34" charset="0"/>
                      </a:endParaRPr>
                    </a:p>
                  </a:txBody>
                  <a:tcPr/>
                </a:tc>
                <a:tc>
                  <a:txBody>
                    <a:bodyPr/>
                    <a:lstStyle/>
                    <a:p>
                      <a:pPr algn="ctr"/>
                      <a:r>
                        <a:rPr lang="en-US" sz="1400" dirty="0" smtClean="0">
                          <a:latin typeface="Calibri" panose="020F0502020204030204" pitchFamily="34" charset="0"/>
                        </a:rPr>
                        <a:t>Comments</a:t>
                      </a:r>
                      <a:endParaRPr lang="en-US" sz="1400" dirty="0">
                        <a:latin typeface="Calibri" panose="020F0502020204030204" pitchFamily="34" charset="0"/>
                      </a:endParaRPr>
                    </a:p>
                  </a:txBody>
                  <a:tcPr/>
                </a:tc>
              </a:tr>
              <a:tr h="492367">
                <a:tc>
                  <a:txBody>
                    <a:bodyPr/>
                    <a:lstStyle/>
                    <a:p>
                      <a:r>
                        <a:rPr lang="en-US" sz="1000" dirty="0" smtClean="0">
                          <a:solidFill>
                            <a:schemeClr val="tx2"/>
                          </a:solidFill>
                          <a:latin typeface="+mn-lt"/>
                          <a:ea typeface="Verdana" panose="020B0604030504040204" pitchFamily="34" charset="0"/>
                          <a:cs typeface="Verdana" panose="020B0604030504040204" pitchFamily="34" charset="0"/>
                        </a:rPr>
                        <a:t>1</a:t>
                      </a:r>
                      <a:endParaRPr lang="en-US" sz="10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2"/>
                          </a:solidFill>
                          <a:latin typeface="+mn-lt"/>
                          <a:ea typeface="Verdana" panose="020B0604030504040204" pitchFamily="34" charset="0"/>
                          <a:cs typeface="Verdana" panose="020B0604030504040204" pitchFamily="34" charset="0"/>
                        </a:rPr>
                        <a:t>Coding Standards and Guidelines	</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2"/>
                          </a:solidFill>
                          <a:latin typeface="+mn-lt"/>
                          <a:ea typeface="Verdana" panose="020B0604030504040204" pitchFamily="34" charset="0"/>
                          <a:cs typeface="Verdana" panose="020B0604030504040204" pitchFamily="34" charset="0"/>
                        </a:rPr>
                        <a:t>Meeting Expectations</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2"/>
                          </a:solidFill>
                          <a:latin typeface="+mn-lt"/>
                          <a:ea typeface="Verdana" panose="020B0604030504040204" pitchFamily="34" charset="0"/>
                          <a:cs typeface="Verdana" panose="020B0604030504040204" pitchFamily="34" charset="0"/>
                        </a:rPr>
                        <a:t>Coding Standards and Guidelines are available and maintained by Vendor.	</a:t>
                      </a:r>
                    </a:p>
                  </a:txBody>
                  <a:tcPr/>
                </a:tc>
              </a:tr>
              <a:tr h="620074">
                <a:tc>
                  <a:txBody>
                    <a:bodyPr/>
                    <a:lstStyle/>
                    <a:p>
                      <a:r>
                        <a:rPr lang="en-US" sz="1000" dirty="0" smtClean="0">
                          <a:solidFill>
                            <a:schemeClr val="tx2"/>
                          </a:solidFill>
                          <a:latin typeface="+mn-lt"/>
                          <a:ea typeface="Verdana" panose="020B0604030504040204" pitchFamily="34" charset="0"/>
                          <a:cs typeface="Verdana" panose="020B0604030504040204" pitchFamily="34" charset="0"/>
                        </a:rPr>
                        <a:t>2</a:t>
                      </a:r>
                      <a:endParaRPr lang="en-US" sz="10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smtClean="0">
                          <a:solidFill>
                            <a:schemeClr val="tx2"/>
                          </a:solidFill>
                          <a:latin typeface="+mn-lt"/>
                          <a:ea typeface="Verdana" panose="020B0604030504040204" pitchFamily="34" charset="0"/>
                          <a:cs typeface="Verdana" panose="020B0604030504040204" pitchFamily="34" charset="0"/>
                        </a:rPr>
                        <a:t>Unit Test suite</a:t>
                      </a:r>
                      <a:endParaRPr lang="en-US" sz="1000" kern="12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algn="l" defTabSz="457200" rtl="0" eaLnBrk="1" latinLnBrk="0" hangingPunct="1"/>
                      <a:r>
                        <a:rPr lang="en-US" sz="1000" kern="1200" dirty="0" smtClean="0">
                          <a:solidFill>
                            <a:schemeClr val="tx2"/>
                          </a:solidFill>
                          <a:latin typeface="+mn-lt"/>
                          <a:ea typeface="Verdana" panose="020B0604030504040204" pitchFamily="34" charset="0"/>
                          <a:cs typeface="Verdana" panose="020B0604030504040204" pitchFamily="34" charset="0"/>
                        </a:rPr>
                        <a:t>Not available for all</a:t>
                      </a:r>
                    </a:p>
                  </a:txBody>
                  <a:tcPr/>
                </a:tc>
                <a:tc>
                  <a:txBody>
                    <a:bodyPr/>
                    <a:lstStyle/>
                    <a:p>
                      <a:pPr marL="0" algn="l" defTabSz="457200" rtl="0" eaLnBrk="1" latinLnBrk="0" hangingPunct="1"/>
                      <a:r>
                        <a:rPr lang="en-US" sz="1000" dirty="0" smtClean="0">
                          <a:solidFill>
                            <a:schemeClr val="tx2"/>
                          </a:solidFill>
                          <a:latin typeface="+mn-lt"/>
                          <a:ea typeface="Verdana" panose="020B0604030504040204" pitchFamily="34" charset="0"/>
                          <a:cs typeface="Verdana" panose="020B0604030504040204" pitchFamily="34" charset="0"/>
                        </a:rPr>
                        <a:t>Unit test suite to be prepared</a:t>
                      </a:r>
                      <a:r>
                        <a:rPr lang="en-US" sz="1000" baseline="0" dirty="0" smtClean="0">
                          <a:solidFill>
                            <a:schemeClr val="tx2"/>
                          </a:solidFill>
                          <a:latin typeface="+mn-lt"/>
                          <a:ea typeface="Verdana" panose="020B0604030504040204" pitchFamily="34" charset="0"/>
                          <a:cs typeface="Verdana" panose="020B0604030504040204" pitchFamily="34" charset="0"/>
                        </a:rPr>
                        <a:t>. The same needs to be integrated with CI pipeline.</a:t>
                      </a:r>
                      <a:endParaRPr lang="en-US" sz="1000" kern="1200" dirty="0">
                        <a:solidFill>
                          <a:srgbClr val="FF0000"/>
                        </a:solidFill>
                        <a:latin typeface="+mn-lt"/>
                        <a:ea typeface="Verdana" panose="020B0604030504040204" pitchFamily="34" charset="0"/>
                        <a:cs typeface="Verdana" panose="020B0604030504040204" pitchFamily="34" charset="0"/>
                      </a:endParaRPr>
                    </a:p>
                  </a:txBody>
                  <a:tcPr/>
                </a:tc>
              </a:tr>
              <a:tr h="620074">
                <a:tc>
                  <a:txBody>
                    <a:bodyPr/>
                    <a:lstStyle/>
                    <a:p>
                      <a:r>
                        <a:rPr lang="en-US" sz="1000" dirty="0" smtClean="0">
                          <a:solidFill>
                            <a:schemeClr val="tx2"/>
                          </a:solidFill>
                          <a:latin typeface="+mn-lt"/>
                          <a:ea typeface="Verdana" panose="020B0604030504040204" pitchFamily="34" charset="0"/>
                          <a:cs typeface="Verdana" panose="020B0604030504040204" pitchFamily="34" charset="0"/>
                        </a:rPr>
                        <a:t>3</a:t>
                      </a:r>
                      <a:endParaRPr lang="en-US" sz="10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smtClean="0">
                          <a:solidFill>
                            <a:schemeClr val="tx2"/>
                          </a:solidFill>
                          <a:latin typeface="+mn-lt"/>
                          <a:ea typeface="Verdana" panose="020B0604030504040204" pitchFamily="34" charset="0"/>
                          <a:cs typeface="Verdana" panose="020B0604030504040204" pitchFamily="34" charset="0"/>
                        </a:rPr>
                        <a:t>Static code analysis</a:t>
                      </a:r>
                      <a:endParaRPr lang="en-US" sz="1000" kern="12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algn="l" defTabSz="457200" rtl="0" eaLnBrk="1" latinLnBrk="0" hangingPunct="1"/>
                      <a:r>
                        <a:rPr lang="en-US" sz="1000" kern="1200" dirty="0" smtClean="0">
                          <a:solidFill>
                            <a:schemeClr val="tx2"/>
                          </a:solidFill>
                          <a:latin typeface="+mn-lt"/>
                          <a:ea typeface="Verdana" panose="020B0604030504040204" pitchFamily="34" charset="0"/>
                          <a:cs typeface="Verdana" panose="020B0604030504040204" pitchFamily="34" charset="0"/>
                        </a:rPr>
                        <a:t>Available &amp; Meeting Expectation</a:t>
                      </a:r>
                    </a:p>
                  </a:txBody>
                  <a:tcPr/>
                </a:tc>
                <a:tc>
                  <a:txBody>
                    <a:bodyPr/>
                    <a:lstStyle/>
                    <a:p>
                      <a:pPr marL="0" algn="l" defTabSz="457200" rtl="0" eaLnBrk="1" latinLnBrk="0" hangingPunct="1"/>
                      <a:r>
                        <a:rPr lang="en-US" sz="1000" baseline="0" dirty="0" smtClean="0">
                          <a:solidFill>
                            <a:schemeClr val="tx2"/>
                          </a:solidFill>
                          <a:latin typeface="+mn-lt"/>
                          <a:ea typeface="Verdana" panose="020B0604030504040204" pitchFamily="34" charset="0"/>
                          <a:cs typeface="Verdana" panose="020B0604030504040204" pitchFamily="34" charset="0"/>
                        </a:rPr>
                        <a:t>The same needs to be integrated with CI pipeline.</a:t>
                      </a:r>
                      <a:endParaRPr lang="en-US" sz="1000" kern="1200" dirty="0" smtClean="0">
                        <a:solidFill>
                          <a:schemeClr val="tx2"/>
                        </a:solidFill>
                        <a:latin typeface="+mn-lt"/>
                        <a:ea typeface="Verdana" panose="020B0604030504040204" pitchFamily="34" charset="0"/>
                        <a:cs typeface="Verdana" panose="020B0604030504040204" pitchFamily="34" charset="0"/>
                      </a:endParaRPr>
                    </a:p>
                  </a:txBody>
                  <a:tcPr/>
                </a:tc>
              </a:tr>
              <a:tr h="620074">
                <a:tc>
                  <a:txBody>
                    <a:bodyPr/>
                    <a:lstStyle/>
                    <a:p>
                      <a:r>
                        <a:rPr lang="en-US" sz="1000" dirty="0" smtClean="0">
                          <a:solidFill>
                            <a:schemeClr val="tx2"/>
                          </a:solidFill>
                          <a:latin typeface="+mn-lt"/>
                          <a:ea typeface="Verdana" panose="020B0604030504040204" pitchFamily="34" charset="0"/>
                          <a:cs typeface="Verdana" panose="020B0604030504040204" pitchFamily="34" charset="0"/>
                        </a:rPr>
                        <a:t>4</a:t>
                      </a:r>
                      <a:endParaRPr lang="en-US" sz="10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2"/>
                          </a:solidFill>
                          <a:latin typeface="+mn-lt"/>
                          <a:ea typeface="Verdana" panose="020B0604030504040204" pitchFamily="34" charset="0"/>
                          <a:cs typeface="Verdana" panose="020B0604030504040204" pitchFamily="34" charset="0"/>
                        </a:rPr>
                        <a:t>Branching and Merging Strategy Document</a:t>
                      </a:r>
                      <a:endParaRPr lang="en-US" sz="1000" kern="12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algn="l" defTabSz="457200" rtl="0" eaLnBrk="1" latinLnBrk="0" hangingPunct="1"/>
                      <a:r>
                        <a:rPr lang="en-US" sz="1000" kern="1200" dirty="0" smtClean="0">
                          <a:solidFill>
                            <a:schemeClr val="tx2"/>
                          </a:solidFill>
                          <a:latin typeface="+mn-lt"/>
                          <a:ea typeface="Verdana" panose="020B0604030504040204" pitchFamily="34" charset="0"/>
                          <a:cs typeface="Verdana" panose="020B0604030504040204" pitchFamily="34" charset="0"/>
                        </a:rPr>
                        <a:t>Available</a:t>
                      </a:r>
                    </a:p>
                  </a:txBody>
                  <a:tcPr/>
                </a:tc>
                <a:tc>
                  <a:txBody>
                    <a:bodyPr/>
                    <a:lstStyle/>
                    <a:p>
                      <a:pPr marL="0" algn="l" defTabSz="457200" rtl="0" eaLnBrk="1" latinLnBrk="0" hangingPunct="1"/>
                      <a:r>
                        <a:rPr lang="en-US" sz="1000" kern="1200" dirty="0" smtClean="0">
                          <a:solidFill>
                            <a:schemeClr val="tx2"/>
                          </a:solidFill>
                          <a:latin typeface="+mn-lt"/>
                          <a:ea typeface="Verdana" panose="020B0604030504040204" pitchFamily="34" charset="0"/>
                          <a:cs typeface="Verdana" panose="020B0604030504040204" pitchFamily="34" charset="0"/>
                        </a:rPr>
                        <a:t>Documented</a:t>
                      </a:r>
                      <a:r>
                        <a:rPr lang="en-US" sz="1000" kern="1200" baseline="0" dirty="0" smtClean="0">
                          <a:solidFill>
                            <a:schemeClr val="tx2"/>
                          </a:solidFill>
                          <a:latin typeface="+mn-lt"/>
                          <a:ea typeface="Verdana" panose="020B0604030504040204" pitchFamily="34" charset="0"/>
                          <a:cs typeface="Verdana" panose="020B0604030504040204" pitchFamily="34" charset="0"/>
                        </a:rPr>
                        <a:t> and maintained in the project folder for team’s reference.</a:t>
                      </a:r>
                      <a:endParaRPr lang="en-US" sz="1000" kern="1200" dirty="0" smtClean="0">
                        <a:solidFill>
                          <a:schemeClr val="tx2"/>
                        </a:solidFill>
                        <a:latin typeface="+mn-lt"/>
                        <a:ea typeface="Verdana" panose="020B0604030504040204" pitchFamily="34" charset="0"/>
                        <a:cs typeface="Verdana" panose="020B0604030504040204" pitchFamily="34" charset="0"/>
                      </a:endParaRPr>
                    </a:p>
                  </a:txBody>
                  <a:tcPr/>
                </a:tc>
              </a:tr>
              <a:tr h="642332">
                <a:tc>
                  <a:txBody>
                    <a:bodyPr/>
                    <a:lstStyle/>
                    <a:p>
                      <a:r>
                        <a:rPr lang="en-US" sz="1000" dirty="0" smtClean="0">
                          <a:solidFill>
                            <a:schemeClr val="tx2"/>
                          </a:solidFill>
                          <a:latin typeface="+mn-lt"/>
                          <a:ea typeface="Verdana" panose="020B0604030504040204" pitchFamily="34" charset="0"/>
                          <a:cs typeface="Verdana" panose="020B0604030504040204" pitchFamily="34" charset="0"/>
                        </a:rPr>
                        <a:t>5</a:t>
                      </a:r>
                      <a:endParaRPr lang="en-US" sz="1000" dirty="0">
                        <a:solidFill>
                          <a:schemeClr val="tx2"/>
                        </a:solidFill>
                        <a:latin typeface="+mn-lt"/>
                        <a:ea typeface="Verdana" panose="020B0604030504040204" pitchFamily="34" charset="0"/>
                        <a:cs typeface="Verdana" panose="020B0604030504040204" pitchFamily="34" charset="0"/>
                      </a:endParaRPr>
                    </a:p>
                  </a:txBody>
                  <a:tcPr/>
                </a:tc>
                <a:tc>
                  <a:txBody>
                    <a:bodyPr/>
                    <a:lstStyle/>
                    <a:p>
                      <a:r>
                        <a:rPr lang="en-US" sz="1000" kern="1200" dirty="0" smtClean="0">
                          <a:solidFill>
                            <a:schemeClr val="tx2"/>
                          </a:solidFill>
                          <a:latin typeface="+mn-lt"/>
                          <a:ea typeface="Verdana" panose="020B0604030504040204" pitchFamily="34" charset="0"/>
                          <a:cs typeface="Verdana" panose="020B0604030504040204" pitchFamily="34" charset="0"/>
                        </a:rPr>
                        <a:t>Project/CI Architecture</a:t>
                      </a:r>
                      <a:endParaRPr lang="en-US" sz="1000" kern="1200" dirty="0">
                        <a:solidFill>
                          <a:schemeClr val="tx2"/>
                        </a:solidFill>
                        <a:latin typeface="+mn-lt"/>
                        <a:ea typeface="Verdana" panose="020B0604030504040204" pitchFamily="34" charset="0"/>
                        <a:cs typeface="Verdana" panose="020B060403050404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2"/>
                          </a:solidFill>
                          <a:latin typeface="+mn-lt"/>
                          <a:ea typeface="Verdana" panose="020B0604030504040204" pitchFamily="34" charset="0"/>
                          <a:cs typeface="Verdana" panose="020B0604030504040204" pitchFamily="34" charset="0"/>
                        </a:rPr>
                        <a:t>Not Available</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2"/>
                          </a:solidFill>
                          <a:latin typeface="+mn-lt"/>
                          <a:ea typeface="Verdana" panose="020B0604030504040204" pitchFamily="34" charset="0"/>
                          <a:cs typeface="Verdana" panose="020B0604030504040204" pitchFamily="34" charset="0"/>
                        </a:rPr>
                        <a:t>Detailed process / workflow including architecture to be documented</a:t>
                      </a:r>
                      <a:r>
                        <a:rPr lang="en-US" sz="1000" kern="1200" baseline="0" dirty="0" smtClean="0">
                          <a:solidFill>
                            <a:schemeClr val="tx2"/>
                          </a:solidFill>
                          <a:latin typeface="+mn-lt"/>
                          <a:ea typeface="Verdana" panose="020B0604030504040204" pitchFamily="34" charset="0"/>
                          <a:cs typeface="Verdana" panose="020B0604030504040204" pitchFamily="34" charset="0"/>
                        </a:rPr>
                        <a:t> and maintained in the project folder.</a:t>
                      </a:r>
                      <a:endParaRPr lang="en-US" sz="1000" kern="1200" dirty="0" smtClean="0">
                        <a:solidFill>
                          <a:schemeClr val="tx2"/>
                        </a:solidFill>
                        <a:latin typeface="+mn-lt"/>
                        <a:ea typeface="Verdana" panose="020B0604030504040204" pitchFamily="34" charset="0"/>
                        <a:cs typeface="Verdana" panose="020B0604030504040204" pitchFamily="34" charset="0"/>
                      </a:endParaRPr>
                    </a:p>
                  </a:txBody>
                  <a:tcPr/>
                </a:tc>
              </a:tr>
            </a:tbl>
          </a:graphicData>
        </a:graphic>
      </p:graphicFrame>
      <p:sp>
        <p:nvSpPr>
          <p:cNvPr id="5" name="Rectangle 4"/>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6" name="Picture 2" descr="https://www.naranja.com/images/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07886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4" name="Rounded Rectangle 3"/>
          <p:cNvSpPr/>
          <p:nvPr/>
        </p:nvSpPr>
        <p:spPr bwMode="auto">
          <a:xfrm>
            <a:off x="3179483" y="627282"/>
            <a:ext cx="1404534" cy="213675"/>
          </a:xfrm>
          <a:prstGeom prst="roundRect">
            <a:avLst>
              <a:gd name="adj" fmla="val 4342"/>
            </a:avLst>
          </a:prstGeom>
          <a:solidFill>
            <a:srgbClr val="C7EAFB">
              <a:lumMod val="75000"/>
            </a:srgbClr>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Solution Themes</a:t>
            </a:r>
          </a:p>
        </p:txBody>
      </p:sp>
      <p:sp>
        <p:nvSpPr>
          <p:cNvPr id="5" name="Rounded Rectangle 4"/>
          <p:cNvSpPr/>
          <p:nvPr/>
        </p:nvSpPr>
        <p:spPr bwMode="auto">
          <a:xfrm>
            <a:off x="6740429" y="608613"/>
            <a:ext cx="1266290" cy="235346"/>
          </a:xfrm>
          <a:prstGeom prst="roundRect">
            <a:avLst>
              <a:gd name="adj" fmla="val 4342"/>
            </a:avLst>
          </a:prstGeom>
          <a:solidFill>
            <a:srgbClr val="92D050"/>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Indicative Benefit</a:t>
            </a:r>
          </a:p>
        </p:txBody>
      </p:sp>
      <p:sp>
        <p:nvSpPr>
          <p:cNvPr id="6" name="Rounded Rectangle 5"/>
          <p:cNvSpPr/>
          <p:nvPr/>
        </p:nvSpPr>
        <p:spPr bwMode="auto">
          <a:xfrm>
            <a:off x="4962604" y="634194"/>
            <a:ext cx="1493911" cy="201815"/>
          </a:xfrm>
          <a:prstGeom prst="roundRect">
            <a:avLst>
              <a:gd name="adj" fmla="val 4342"/>
            </a:avLst>
          </a:prstGeom>
          <a:solidFill>
            <a:schemeClr val="tx2">
              <a:lumMod val="75000"/>
            </a:schemeClr>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Solution Information</a:t>
            </a:r>
          </a:p>
        </p:txBody>
      </p:sp>
      <p:sp>
        <p:nvSpPr>
          <p:cNvPr id="7" name="Rounded Rectangle 6"/>
          <p:cNvSpPr/>
          <p:nvPr/>
        </p:nvSpPr>
        <p:spPr bwMode="auto">
          <a:xfrm>
            <a:off x="776864" y="630285"/>
            <a:ext cx="1404534" cy="213675"/>
          </a:xfrm>
          <a:prstGeom prst="roundRect">
            <a:avLst>
              <a:gd name="adj" fmla="val 4342"/>
            </a:avLst>
          </a:prstGeom>
          <a:solidFill>
            <a:srgbClr val="FF7575"/>
          </a:solidFill>
          <a:ln w="9525" cap="flat" cmpd="sng" algn="ctr">
            <a:solidFill>
              <a:srgbClr val="4F81BD">
                <a:shade val="95000"/>
                <a:satMod val="105000"/>
              </a:srgbClr>
            </a:solidFill>
            <a:prstDash val="solid"/>
            <a:headEnd type="none" w="med" len="med"/>
            <a:tailEnd type="none" w="med" len="med"/>
          </a:ln>
          <a:effectLst/>
        </p:spPr>
        <p:txBody>
          <a:bodyPr anchor="ctr"/>
          <a:lstStyle/>
          <a:p>
            <a:pPr eaLnBrk="0" hangingPunct="0">
              <a:defRPr/>
            </a:pPr>
            <a:r>
              <a:rPr lang="en-US" sz="1050" b="1" kern="0" dirty="0">
                <a:solidFill>
                  <a:sysClr val="window" lastClr="FFFFFF"/>
                </a:solidFill>
                <a:latin typeface="Calibri" panose="020F0502020204030204" pitchFamily="34" charset="0"/>
                <a:ea typeface="ＭＳ Ｐゴシック" pitchFamily="-12" charset="-128"/>
                <a:cs typeface="Calibri" pitchFamily="34" charset="0"/>
              </a:rPr>
              <a:t>Problem</a:t>
            </a:r>
          </a:p>
        </p:txBody>
      </p:sp>
      <p:graphicFrame>
        <p:nvGraphicFramePr>
          <p:cNvPr id="8" name="Table 7"/>
          <p:cNvGraphicFramePr>
            <a:graphicFrameLocks noGrp="1"/>
          </p:cNvGraphicFramePr>
          <p:nvPr>
            <p:extLst>
              <p:ext uri="{D42A27DB-BD31-4B8C-83A1-F6EECF244321}">
                <p14:modId xmlns:p14="http://schemas.microsoft.com/office/powerpoint/2010/main" val="823944266"/>
              </p:ext>
            </p:extLst>
          </p:nvPr>
        </p:nvGraphicFramePr>
        <p:xfrm>
          <a:off x="107004" y="854413"/>
          <a:ext cx="8839162" cy="3858055"/>
        </p:xfrm>
        <a:graphic>
          <a:graphicData uri="http://schemas.openxmlformats.org/drawingml/2006/table">
            <a:tbl>
              <a:tblPr firstRow="1" bandRow="1">
                <a:tableStyleId>{2D5ABB26-0587-4C30-8999-92F81FD0307C}</a:tableStyleId>
              </a:tblPr>
              <a:tblGrid>
                <a:gridCol w="939392"/>
                <a:gridCol w="1975144"/>
                <a:gridCol w="1735200"/>
                <a:gridCol w="1979626"/>
                <a:gridCol w="2209800"/>
              </a:tblGrid>
              <a:tr h="830581">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Calibri" panose="020F0502020204030204" pitchFamily="34" charset="0"/>
                        </a:rPr>
                        <a:t>PMO</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b="0" dirty="0" smtClean="0">
                          <a:solidFill>
                            <a:schemeClr val="tx1"/>
                          </a:solidFill>
                          <a:latin typeface="Calibri" panose="020F0502020204030204" pitchFamily="34" charset="0"/>
                        </a:rPr>
                        <a:t>Limited insight </a:t>
                      </a:r>
                      <a:r>
                        <a:rPr lang="en-US" sz="800" b="0" baseline="0" dirty="0" smtClean="0">
                          <a:solidFill>
                            <a:schemeClr val="tx1"/>
                          </a:solidFill>
                          <a:latin typeface="Calibri" panose="020F0502020204030204" pitchFamily="34" charset="0"/>
                        </a:rPr>
                        <a:t>to value out of IT spend.</a:t>
                      </a:r>
                      <a:endParaRPr lang="en-US" sz="800" b="0"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dirty="0" smtClean="0">
                          <a:solidFill>
                            <a:schemeClr val="tx1"/>
                          </a:solidFill>
                          <a:latin typeface="Calibri" panose="020F0502020204030204" pitchFamily="34" charset="0"/>
                        </a:rPr>
                        <a:t>Dev/Ops Dashboard</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cap="none" dirty="0" smtClean="0">
                          <a:solidFill>
                            <a:schemeClr val="tx1"/>
                          </a:solidFill>
                          <a:latin typeface="Calibri" panose="020F0502020204030204" pitchFamily="34" charset="0"/>
                          <a:ea typeface="+mn-ea"/>
                          <a:cs typeface="+mn-cs"/>
                          <a:sym typeface="Arial"/>
                        </a:rPr>
                        <a:t>Build</a:t>
                      </a:r>
                      <a:r>
                        <a:rPr lang="en-US" sz="800" b="0" i="0" u="none" strike="noStrike" cap="none" baseline="0" dirty="0" smtClean="0">
                          <a:solidFill>
                            <a:schemeClr val="tx1"/>
                          </a:solidFill>
                          <a:latin typeface="Calibri" panose="020F0502020204030204" pitchFamily="34" charset="0"/>
                          <a:ea typeface="+mn-ea"/>
                          <a:cs typeface="+mn-cs"/>
                          <a:sym typeface="Arial"/>
                        </a:rPr>
                        <a:t> API Integration with tool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cap="none" dirty="0" smtClean="0">
                          <a:solidFill>
                            <a:schemeClr val="tx1"/>
                          </a:solidFill>
                          <a:latin typeface="Calibri" panose="020F0502020204030204" pitchFamily="34" charset="0"/>
                          <a:ea typeface="+mn-ea"/>
                          <a:cs typeface="+mn-cs"/>
                          <a:sym typeface="Arial"/>
                        </a:rPr>
                        <a:t>Collect current metrics and data points from various tool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cap="none" dirty="0" smtClean="0">
                          <a:solidFill>
                            <a:schemeClr val="tx1"/>
                          </a:solidFill>
                          <a:latin typeface="Calibri" panose="020F0502020204030204" pitchFamily="34" charset="0"/>
                          <a:ea typeface="+mn-ea"/>
                          <a:cs typeface="+mn-cs"/>
                          <a:sym typeface="Arial"/>
                        </a:rPr>
                        <a:t>Import current metrics and data points into</a:t>
                      </a:r>
                      <a:r>
                        <a:rPr lang="en-US" sz="800" b="0" i="0" u="none" strike="noStrike" cap="none" baseline="0" dirty="0" smtClean="0">
                          <a:solidFill>
                            <a:schemeClr val="tx1"/>
                          </a:solidFill>
                          <a:latin typeface="Calibri" panose="020F0502020204030204" pitchFamily="34" charset="0"/>
                          <a:ea typeface="+mn-ea"/>
                          <a:cs typeface="+mn-cs"/>
                          <a:sym typeface="Arial"/>
                        </a:rPr>
                        <a:t> Dev/Ops Dashboard</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cap="none" baseline="0" dirty="0" smtClean="0">
                          <a:solidFill>
                            <a:schemeClr val="tx1"/>
                          </a:solidFill>
                          <a:latin typeface="Calibri" panose="020F0502020204030204" pitchFamily="34" charset="0"/>
                          <a:ea typeface="+mn-ea"/>
                          <a:cs typeface="+mn-cs"/>
                          <a:sym typeface="Arial"/>
                        </a:rPr>
                        <a:t>Customize dashboard to reflect actionable insights</a:t>
                      </a:r>
                      <a:endParaRPr lang="en-US" sz="800" b="0" i="0" u="none" strike="noStrike"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lang="en-US" sz="800" b="0" i="0" u="none" strike="noStrike" cap="none" dirty="0" smtClean="0">
                          <a:solidFill>
                            <a:schemeClr val="tx1"/>
                          </a:solidFill>
                          <a:latin typeface="Calibri" panose="020F0502020204030204" pitchFamily="34" charset="0"/>
                          <a:ea typeface="+mn-ea"/>
                          <a:cs typeface="+mn-cs"/>
                          <a:sym typeface="Arial"/>
                        </a:rPr>
                        <a:t>Single source of truth tool to measure</a:t>
                      </a:r>
                      <a:r>
                        <a:rPr lang="en-US" sz="800" b="0" i="0" u="none" strike="noStrike" cap="none" baseline="0" dirty="0" smtClean="0">
                          <a:solidFill>
                            <a:schemeClr val="tx1"/>
                          </a:solidFill>
                          <a:latin typeface="Calibri" panose="020F0502020204030204" pitchFamily="34" charset="0"/>
                          <a:ea typeface="+mn-ea"/>
                          <a:cs typeface="+mn-cs"/>
                          <a:sym typeface="Arial"/>
                        </a:rPr>
                        <a:t> the Dev/Ops adoption and the maturity level during each stage of transformation journey.</a:t>
                      </a:r>
                      <a:endParaRPr lang="en-US" sz="800" dirty="0" smtClean="0">
                        <a:solidFill>
                          <a:schemeClr val="bg2"/>
                        </a:solidFill>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r h="1160068">
                <a:tc row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SDLC</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Process</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kern="1200" dirty="0" err="1" smtClean="0">
                          <a:solidFill>
                            <a:schemeClr val="tx1"/>
                          </a:solidFill>
                          <a:latin typeface="+mn-lt"/>
                          <a:ea typeface="+mn-ea"/>
                          <a:cs typeface="+mn-cs"/>
                        </a:rPr>
                        <a:t>Mis</a:t>
                      </a:r>
                      <a:r>
                        <a:rPr lang="en-US" sz="800" kern="1200" dirty="0" smtClean="0">
                          <a:solidFill>
                            <a:schemeClr val="tx1"/>
                          </a:solidFill>
                          <a:latin typeface="+mn-lt"/>
                          <a:ea typeface="+mn-ea"/>
                          <a:cs typeface="+mn-cs"/>
                        </a:rPr>
                        <a:t>-categorization of stories and lack of background on EPICs in some cases</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dirty="0" smtClean="0">
                          <a:solidFill>
                            <a:schemeClr val="tx1"/>
                          </a:solidFill>
                        </a:rPr>
                        <a:t>Incomplete Impact Analysis/Design which impedes User Verification</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dirty="0" smtClean="0">
                          <a:solidFill>
                            <a:schemeClr val="tx1"/>
                          </a:solidFill>
                        </a:rPr>
                        <a:t>No ST/SIT</a:t>
                      </a:r>
                      <a:r>
                        <a:rPr lang="en-US" sz="800" baseline="0" dirty="0" smtClean="0">
                          <a:solidFill>
                            <a:schemeClr val="tx1"/>
                          </a:solidFill>
                        </a:rPr>
                        <a:t> and </a:t>
                      </a:r>
                      <a:r>
                        <a:rPr lang="en-US" sz="800" dirty="0" smtClean="0">
                          <a:solidFill>
                            <a:schemeClr val="tx1"/>
                          </a:solidFill>
                        </a:rPr>
                        <a:t>Pre-Production</a:t>
                      </a:r>
                      <a:r>
                        <a:rPr lang="en-US" sz="800" baseline="0" dirty="0" smtClean="0">
                          <a:solidFill>
                            <a:schemeClr val="tx1"/>
                          </a:solidFill>
                        </a:rPr>
                        <a:t> Trial</a:t>
                      </a:r>
                      <a:endParaRPr lang="en-US" sz="800" dirty="0">
                        <a:solidFill>
                          <a:schemeClr val="tx1"/>
                        </a:solidFill>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dirty="0" smtClean="0">
                          <a:solidFill>
                            <a:schemeClr val="tx1"/>
                          </a:solidFill>
                          <a:latin typeface="Calibri" panose="020F0502020204030204" pitchFamily="34" charset="0"/>
                        </a:rPr>
                        <a:t>ITSM</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indent="-171450" algn="l">
                        <a:buFont typeface="Wingdings" panose="05000000000000000000" pitchFamily="2" charset="2"/>
                        <a:buChar char="ü"/>
                      </a:pPr>
                      <a:r>
                        <a:rPr lang="en-US" sz="800" dirty="0" smtClean="0">
                          <a:solidFill>
                            <a:schemeClr val="tx1"/>
                          </a:solidFill>
                        </a:rPr>
                        <a:t>Ensure the owner</a:t>
                      </a:r>
                      <a:r>
                        <a:rPr lang="en-US" sz="800" baseline="0" dirty="0" smtClean="0">
                          <a:solidFill>
                            <a:schemeClr val="tx1"/>
                          </a:solidFill>
                        </a:rPr>
                        <a:t> has the appropriate skillset &amp; knowledge to categorize and assign all tickets</a:t>
                      </a:r>
                      <a:endParaRPr lang="en-US" sz="800" dirty="0" smtClean="0">
                        <a:solidFill>
                          <a:schemeClr val="tx1"/>
                        </a:solidFill>
                      </a:endParaRP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dirty="0" smtClean="0">
                          <a:solidFill>
                            <a:schemeClr val="tx1"/>
                          </a:solidFill>
                        </a:rPr>
                        <a:t>Conduct full Impact Analysis</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dirty="0" smtClean="0">
                          <a:solidFill>
                            <a:schemeClr val="tx1"/>
                          </a:solidFill>
                        </a:rPr>
                        <a:t>Introduce ST/SIT and Pre-Production</a:t>
                      </a:r>
                      <a:r>
                        <a:rPr lang="en-US" sz="800" baseline="0" dirty="0" smtClean="0">
                          <a:solidFill>
                            <a:schemeClr val="tx1"/>
                          </a:solidFill>
                        </a:rPr>
                        <a:t> Trial</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kern="1200" baseline="0" dirty="0" smtClean="0">
                          <a:solidFill>
                            <a:schemeClr val="tx1"/>
                          </a:solidFill>
                          <a:latin typeface="+mn-lt"/>
                          <a:ea typeface="+mn-ea"/>
                          <a:cs typeface="+mn-cs"/>
                        </a:rPr>
                        <a:t>Re-creating the production defects in  NPE with specific test data and conditions.</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800" b="0" i="0" u="none" strike="noStrike" kern="1200"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r>
                        <a:rPr lang="en-US" sz="800" dirty="0" smtClean="0">
                          <a:latin typeface="Calibri" panose="020F0502020204030204" pitchFamily="34" charset="0"/>
                        </a:rPr>
                        <a:t>Early detection of</a:t>
                      </a:r>
                      <a:r>
                        <a:rPr lang="en-US" sz="800" baseline="0" dirty="0" smtClean="0">
                          <a:latin typeface="Calibri" panose="020F0502020204030204" pitchFamily="34" charset="0"/>
                        </a:rPr>
                        <a:t> problems,  shift left, reduction of defects introduced in Produc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800" kern="1200" dirty="0" smtClean="0">
                          <a:solidFill>
                            <a:schemeClr val="tx1"/>
                          </a:solidFill>
                          <a:latin typeface="Calibri" panose="020F0502020204030204" pitchFamily="34" charset="0"/>
                          <a:ea typeface="+mn-ea"/>
                          <a:cs typeface="+mn-cs"/>
                        </a:rPr>
                        <a:t>E2E Impact Analysis of </a:t>
                      </a:r>
                      <a:r>
                        <a:rPr lang="en-US" sz="800" b="0" kern="1200" baseline="0" dirty="0" smtClean="0">
                          <a:solidFill>
                            <a:schemeClr val="tx1"/>
                          </a:solidFill>
                          <a:latin typeface="+mn-lt"/>
                          <a:ea typeface="+mn-ea"/>
                          <a:cs typeface="+mn-cs"/>
                        </a:rPr>
                        <a:t>BAU/AMS/RRT </a:t>
                      </a:r>
                      <a:r>
                        <a:rPr lang="en-US" sz="800" kern="1200" dirty="0" smtClean="0">
                          <a:solidFill>
                            <a:schemeClr val="tx1"/>
                          </a:solidFill>
                          <a:latin typeface="Calibri" panose="020F0502020204030204" pitchFamily="34" charset="0"/>
                          <a:ea typeface="+mn-ea"/>
                          <a:cs typeface="+mn-cs"/>
                        </a:rPr>
                        <a:t>with bi-directional Traceability, Test Case Library and Leveraging Competency of BA, Tech Lead, Ops Analyst and E2E testing Team</a:t>
                      </a:r>
                      <a:endParaRPr lang="en-US" sz="800" dirty="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r h="830581">
                <a:tc vMerge="1">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400" b="1" dirty="0" smtClean="0">
                        <a:solidFill>
                          <a:schemeClr val="tx1"/>
                        </a:solidFill>
                        <a:latin typeface="Calibri" panose="020F0502020204030204" pitchFamily="34" charset="0"/>
                      </a:endParaRP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285750" indent="-285750" algn="l">
                        <a:buFont typeface="Wingdings" panose="05000000000000000000" pitchFamily="2" charset="2"/>
                        <a:buChar char="ü"/>
                      </a:pPr>
                      <a:r>
                        <a:rPr lang="en-US" sz="800" b="0" kern="1200" baseline="0" dirty="0" smtClean="0">
                          <a:solidFill>
                            <a:schemeClr val="tx1"/>
                          </a:solidFill>
                          <a:latin typeface="+mn-lt"/>
                          <a:ea typeface="+mn-ea"/>
                          <a:cs typeface="+mn-cs"/>
                        </a:rPr>
                        <a:t>No archive of test scripts across unit test/SIT/UAT</a:t>
                      </a:r>
                    </a:p>
                    <a:p>
                      <a:pPr marL="285750" indent="-285750" algn="l">
                        <a:buFont typeface="Wingdings" panose="05000000000000000000" pitchFamily="2" charset="2"/>
                        <a:buChar char="ü"/>
                      </a:pPr>
                      <a:r>
                        <a:rPr lang="en-US" sz="800" b="0" kern="1200" baseline="0" dirty="0" smtClean="0">
                          <a:solidFill>
                            <a:schemeClr val="tx1"/>
                          </a:solidFill>
                          <a:latin typeface="+mn-lt"/>
                          <a:ea typeface="+mn-ea"/>
                          <a:cs typeface="+mn-cs"/>
                        </a:rPr>
                        <a:t>No automated regression E2E testing results based Quality Check points with failure/negative test scenarios</a:t>
                      </a:r>
                    </a:p>
                    <a:p>
                      <a:pPr algn="ctr"/>
                      <a:endParaRPr lang="en-US" sz="800" dirty="0">
                        <a:solidFill>
                          <a:schemeClr val="tx1"/>
                        </a:solidFil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dirty="0" smtClean="0">
                          <a:solidFill>
                            <a:schemeClr val="tx1"/>
                          </a:solidFill>
                          <a:latin typeface="Calibri" panose="020F0502020204030204" pitchFamily="34" charset="0"/>
                        </a:rPr>
                        <a:t>E2E testing</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kern="1200" cap="none" dirty="0" smtClean="0">
                          <a:solidFill>
                            <a:schemeClr val="tx1"/>
                          </a:solidFill>
                          <a:latin typeface="+mn-lt"/>
                          <a:ea typeface="+mn-ea"/>
                          <a:cs typeface="+mn-cs"/>
                          <a:sym typeface="Arial"/>
                        </a:rPr>
                        <a:t>Create and maintain centralized</a:t>
                      </a:r>
                      <a:r>
                        <a:rPr lang="en-US" sz="800" b="0" i="0" u="none" strike="noStrike" kern="1200" cap="none" baseline="0" dirty="0" smtClean="0">
                          <a:solidFill>
                            <a:schemeClr val="tx1"/>
                          </a:solidFill>
                          <a:latin typeface="+mn-lt"/>
                          <a:ea typeface="+mn-ea"/>
                          <a:cs typeface="+mn-cs"/>
                          <a:sym typeface="Arial"/>
                        </a:rPr>
                        <a:t> E2E testing library</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kern="1200" cap="none" baseline="0" dirty="0" smtClean="0">
                          <a:solidFill>
                            <a:schemeClr val="tx1"/>
                          </a:solidFill>
                          <a:latin typeface="+mn-lt"/>
                          <a:ea typeface="+mn-ea"/>
                          <a:cs typeface="+mn-cs"/>
                          <a:sym typeface="Arial"/>
                        </a:rPr>
                        <a:t>Leverage HP ALM/Jenkins integration</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kern="1200" cap="none" dirty="0" smtClean="0">
                          <a:solidFill>
                            <a:schemeClr val="tx1"/>
                          </a:solidFill>
                          <a:latin typeface="Calibri" panose="020F0502020204030204" pitchFamily="34" charset="0"/>
                          <a:ea typeface="+mn-ea"/>
                          <a:cs typeface="+mn-cs"/>
                          <a:sym typeface="Arial"/>
                        </a:rPr>
                        <a:t>Create and</a:t>
                      </a:r>
                      <a:r>
                        <a:rPr lang="en-US" sz="800" b="0" i="0" u="none" strike="noStrike" kern="1200" cap="none" baseline="0" dirty="0" smtClean="0">
                          <a:solidFill>
                            <a:schemeClr val="tx1"/>
                          </a:solidFill>
                          <a:latin typeface="Calibri" panose="020F0502020204030204" pitchFamily="34" charset="0"/>
                          <a:ea typeface="+mn-ea"/>
                          <a:cs typeface="+mn-cs"/>
                          <a:sym typeface="Arial"/>
                        </a:rPr>
                        <a:t> maintain test suite</a:t>
                      </a:r>
                      <a:endParaRPr lang="en-US" sz="800" b="0" i="0" u="none" strike="noStrike" kern="1200" cap="none" dirty="0" smtClean="0">
                        <a:solidFill>
                          <a:schemeClr val="tx1"/>
                        </a:solidFill>
                        <a:latin typeface="Calibri" panose="020F0502020204030204" pitchFamily="34" charset="0"/>
                        <a:ea typeface="+mn-ea"/>
                        <a:cs typeface="+mn-cs"/>
                        <a:sym typeface="Aria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r>
                        <a:rPr lang="en-US" sz="800" dirty="0" smtClean="0">
                          <a:latin typeface="Calibri" panose="020F0502020204030204" pitchFamily="34" charset="0"/>
                        </a:rPr>
                        <a:t>Effort saving across projects</a:t>
                      </a:r>
                    </a:p>
                    <a:p>
                      <a:r>
                        <a:rPr lang="en-US" sz="800" dirty="0" smtClean="0">
                          <a:latin typeface="Calibri" panose="020F0502020204030204" pitchFamily="34" charset="0"/>
                        </a:rPr>
                        <a:t>Knowledge</a:t>
                      </a:r>
                      <a:r>
                        <a:rPr lang="en-US" sz="800" baseline="0" dirty="0" smtClean="0">
                          <a:latin typeface="Calibri" panose="020F0502020204030204" pitchFamily="34" charset="0"/>
                        </a:rPr>
                        <a:t> retention and sharing</a:t>
                      </a:r>
                    </a:p>
                    <a:p>
                      <a:r>
                        <a:rPr lang="en-US" sz="800" baseline="0" dirty="0" smtClean="0">
                          <a:latin typeface="Calibri" panose="020F0502020204030204" pitchFamily="34" charset="0"/>
                        </a:rPr>
                        <a:t>Improve system quality and reliability</a:t>
                      </a:r>
                      <a:endParaRPr lang="en-US" sz="800" dirty="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r h="726235">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libri" panose="020F0502020204030204" pitchFamily="34" charset="0"/>
                        </a:rPr>
                        <a:t>Dashboard</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mn-lt"/>
                          <a:ea typeface="+mn-ea"/>
                          <a:cs typeface="+mn-cs"/>
                        </a:rPr>
                        <a:t>No Metrics Defined, Collected, Analyzed for Continuous Process Improvements Implementation Practice.</a:t>
                      </a:r>
                      <a:endParaRPr lang="en-US" sz="800" dirty="0">
                        <a:solidFill>
                          <a:schemeClr val="tx1"/>
                        </a:solidFill>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dirty="0" smtClean="0">
                          <a:solidFill>
                            <a:schemeClr val="tx1"/>
                          </a:solidFill>
                          <a:latin typeface="Calibri" panose="020F0502020204030204" pitchFamily="34" charset="0"/>
                        </a:rPr>
                        <a:t>Metrics</a:t>
                      </a:r>
                    </a:p>
                  </a:txBody>
                  <a:tcPr marL="68580" marR="68580" marT="34290" marB="34290" anchor="ctr">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kern="1200" cap="none" dirty="0" smtClean="0">
                          <a:solidFill>
                            <a:schemeClr val="tx1"/>
                          </a:solidFill>
                          <a:latin typeface="Calibri" panose="020F0502020204030204" pitchFamily="34" charset="0"/>
                          <a:ea typeface="+mn-ea"/>
                          <a:cs typeface="+mn-cs"/>
                          <a:sym typeface="Arial"/>
                        </a:rPr>
                        <a:t>Create and Maintain Metric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kern="1200" cap="none" dirty="0" smtClean="0">
                          <a:solidFill>
                            <a:schemeClr val="tx1"/>
                          </a:solidFill>
                          <a:latin typeface="Calibri" panose="020F0502020204030204" pitchFamily="34" charset="0"/>
                          <a:ea typeface="+mn-ea"/>
                          <a:cs typeface="+mn-cs"/>
                          <a:sym typeface="Arial"/>
                        </a:rPr>
                        <a:t>Collect Metrics using Tool Chain</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800" b="0" i="0" u="none" strike="noStrike" kern="1200" cap="none" dirty="0" smtClean="0">
                          <a:solidFill>
                            <a:schemeClr val="tx1"/>
                          </a:solidFill>
                          <a:latin typeface="Calibri" panose="020F0502020204030204" pitchFamily="34" charset="0"/>
                          <a:ea typeface="+mn-ea"/>
                          <a:cs typeface="+mn-cs"/>
                          <a:sym typeface="Arial"/>
                        </a:rPr>
                        <a:t>Integrate Dashboard with API and Batch Import</a:t>
                      </a: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c>
                  <a:txBody>
                    <a:bodyPr/>
                    <a:lstStyle/>
                    <a:p>
                      <a:r>
                        <a:rPr lang="en-US" sz="800" dirty="0" smtClean="0">
                          <a:latin typeface="Calibri" panose="020F0502020204030204" pitchFamily="34" charset="0"/>
                        </a:rPr>
                        <a:t>Measurable Process Improvements and Best Practices Implement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800" kern="1200" dirty="0" smtClean="0">
                          <a:solidFill>
                            <a:schemeClr val="tx1"/>
                          </a:solidFill>
                          <a:latin typeface="Calibri" panose="020F0502020204030204" pitchFamily="34" charset="0"/>
                          <a:ea typeface="+mn-ea"/>
                          <a:cs typeface="+mn-cs"/>
                        </a:rPr>
                        <a:t>SLA is not practiced and need dedicated focus</a:t>
                      </a:r>
                      <a:endParaRPr lang="en-US" sz="800" dirty="0">
                        <a:latin typeface="Calibri" panose="020F0502020204030204" pitchFamily="34" charset="0"/>
                      </a:endParaRPr>
                    </a:p>
                  </a:txBody>
                  <a:tcPr marL="68580" marR="68580" marT="34290" marB="34290">
                    <a:lnL w="12700" cap="flat" cmpd="sng" algn="ctr">
                      <a:solidFill>
                        <a:schemeClr val="tx1"/>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12700" cap="flat" cmpd="sng" algn="ctr">
                      <a:solidFill>
                        <a:schemeClr val="tx1"/>
                      </a:solidFill>
                      <a:prstDash val="dot"/>
                      <a:round/>
                      <a:headEnd type="none" w="med" len="med"/>
                      <a:tailEnd type="none" w="med" len="med"/>
                    </a:lnB>
                  </a:tcPr>
                </a:tc>
              </a:tr>
            </a:tbl>
          </a:graphicData>
        </a:graphic>
      </p:graphicFrame>
      <p:sp>
        <p:nvSpPr>
          <p:cNvPr id="9" name="Title 1"/>
          <p:cNvSpPr txBox="1">
            <a:spLocks/>
          </p:cNvSpPr>
          <p:nvPr/>
        </p:nvSpPr>
        <p:spPr>
          <a:xfrm>
            <a:off x="123864" y="90373"/>
            <a:ext cx="8743950" cy="457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defTabSz="457200">
              <a:defRPr sz="2400">
                <a:ea typeface="+mj-ea"/>
                <a:cs typeface="Frutiger LT Std 55 Roman"/>
              </a:defRPr>
            </a:lvl1pPr>
          </a:lstStyle>
          <a:p>
            <a:pPr indent="-381000" defTabSz="914400">
              <a:spcBef>
                <a:spcPct val="0"/>
              </a:spcBef>
              <a:buClr>
                <a:srgbClr val="0070C0"/>
              </a:buClr>
              <a:buSzPct val="25000"/>
            </a:pPr>
            <a:r>
              <a:rPr lang="en-US" b="1" dirty="0">
                <a:solidFill>
                  <a:srgbClr val="0099CC"/>
                </a:solidFill>
                <a:latin typeface="Arial"/>
                <a:cs typeface="Arial"/>
              </a:rPr>
              <a:t>Findings &amp; </a:t>
            </a:r>
            <a:r>
              <a:rPr lang="en-US" b="1" dirty="0">
                <a:solidFill>
                  <a:srgbClr val="0099CC"/>
                </a:solidFill>
                <a:cs typeface="Arial"/>
              </a:rPr>
              <a:t>Best </a:t>
            </a:r>
            <a:r>
              <a:rPr lang="en-US" b="1" dirty="0" smtClean="0">
                <a:solidFill>
                  <a:srgbClr val="0099CC"/>
                </a:solidFill>
                <a:cs typeface="Arial"/>
              </a:rPr>
              <a:t>Practice/Recommendations</a:t>
            </a:r>
            <a:r>
              <a:rPr lang="en-US" b="1" dirty="0" smtClean="0">
                <a:solidFill>
                  <a:srgbClr val="0099CC"/>
                </a:solidFill>
                <a:latin typeface="Arial"/>
                <a:cs typeface="Arial"/>
              </a:rPr>
              <a:t>… </a:t>
            </a:r>
            <a:r>
              <a:rPr lang="en-US" b="1" dirty="0">
                <a:solidFill>
                  <a:srgbClr val="0099CC"/>
                </a:solidFill>
                <a:latin typeface="Arial"/>
                <a:cs typeface="Arial"/>
              </a:rPr>
              <a:t>(4/4)</a:t>
            </a:r>
          </a:p>
        </p:txBody>
      </p:sp>
    </p:spTree>
    <p:extLst>
      <p:ext uri="{BB962C8B-B14F-4D97-AF65-F5344CB8AC3E}">
        <p14:creationId xmlns:p14="http://schemas.microsoft.com/office/powerpoint/2010/main" val="62470868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sz="2800" dirty="0">
                <a:latin typeface="Segoe UI Light" panose="020B0502040204020203" pitchFamily="34" charset="0"/>
              </a:rPr>
              <a:t> </a:t>
            </a:r>
            <a:r>
              <a:rPr lang="en-US" dirty="0">
                <a:latin typeface="Segoe UI Light" panose="020B0502040204020203" pitchFamily="34" charset="0"/>
              </a:rPr>
              <a:t>Implementation Roadmap: Short/Mid/Long Term Strategy</a:t>
            </a:r>
            <a:endParaRPr lang="en-US" dirty="0"/>
          </a:p>
        </p:txBody>
      </p:sp>
      <p:sp>
        <p:nvSpPr>
          <p:cNvPr id="4" name="Rounded Rectangle 3"/>
          <p:cNvSpPr/>
          <p:nvPr/>
        </p:nvSpPr>
        <p:spPr>
          <a:xfrm>
            <a:off x="76522" y="982382"/>
            <a:ext cx="787622" cy="3283855"/>
          </a:xfrm>
          <a:prstGeom prst="roundRect">
            <a:avLst/>
          </a:prstGeom>
          <a:ln/>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vert="vert270" rtlCol="0" anchor="t"/>
          <a:lstStyle/>
          <a:p>
            <a:pPr algn="ctr"/>
            <a:r>
              <a:rPr lang="en-US" sz="1200" b="1" dirty="0" smtClean="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rPr>
              <a:t>Build</a:t>
            </a:r>
            <a:endParaRPr lang="en-US" sz="1200" b="1" dirty="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endParaRPr>
          </a:p>
        </p:txBody>
      </p:sp>
      <p:sp>
        <p:nvSpPr>
          <p:cNvPr id="5" name="TextBox 4"/>
          <p:cNvSpPr txBox="1"/>
          <p:nvPr/>
        </p:nvSpPr>
        <p:spPr>
          <a:xfrm>
            <a:off x="1017306" y="3796182"/>
            <a:ext cx="2126750" cy="523220"/>
          </a:xfrm>
          <a:prstGeom prst="rect">
            <a:avLst/>
          </a:prstGeom>
          <a:noFill/>
        </p:spPr>
        <p:txBody>
          <a:bodyPr wrap="square" rtlCol="0">
            <a:spAutoFit/>
          </a:bodyPr>
          <a:lstStyle/>
          <a:p>
            <a:r>
              <a:rPr lang="en-US" sz="1000" dirty="0" smtClean="0">
                <a:solidFill>
                  <a:srgbClr val="141414"/>
                </a:solidFill>
                <a:latin typeface="Times New Roman" panose="02020603050405020304" pitchFamily="18" charset="0"/>
                <a:cs typeface="Times New Roman" panose="02020603050405020304" pitchFamily="18" charset="0"/>
              </a:rPr>
              <a:t> </a:t>
            </a:r>
            <a:endParaRPr lang="en-US" sz="1000" dirty="0">
              <a:solidFill>
                <a:srgbClr val="141414"/>
              </a:solidFill>
              <a:latin typeface="Times New Roman" panose="02020603050405020304" pitchFamily="18" charset="0"/>
              <a:cs typeface="Times New Roman" panose="02020603050405020304" pitchFamily="18" charset="0"/>
            </a:endParaRPr>
          </a:p>
          <a:p>
            <a:endParaRPr lang="en-US" dirty="0">
              <a:solidFill>
                <a:srgbClr val="50B3CF"/>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093090080"/>
              </p:ext>
            </p:extLst>
          </p:nvPr>
        </p:nvGraphicFramePr>
        <p:xfrm>
          <a:off x="899118" y="994399"/>
          <a:ext cx="7877400" cy="3261360"/>
        </p:xfrm>
        <a:graphic>
          <a:graphicData uri="http://schemas.openxmlformats.org/drawingml/2006/table">
            <a:tbl>
              <a:tblPr firstRow="1" bandRow="1">
                <a:tableStyleId>{9D7B26C5-4107-4FEC-AEDC-1716B250A1EF}</a:tableStyleId>
              </a:tblPr>
              <a:tblGrid>
                <a:gridCol w="3017726"/>
                <a:gridCol w="2619910"/>
                <a:gridCol w="2239764"/>
              </a:tblGrid>
              <a:tr h="1284433">
                <a:tc>
                  <a:txBody>
                    <a:bodyPr/>
                    <a:lstStyle/>
                    <a:p>
                      <a:pPr marL="171450" indent="-171450">
                        <a:buFont typeface="Arial" panose="020B0604020202020204" pitchFamily="34" charset="0"/>
                        <a:buChar char="•"/>
                      </a:pPr>
                      <a:r>
                        <a:rPr lang="en-US" sz="800" dirty="0" smtClean="0"/>
                        <a:t>Documentation of all SOPs and Guidelines (SCM Strategy, Branching/Merging Strategies, Continuous Integration Process &amp; Techniques) need to be made available in a common repository for team’s reference, which helps team to improve planning efficiency.</a:t>
                      </a:r>
                    </a:p>
                    <a:p>
                      <a:pPr marL="171450" indent="-171450">
                        <a:buFont typeface="Arial" panose="020B0604020202020204" pitchFamily="34" charset="0"/>
                        <a:buChar char="•"/>
                      </a:pPr>
                      <a:r>
                        <a:rPr lang="en-US" sz="800" dirty="0" smtClean="0"/>
                        <a:t>Enable Branching and Merging activity thorough organized way to avoid repetitive activities. Master Copy to hold production corresponding code base.</a:t>
                      </a:r>
                    </a:p>
                    <a:p>
                      <a:pPr marL="171450" indent="-171450">
                        <a:buFont typeface="Arial" panose="020B0604020202020204" pitchFamily="34" charset="0"/>
                        <a:buChar char="•"/>
                      </a:pPr>
                      <a:r>
                        <a:rPr lang="en-US" sz="800" dirty="0" smtClean="0"/>
                        <a:t>Make use of Consolidated build scripts’ references to improve planning efficiency.</a:t>
                      </a:r>
                    </a:p>
                    <a:p>
                      <a:pPr marL="171450" indent="-171450">
                        <a:buFont typeface="Arial" panose="020B0604020202020204" pitchFamily="34" charset="0"/>
                        <a:buChar char="•"/>
                      </a:pPr>
                      <a:r>
                        <a:rPr lang="en-US" sz="800" dirty="0" smtClean="0"/>
                        <a:t>Configure and Track Metrics like LOC, Check-in frequency and # Check-in policies etc. through SCM tool to monitor the effectiveness of SCM processes.</a:t>
                      </a:r>
                    </a:p>
                    <a:p>
                      <a:pPr marL="171450" indent="-171450">
                        <a:buFont typeface="Arial" panose="020B0604020202020204" pitchFamily="34" charset="0"/>
                        <a:buChar char="•"/>
                      </a:pPr>
                      <a:r>
                        <a:rPr lang="en-US" sz="800" dirty="0" smtClean="0"/>
                        <a:t>Make use of Code review tools like Crucible /</a:t>
                      </a:r>
                      <a:r>
                        <a:rPr lang="en-US" sz="800" baseline="0" dirty="0" smtClean="0"/>
                        <a:t> Similar feature available with </a:t>
                      </a:r>
                      <a:r>
                        <a:rPr lang="en-US" sz="800" baseline="0" dirty="0" err="1" smtClean="0"/>
                        <a:t>GitLab</a:t>
                      </a:r>
                      <a:r>
                        <a:rPr lang="en-US" sz="800" dirty="0" smtClean="0"/>
                        <a:t> to improve the planning efficiency.</a:t>
                      </a:r>
                    </a:p>
                    <a:p>
                      <a:pPr marL="171450" indent="-171450">
                        <a:buFont typeface="Arial" panose="020B0604020202020204" pitchFamily="34" charset="0"/>
                        <a:buChar char="•"/>
                      </a:pPr>
                      <a:r>
                        <a:rPr lang="en-US" sz="800" dirty="0" smtClean="0"/>
                        <a:t>Track Defect leakage metric Sprint wise to monitor the code review effectiveness.</a:t>
                      </a:r>
                    </a:p>
                    <a:p>
                      <a:pPr marL="171450" indent="-171450">
                        <a:buFont typeface="Arial" panose="020B0604020202020204" pitchFamily="34" charset="0"/>
                        <a:buChar char="•"/>
                      </a:pPr>
                      <a:r>
                        <a:rPr lang="en-US" sz="800" dirty="0" smtClean="0"/>
                        <a:t>Document best practices for architecture &amp; secure coding for team’s reference to improve the planning efficiency.</a:t>
                      </a:r>
                    </a:p>
                    <a:p>
                      <a:pPr marL="171450" indent="-171450">
                        <a:buFont typeface="Arial" panose="020B0604020202020204" pitchFamily="34" charset="0"/>
                        <a:buChar char="•"/>
                      </a:pPr>
                      <a:r>
                        <a:rPr lang="en-US" sz="800" dirty="0" smtClean="0"/>
                        <a:t>Enable project teams on Common Coding conventions to avoid Code quality and maintainability issues.</a:t>
                      </a:r>
                    </a:p>
                    <a:p>
                      <a:pPr marL="0" indent="0">
                        <a:buFont typeface="Arial" panose="020B0604020202020204" pitchFamily="34" charset="0"/>
                        <a:buNone/>
                      </a:pPr>
                      <a:endParaRPr lang="en-US" sz="800" b="0" kern="1200" dirty="0">
                        <a:solidFill>
                          <a:schemeClr val="tx2"/>
                        </a:solidFill>
                        <a:latin typeface="+mn-lt"/>
                        <a:ea typeface="+mn-ea"/>
                        <a:cs typeface="+mn-cs"/>
                      </a:endParaRPr>
                    </a:p>
                  </a:txBody>
                  <a:tcPr/>
                </a:tc>
                <a:tc>
                  <a:txBody>
                    <a:bodyPr/>
                    <a:lstStyle/>
                    <a:p>
                      <a:pPr marL="171450" indent="-171450">
                        <a:buFont typeface="Arial" panose="020B0604020202020204" pitchFamily="34" charset="0"/>
                        <a:buChar char="•"/>
                      </a:pPr>
                      <a:r>
                        <a:rPr lang="en-US" sz="800" dirty="0" smtClean="0"/>
                        <a:t>Static Code analysis using SonarQube to be enabled with every single commit for current development process and also to be integrated with Jenkins. This could significantly reduce the peer review effort and helps to identify and track the dead code in the app repository.</a:t>
                      </a:r>
                    </a:p>
                    <a:p>
                      <a:pPr marL="171450" indent="-171450">
                        <a:buFont typeface="Arial" panose="020B0604020202020204" pitchFamily="34" charset="0"/>
                        <a:buChar char="•"/>
                      </a:pPr>
                      <a:r>
                        <a:rPr lang="en-US" sz="800" dirty="0" smtClean="0"/>
                        <a:t>Build failure to be enforced if Critical Code violations increase. The Baselining of Violation details to be determined and to be agreed with the Customer.</a:t>
                      </a:r>
                    </a:p>
                    <a:p>
                      <a:pPr marL="171450" indent="-171450">
                        <a:buFont typeface="Arial" panose="020B0604020202020204" pitchFamily="34" charset="0"/>
                        <a:buChar char="•"/>
                      </a:pPr>
                      <a:r>
                        <a:rPr lang="en-US" sz="800" dirty="0" smtClean="0"/>
                        <a:t>Systematic Code refactoring strategy / Process to be defined in order to address the duplicate/ dead code, Circular dependencies and Technical debt., It’s recommended to allocate adequate bandwidth ( 10-20%) in each Iteration to the handle the technical debt of the code to keep the code base maintainable.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dirty="0" smtClean="0">
                        <a:solidFill>
                          <a:schemeClr val="tx2"/>
                        </a:solidFill>
                      </a:endParaRPr>
                    </a:p>
                  </a:txBody>
                  <a:tcPr/>
                </a:tc>
                <a:tc>
                  <a:txBody>
                    <a:bodyPr/>
                    <a:lstStyle/>
                    <a:p>
                      <a:pPr marL="171450" indent="-171450">
                        <a:buFont typeface="Arial" panose="020B0604020202020204" pitchFamily="34" charset="0"/>
                        <a:buChar char="•"/>
                      </a:pPr>
                      <a:r>
                        <a:rPr lang="en-US" sz="800" dirty="0" smtClean="0"/>
                        <a:t>Enable automated Unit test suites, which helps project team to describe the degree to which the source code of a program has been tested.</a:t>
                      </a:r>
                    </a:p>
                    <a:p>
                      <a:pPr marL="171450" indent="-171450">
                        <a:buFont typeface="Arial" panose="020B0604020202020204" pitchFamily="34" charset="0"/>
                        <a:buChar char="•"/>
                      </a:pPr>
                      <a:r>
                        <a:rPr lang="en-US" sz="800" dirty="0" smtClean="0"/>
                        <a:t>Configure Code Coverage tool to monitor the coverage.</a:t>
                      </a:r>
                    </a:p>
                    <a:p>
                      <a:pPr marL="171450" indent="-171450">
                        <a:buFont typeface="Arial" panose="020B0604020202020204" pitchFamily="34" charset="0"/>
                        <a:buChar char="•"/>
                      </a:pPr>
                      <a:r>
                        <a:rPr lang="en-US" sz="800" dirty="0" smtClean="0"/>
                        <a:t>Integrate Unit test suites with Jenkin tool to improve the testing effectiveness.</a:t>
                      </a:r>
                    </a:p>
                    <a:p>
                      <a:pPr marL="171450" indent="-171450">
                        <a:buFont typeface="Arial" panose="020B0604020202020204" pitchFamily="34" charset="0"/>
                        <a:buChar char="•"/>
                      </a:pPr>
                      <a:r>
                        <a:rPr lang="en-US" sz="800" dirty="0" smtClean="0"/>
                        <a:t>Make use of Build</a:t>
                      </a:r>
                      <a:r>
                        <a:rPr lang="en-US" sz="800" baseline="0" dirty="0" smtClean="0"/>
                        <a:t> Tools</a:t>
                      </a:r>
                      <a:r>
                        <a:rPr lang="en-US" sz="800" dirty="0" smtClean="0"/>
                        <a:t> to compile the code which helps team to improve the planning efficiency.</a:t>
                      </a:r>
                    </a:p>
                    <a:p>
                      <a:pPr marL="171450" indent="-171450">
                        <a:buFont typeface="Arial" panose="020B0604020202020204" pitchFamily="34" charset="0"/>
                        <a:buChar char="•"/>
                      </a:pPr>
                      <a:r>
                        <a:rPr lang="en-US" sz="800" dirty="0" smtClean="0"/>
                        <a:t>Enable Automation scripts for validating the final build artifact.</a:t>
                      </a:r>
                    </a:p>
                    <a:p>
                      <a:pPr marL="171450" indent="-171450">
                        <a:buFont typeface="Arial" panose="020B0604020202020204" pitchFamily="34" charset="0"/>
                        <a:buChar char="•"/>
                      </a:pPr>
                      <a:r>
                        <a:rPr lang="en-US" sz="800" dirty="0" smtClean="0"/>
                        <a:t>Implement End to End automation of CI-CD in a single pipeline for seamless delivery with required set of tools (Maven, Jenkins, SonarQube, Nexus, CD tool, Selenium/Protractor and Code Review tool.</a:t>
                      </a:r>
                    </a:p>
                    <a:p>
                      <a:pPr marL="171450" indent="-171450">
                        <a:buFont typeface="Arial" panose="020B0604020202020204" pitchFamily="34" charset="0"/>
                        <a:buChar char="•"/>
                      </a:pPr>
                      <a:r>
                        <a:rPr lang="en-US" sz="800" dirty="0" smtClean="0"/>
                        <a:t>Configure CI dashboard to monitor the status of the latest build, latest deployment etc.</a:t>
                      </a:r>
                    </a:p>
                    <a:p>
                      <a:pPr marL="171450" indent="-171450">
                        <a:buFont typeface="Arial" panose="020B0604020202020204" pitchFamily="34" charset="0"/>
                        <a:buChar char="•"/>
                      </a:pPr>
                      <a:endParaRPr lang="en-US" sz="800" dirty="0" smtClean="0"/>
                    </a:p>
                    <a:p>
                      <a:pPr marL="171450" indent="-171450">
                        <a:buFont typeface="Arial" panose="020B0604020202020204" pitchFamily="34" charset="0"/>
                        <a:buChar char="•"/>
                      </a:pPr>
                      <a:endParaRPr lang="en-US" sz="800" dirty="0" smtClean="0"/>
                    </a:p>
                    <a:p>
                      <a:pPr marL="171450" indent="-171450">
                        <a:buFont typeface="Arial" panose="020B0604020202020204" pitchFamily="34" charset="0"/>
                        <a:buChar char="•"/>
                      </a:pPr>
                      <a:endParaRPr lang="en-US" sz="800" b="0" kern="1200" dirty="0">
                        <a:solidFill>
                          <a:schemeClr val="tx2"/>
                        </a:solidFill>
                        <a:latin typeface="+mn-lt"/>
                        <a:ea typeface="+mn-ea"/>
                        <a:cs typeface="+mn-cs"/>
                      </a:endParaRPr>
                    </a:p>
                  </a:txBody>
                  <a:tcPr/>
                </a:tc>
              </a:tr>
            </a:tbl>
          </a:graphicData>
        </a:graphic>
      </p:graphicFrame>
      <p:sp>
        <p:nvSpPr>
          <p:cNvPr id="7" name="Rounded Rectangle 6"/>
          <p:cNvSpPr/>
          <p:nvPr/>
        </p:nvSpPr>
        <p:spPr>
          <a:xfrm>
            <a:off x="1503169" y="699934"/>
            <a:ext cx="1298863" cy="232879"/>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Short</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8" name="Rounded Rectangle 7"/>
          <p:cNvSpPr/>
          <p:nvPr/>
        </p:nvSpPr>
        <p:spPr>
          <a:xfrm>
            <a:off x="4188386" y="689719"/>
            <a:ext cx="1298863" cy="243035"/>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Mid</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ounded Rectangle 8"/>
          <p:cNvSpPr/>
          <p:nvPr/>
        </p:nvSpPr>
        <p:spPr>
          <a:xfrm>
            <a:off x="6766436" y="699993"/>
            <a:ext cx="1298863" cy="232761"/>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Long</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452363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sz="2800" dirty="0">
                <a:latin typeface="Segoe UI Light" panose="020B0502040204020203" pitchFamily="34" charset="0"/>
              </a:rPr>
              <a:t> </a:t>
            </a:r>
            <a:r>
              <a:rPr lang="en-US" dirty="0">
                <a:latin typeface="Segoe UI Light" panose="020B0502040204020203" pitchFamily="34" charset="0"/>
              </a:rPr>
              <a:t>Implementation Roadmap: Short/Mid/Long Term Strategy</a:t>
            </a:r>
            <a:endParaRPr lang="en-US" dirty="0"/>
          </a:p>
        </p:txBody>
      </p:sp>
      <p:sp>
        <p:nvSpPr>
          <p:cNvPr id="4" name="Rounded Rectangle 3"/>
          <p:cNvSpPr/>
          <p:nvPr/>
        </p:nvSpPr>
        <p:spPr>
          <a:xfrm>
            <a:off x="164176" y="2593271"/>
            <a:ext cx="787622" cy="1075567"/>
          </a:xfrm>
          <a:prstGeom prst="roundRect">
            <a:avLst/>
          </a:prstGeom>
          <a:ln/>
        </p:spPr>
        <p:style>
          <a:lnRef idx="1">
            <a:schemeClr val="accent1"/>
          </a:lnRef>
          <a:fillRef idx="2">
            <a:schemeClr val="accent1"/>
          </a:fillRef>
          <a:effectRef idx="1">
            <a:schemeClr val="accent1"/>
          </a:effectRef>
          <a:fontRef idx="minor">
            <a:schemeClr val="dk1"/>
          </a:fontRef>
        </p:style>
        <p:txBody>
          <a:bodyPr vert="vert270" rtlCol="0" anchor="t"/>
          <a:lstStyle/>
          <a:p>
            <a:pPr algn="ctr"/>
            <a:r>
              <a:rPr lang="en-US" sz="1100" b="1" dirty="0" smtClean="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rPr>
              <a:t>Verify</a:t>
            </a:r>
            <a:endParaRPr lang="en-US" sz="1100" b="1" dirty="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endParaRPr>
          </a:p>
        </p:txBody>
      </p:sp>
      <p:sp>
        <p:nvSpPr>
          <p:cNvPr id="5" name="Rounded Rectangle 4"/>
          <p:cNvSpPr/>
          <p:nvPr/>
        </p:nvSpPr>
        <p:spPr>
          <a:xfrm>
            <a:off x="174801" y="1182993"/>
            <a:ext cx="787622" cy="1338583"/>
          </a:xfrm>
          <a:prstGeom prst="roundRect">
            <a:avLst/>
          </a:prstGeom>
          <a:ln/>
        </p:spPr>
        <p:style>
          <a:lnRef idx="1">
            <a:schemeClr val="accent6"/>
          </a:lnRef>
          <a:fillRef idx="2">
            <a:schemeClr val="accent6"/>
          </a:fillRef>
          <a:effectRef idx="1">
            <a:schemeClr val="accent6"/>
          </a:effectRef>
          <a:fontRef idx="minor">
            <a:schemeClr val="dk1"/>
          </a:fontRef>
        </p:style>
        <p:txBody>
          <a:bodyPr vert="vert270" rtlCol="0" anchor="t"/>
          <a:lstStyle/>
          <a:p>
            <a:pPr algn="ctr"/>
            <a:r>
              <a:rPr lang="en-US" sz="1200" b="1" dirty="0" smtClean="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rPr>
              <a:t>Deploy</a:t>
            </a:r>
            <a:endParaRPr lang="en-US" sz="1200" b="1" dirty="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09461348"/>
              </p:ext>
            </p:extLst>
          </p:nvPr>
        </p:nvGraphicFramePr>
        <p:xfrm>
          <a:off x="962914" y="1132622"/>
          <a:ext cx="7877400" cy="2513175"/>
        </p:xfrm>
        <a:graphic>
          <a:graphicData uri="http://schemas.openxmlformats.org/drawingml/2006/table">
            <a:tbl>
              <a:tblPr firstRow="1" bandRow="1">
                <a:tableStyleId>{9D7B26C5-4107-4FEC-AEDC-1716B250A1EF}</a:tableStyleId>
              </a:tblPr>
              <a:tblGrid>
                <a:gridCol w="2473195"/>
                <a:gridCol w="2778405"/>
                <a:gridCol w="2625800"/>
              </a:tblGrid>
              <a:tr h="1484390">
                <a:tc>
                  <a:txBody>
                    <a:bodyPr/>
                    <a:lstStyle/>
                    <a:p>
                      <a:pPr marL="171450" indent="-171450">
                        <a:buFont typeface="Arial" panose="020B0604020202020204" pitchFamily="34" charset="0"/>
                        <a:buChar char="•"/>
                      </a:pPr>
                      <a:endParaRPr lang="en-US" sz="800" b="0" kern="1200" dirty="0">
                        <a:solidFill>
                          <a:schemeClr val="tx2"/>
                        </a:solidFill>
                        <a:latin typeface="+mn-lt"/>
                        <a:ea typeface="+mn-ea"/>
                        <a:cs typeface="+mn-cs"/>
                      </a:endParaRPr>
                    </a:p>
                  </a:txBody>
                  <a:tcPr/>
                </a:tc>
                <a:tc>
                  <a:txBody>
                    <a:bodyPr/>
                    <a:lstStyle/>
                    <a:p>
                      <a:pPr marL="171450" indent="-171450">
                        <a:buFont typeface="Arial" panose="020B0604020202020204" pitchFamily="34" charset="0"/>
                        <a:buChar char="•"/>
                      </a:pPr>
                      <a:r>
                        <a:rPr lang="en-US" sz="800" dirty="0" smtClean="0"/>
                        <a:t>Introduce Nexus as artifact management – to store deployable artifacts.</a:t>
                      </a:r>
                    </a:p>
                    <a:p>
                      <a:pPr marL="171450" indent="-171450">
                        <a:buFont typeface="Arial" panose="020B0604020202020204" pitchFamily="34" charset="0"/>
                        <a:buChar char="•"/>
                      </a:pPr>
                      <a:r>
                        <a:rPr lang="en-US" sz="800" dirty="0" smtClean="0"/>
                        <a:t>Enable Pre and Post Install Checks via Automation scripts/Plug-in.</a:t>
                      </a:r>
                    </a:p>
                    <a:p>
                      <a:pPr marL="171450" indent="-171450">
                        <a:buFont typeface="Arial" panose="020B0604020202020204" pitchFamily="34" charset="0"/>
                        <a:buChar char="•"/>
                      </a:pPr>
                      <a:r>
                        <a:rPr lang="en-US" sz="800" dirty="0" smtClean="0"/>
                        <a:t>Optimize deployment cycle by collaborating tools like XL-Release ,Jenkins, and Deployment tool– This will help to reduce further dependencies on approvals. Enable Continuous Deployment across the environments in an automated way.</a:t>
                      </a:r>
                    </a:p>
                    <a:p>
                      <a:pPr marL="171450" indent="-171450">
                        <a:buFont typeface="Arial" panose="020B0604020202020204" pitchFamily="34" charset="0"/>
                        <a:buChar char="•"/>
                      </a:pPr>
                      <a:endParaRPr lang="en-US" sz="800" dirty="0" smtClean="0">
                        <a:solidFill>
                          <a:schemeClr val="tx2"/>
                        </a:solidFill>
                      </a:endParaRPr>
                    </a:p>
                  </a:txBody>
                  <a:tcPr/>
                </a:tc>
                <a:tc>
                  <a:txBody>
                    <a:bodyPr/>
                    <a:lstStyle/>
                    <a:p>
                      <a:pPr marL="171450" indent="-171450">
                        <a:buFont typeface="Arial" panose="020B0604020202020204" pitchFamily="34" charset="0"/>
                        <a:buChar char="•"/>
                      </a:pPr>
                      <a:endParaRPr lang="en-US" sz="800" dirty="0" smtClean="0">
                        <a:solidFill>
                          <a:schemeClr val="tx2"/>
                        </a:solidFill>
                      </a:endParaRPr>
                    </a:p>
                  </a:txBody>
                  <a:tcPr/>
                </a:tc>
              </a:tr>
              <a:tr h="1028785">
                <a:tc>
                  <a:txBody>
                    <a:bodyPr/>
                    <a:lstStyle/>
                    <a:p>
                      <a:pPr marL="171450" indent="-171450">
                        <a:buFont typeface="Arial" panose="020B0604020202020204" pitchFamily="34" charset="0"/>
                        <a:buChar char="•"/>
                      </a:pPr>
                      <a:endParaRPr lang="en-US" sz="800" kern="1200" dirty="0">
                        <a:solidFill>
                          <a:schemeClr val="tx2"/>
                        </a:solidFill>
                        <a:latin typeface="+mn-lt"/>
                        <a:ea typeface="+mn-ea"/>
                        <a:cs typeface="+mn-cs"/>
                      </a:endParaRPr>
                    </a:p>
                  </a:txBody>
                  <a:tcPr/>
                </a:tc>
                <a:tc>
                  <a:txBody>
                    <a:bodyPr/>
                    <a:lstStyle/>
                    <a:p>
                      <a:pPr marL="0" indent="0" defTabSz="914400">
                        <a:buFont typeface="Wingdings" panose="05000000000000000000" pitchFamily="2" charset="2"/>
                        <a:buNone/>
                        <a:defRPr/>
                      </a:pPr>
                      <a:r>
                        <a:rPr lang="en-US" sz="800" dirty="0" smtClean="0"/>
                        <a:t>Test Automation to be brought in all application using existing tool- Selenium</a:t>
                      </a:r>
                      <a:r>
                        <a:rPr lang="en-US" sz="800" baseline="0" dirty="0" smtClean="0"/>
                        <a:t> &amp; Protractor</a:t>
                      </a:r>
                      <a:r>
                        <a:rPr lang="en-US" sz="800" dirty="0" smtClean="0"/>
                        <a:t>. This needs to be integrated with CI/CD pipeline as well. (Ensure 100% integration of test automation suite within CI Lifecycle).</a:t>
                      </a:r>
                    </a:p>
                    <a:p>
                      <a:pPr marL="0" indent="0" defTabSz="914400">
                        <a:buFont typeface="Arial" panose="020B0604020202020204" pitchFamily="34" charset="0"/>
                        <a:buNone/>
                        <a:defRPr/>
                      </a:pPr>
                      <a:r>
                        <a:rPr lang="en-US" sz="800" dirty="0" smtClean="0"/>
                        <a:t>Ensure Test automation coverage is enabled via SonarQube.</a:t>
                      </a:r>
                    </a:p>
                    <a:p>
                      <a:pPr marL="171450" indent="-171450">
                        <a:buFont typeface="Arial" panose="020B0604020202020204" pitchFamily="34" charset="0"/>
                        <a:buChar char="•"/>
                      </a:pPr>
                      <a:endParaRPr lang="en-US" sz="800" kern="1200" dirty="0">
                        <a:solidFill>
                          <a:schemeClr val="tx2"/>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0" kern="1200" dirty="0">
                        <a:solidFill>
                          <a:schemeClr val="tx2"/>
                        </a:solidFill>
                        <a:latin typeface="+mn-lt"/>
                        <a:ea typeface="+mn-ea"/>
                        <a:cs typeface="+mn-cs"/>
                      </a:endParaRPr>
                    </a:p>
                  </a:txBody>
                  <a:tcPr/>
                </a:tc>
              </a:tr>
            </a:tbl>
          </a:graphicData>
        </a:graphic>
      </p:graphicFrame>
      <p:sp>
        <p:nvSpPr>
          <p:cNvPr id="7" name="Rounded Rectangle 6"/>
          <p:cNvSpPr/>
          <p:nvPr/>
        </p:nvSpPr>
        <p:spPr>
          <a:xfrm>
            <a:off x="1566965" y="838157"/>
            <a:ext cx="1298863" cy="232879"/>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Short</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8" name="Rounded Rectangle 7"/>
          <p:cNvSpPr/>
          <p:nvPr/>
        </p:nvSpPr>
        <p:spPr>
          <a:xfrm>
            <a:off x="4252182" y="827942"/>
            <a:ext cx="1298863" cy="243035"/>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Mid</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ounded Rectangle 8"/>
          <p:cNvSpPr/>
          <p:nvPr/>
        </p:nvSpPr>
        <p:spPr>
          <a:xfrm>
            <a:off x="6830232" y="838216"/>
            <a:ext cx="1298863" cy="232761"/>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Long</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958714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sz="2800" dirty="0">
                <a:latin typeface="Segoe UI Light" panose="020B0502040204020203" pitchFamily="34" charset="0"/>
              </a:rPr>
              <a:t> </a:t>
            </a:r>
            <a:r>
              <a:rPr lang="en-US" dirty="0">
                <a:latin typeface="Segoe UI Light" panose="020B0502040204020203" pitchFamily="34" charset="0"/>
              </a:rPr>
              <a:t>Implementation Roadmap: Short/Mid/Long Term Strategy</a:t>
            </a:r>
            <a:endParaRPr lang="en-US" dirty="0"/>
          </a:p>
        </p:txBody>
      </p:sp>
      <p:sp>
        <p:nvSpPr>
          <p:cNvPr id="4" name="Rounded Rectangle 3"/>
          <p:cNvSpPr/>
          <p:nvPr/>
        </p:nvSpPr>
        <p:spPr>
          <a:xfrm>
            <a:off x="110613" y="3523522"/>
            <a:ext cx="787622" cy="1241318"/>
          </a:xfrm>
          <a:prstGeom prst="roundRect">
            <a:avLst/>
          </a:prstGeom>
          <a:ln/>
        </p:spPr>
        <p:style>
          <a:lnRef idx="1">
            <a:schemeClr val="accent1"/>
          </a:lnRef>
          <a:fillRef idx="2">
            <a:schemeClr val="accent1"/>
          </a:fillRef>
          <a:effectRef idx="1">
            <a:schemeClr val="accent1"/>
          </a:effectRef>
          <a:fontRef idx="minor">
            <a:schemeClr val="dk1"/>
          </a:fontRef>
        </p:style>
        <p:txBody>
          <a:bodyPr vert="vert270" rtlCol="0" anchor="t"/>
          <a:lstStyle/>
          <a:p>
            <a:pPr algn="ctr"/>
            <a:r>
              <a:rPr lang="en-US" sz="1100" b="1" dirty="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rPr>
              <a:t>Environment</a:t>
            </a:r>
          </a:p>
        </p:txBody>
      </p:sp>
      <p:sp>
        <p:nvSpPr>
          <p:cNvPr id="5" name="Rounded Rectangle 4"/>
          <p:cNvSpPr/>
          <p:nvPr/>
        </p:nvSpPr>
        <p:spPr>
          <a:xfrm>
            <a:off x="76164" y="2253264"/>
            <a:ext cx="787622" cy="1229161"/>
          </a:xfrm>
          <a:prstGeom prst="roundRect">
            <a:avLst/>
          </a:prstGeom>
          <a:ln/>
        </p:spPr>
        <p:style>
          <a:lnRef idx="1">
            <a:schemeClr val="accent6"/>
          </a:lnRef>
          <a:fillRef idx="2">
            <a:schemeClr val="accent6"/>
          </a:fillRef>
          <a:effectRef idx="1">
            <a:schemeClr val="accent6"/>
          </a:effectRef>
          <a:fontRef idx="minor">
            <a:schemeClr val="dk1"/>
          </a:fontRef>
        </p:style>
        <p:txBody>
          <a:bodyPr vert="vert270" rtlCol="0" anchor="t"/>
          <a:lstStyle/>
          <a:p>
            <a:pPr algn="ctr"/>
            <a:r>
              <a:rPr lang="en-US" sz="1200" b="1" dirty="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rPr>
              <a:t>Measure and Monitor</a:t>
            </a:r>
          </a:p>
        </p:txBody>
      </p:sp>
      <p:sp>
        <p:nvSpPr>
          <p:cNvPr id="6" name="Rounded Rectangle 5"/>
          <p:cNvSpPr/>
          <p:nvPr/>
        </p:nvSpPr>
        <p:spPr>
          <a:xfrm>
            <a:off x="97425" y="939853"/>
            <a:ext cx="787622" cy="1277819"/>
          </a:xfrm>
          <a:prstGeom prst="roundRect">
            <a:avLst/>
          </a:prstGeom>
          <a:ln/>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vert="vert270" rtlCol="0" anchor="t"/>
          <a:lstStyle/>
          <a:p>
            <a:pPr algn="ctr"/>
            <a:r>
              <a:rPr lang="en-US" sz="1200" b="1" dirty="0">
                <a:ln w="0"/>
                <a:solidFill>
                  <a:srgbClr val="0033CC"/>
                </a:solidFill>
                <a:effectLst>
                  <a:outerShdw blurRad="38100" dist="19050" dir="2700000" algn="tl" rotWithShape="0">
                    <a:srgbClr val="50B3CF">
                      <a:alpha val="40000"/>
                    </a:srgbClr>
                  </a:outerShdw>
                </a:effectLst>
                <a:latin typeface="Verdana" panose="020B0604030504040204" pitchFamily="34" charset="0"/>
                <a:ea typeface="Verdana" panose="020B0604030504040204" pitchFamily="34" charset="0"/>
                <a:cs typeface="Verdana" panose="020B0604030504040204" pitchFamily="34" charset="0"/>
              </a:rPr>
              <a:t>Release</a:t>
            </a:r>
          </a:p>
        </p:txBody>
      </p:sp>
      <p:sp>
        <p:nvSpPr>
          <p:cNvPr id="7" name="TextBox 6"/>
          <p:cNvSpPr txBox="1"/>
          <p:nvPr/>
        </p:nvSpPr>
        <p:spPr>
          <a:xfrm>
            <a:off x="974775" y="3721754"/>
            <a:ext cx="2126750" cy="523220"/>
          </a:xfrm>
          <a:prstGeom prst="rect">
            <a:avLst/>
          </a:prstGeom>
          <a:noFill/>
        </p:spPr>
        <p:txBody>
          <a:bodyPr wrap="square" rtlCol="0">
            <a:spAutoFit/>
          </a:bodyPr>
          <a:lstStyle/>
          <a:p>
            <a:r>
              <a:rPr lang="en-US" sz="1000" dirty="0" smtClean="0">
                <a:solidFill>
                  <a:srgbClr val="141414"/>
                </a:solidFill>
                <a:latin typeface="Times New Roman" panose="02020603050405020304" pitchFamily="18" charset="0"/>
                <a:cs typeface="Times New Roman" panose="02020603050405020304" pitchFamily="18" charset="0"/>
              </a:rPr>
              <a:t> </a:t>
            </a:r>
            <a:endParaRPr lang="en-US" sz="1000" dirty="0">
              <a:solidFill>
                <a:srgbClr val="141414"/>
              </a:solidFill>
              <a:latin typeface="Times New Roman" panose="02020603050405020304" pitchFamily="18" charset="0"/>
              <a:cs typeface="Times New Roman" panose="02020603050405020304" pitchFamily="18" charset="0"/>
            </a:endParaRPr>
          </a:p>
          <a:p>
            <a:endParaRPr lang="en-US" dirty="0">
              <a:solidFill>
                <a:srgbClr val="50B3CF"/>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796152493"/>
              </p:ext>
            </p:extLst>
          </p:nvPr>
        </p:nvGraphicFramePr>
        <p:xfrm>
          <a:off x="856587" y="919970"/>
          <a:ext cx="7877400" cy="3705194"/>
        </p:xfrm>
        <a:graphic>
          <a:graphicData uri="http://schemas.openxmlformats.org/drawingml/2006/table">
            <a:tbl>
              <a:tblPr firstRow="1" bandRow="1">
                <a:tableStyleId>{9D7B26C5-4107-4FEC-AEDC-1716B250A1EF}</a:tableStyleId>
              </a:tblPr>
              <a:tblGrid>
                <a:gridCol w="2625800"/>
                <a:gridCol w="2625800"/>
                <a:gridCol w="2625800"/>
              </a:tblGrid>
              <a:tr h="1331011">
                <a:tc>
                  <a:txBody>
                    <a:bodyPr/>
                    <a:lstStyle/>
                    <a:p>
                      <a:pPr marL="0" indent="0">
                        <a:buFont typeface="Arial" panose="020B0604020202020204" pitchFamily="34" charset="0"/>
                        <a:buNone/>
                      </a:pPr>
                      <a:endParaRPr lang="en-US" sz="800" kern="1200" dirty="0">
                        <a:solidFill>
                          <a:schemeClr val="tx2"/>
                        </a:solidFill>
                        <a:latin typeface="+mn-lt"/>
                        <a:ea typeface="+mn-ea"/>
                        <a:cs typeface="+mn-cs"/>
                      </a:endParaRPr>
                    </a:p>
                  </a:txBody>
                  <a:tcPr/>
                </a:tc>
                <a:tc>
                  <a:txBody>
                    <a:bodyPr/>
                    <a:lstStyle/>
                    <a:p>
                      <a:pPr marL="171450" indent="-171450">
                        <a:buFont typeface="Wingdings" panose="05000000000000000000" pitchFamily="2" charset="2"/>
                        <a:buChar char="§"/>
                      </a:pPr>
                      <a:r>
                        <a:rPr lang="en-US" sz="800" dirty="0" smtClean="0"/>
                        <a:t>Enable release traceability and approvals using XL-Release/ uRelease/ </a:t>
                      </a:r>
                      <a:r>
                        <a:rPr lang="en-US" sz="800" dirty="0" err="1" smtClean="0"/>
                        <a:t>Plutora</a:t>
                      </a:r>
                      <a:r>
                        <a:rPr lang="en-US" sz="800" dirty="0" smtClean="0"/>
                        <a:t>.</a:t>
                      </a:r>
                    </a:p>
                    <a:p>
                      <a:pPr marL="171450" indent="-171450">
                        <a:buFont typeface="Wingdings" panose="05000000000000000000" pitchFamily="2" charset="2"/>
                        <a:buChar char="§"/>
                      </a:pPr>
                      <a:r>
                        <a:rPr lang="en-US" sz="800" dirty="0" smtClean="0"/>
                        <a:t>Enable release dashboards with Phase wise data analysis in order to track / Monitor the metrics for release management.</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smtClean="0">
                        <a:solidFill>
                          <a:schemeClr val="tx1"/>
                        </a:solidFill>
                      </a:endParaRP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smtClean="0"/>
                        <a:t>Make use of </a:t>
                      </a:r>
                      <a:r>
                        <a:rPr lang="en-US" sz="800" dirty="0" err="1" smtClean="0"/>
                        <a:t>InSights</a:t>
                      </a:r>
                      <a:r>
                        <a:rPr lang="en-US" sz="800" dirty="0" smtClean="0"/>
                        <a:t> for end-to-end traceability and Ensure DevOps adoption by integrating it with all the existing DevOps tools(ALM, CI, SCM, Deployment tool, Code Review, Artifact management, Environment, ITSM, CMDB, Feedback and Monitoring ) seamless release in a single work flow.</a:t>
                      </a:r>
                    </a:p>
                    <a:p>
                      <a:pPr marL="171450" indent="-171450">
                        <a:buFont typeface="Arial" panose="020B0604020202020204" pitchFamily="34" charset="0"/>
                        <a:buChar char="•"/>
                      </a:pPr>
                      <a:endParaRPr lang="en-US" sz="800" b="0" kern="1200" dirty="0">
                        <a:solidFill>
                          <a:schemeClr val="tx1"/>
                        </a:solidFill>
                        <a:latin typeface="+mn-lt"/>
                        <a:ea typeface="+mn-ea"/>
                        <a:cs typeface="+mn-cs"/>
                      </a:endParaRPr>
                    </a:p>
                  </a:txBody>
                  <a:tcPr/>
                </a:tc>
              </a:tr>
              <a:tr h="1254821">
                <a:tc>
                  <a:txBody>
                    <a:bodyPr/>
                    <a:lstStyle/>
                    <a:p>
                      <a:pPr marL="171450" indent="-171450">
                        <a:buFont typeface="Arial" panose="020B0604020202020204" pitchFamily="34" charset="0"/>
                        <a:buChar char="•"/>
                      </a:pPr>
                      <a:endParaRPr lang="en-US" sz="800" b="0" kern="1200" dirty="0">
                        <a:solidFill>
                          <a:schemeClr val="tx2"/>
                        </a:solidFill>
                        <a:latin typeface="+mn-lt"/>
                        <a:ea typeface="+mn-ea"/>
                        <a:cs typeface="+mn-cs"/>
                      </a:endParaRP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smtClean="0"/>
                        <a:t>Monitoring system/tools to be linked with defect management system – JIRA</a:t>
                      </a:r>
                      <a:r>
                        <a:rPr lang="en-US" sz="800" baseline="0" dirty="0" smtClean="0"/>
                        <a:t> &amp; ITIL Ticketing Tools</a:t>
                      </a:r>
                      <a:r>
                        <a:rPr lang="en-US" sz="800" dirty="0" smtClean="0"/>
                        <a:t>, which can automatically create defects for every new exceptions for quicker resolution.</a:t>
                      </a:r>
                    </a:p>
                    <a:p>
                      <a:pPr marL="171450" indent="-171450">
                        <a:buFont typeface="Arial" panose="020B0604020202020204" pitchFamily="34" charset="0"/>
                        <a:buChar char="•"/>
                      </a:pPr>
                      <a:endParaRPr lang="en-US" sz="800" dirty="0" smtClean="0">
                        <a:solidFill>
                          <a:schemeClr val="tx1"/>
                        </a:solidFill>
                      </a:endParaRPr>
                    </a:p>
                  </a:txBody>
                  <a:tcPr/>
                </a:tc>
                <a:tc>
                  <a:txBody>
                    <a:bodyPr/>
                    <a:lstStyle/>
                    <a:p>
                      <a:pPr marL="171450" indent="-171450">
                        <a:buFont typeface="Arial" panose="020B0604020202020204" pitchFamily="34" charset="0"/>
                        <a:buChar char="•"/>
                      </a:pPr>
                      <a:endParaRPr lang="en-US" sz="800" dirty="0" smtClean="0">
                        <a:solidFill>
                          <a:schemeClr val="tx1"/>
                        </a:solidFill>
                      </a:endParaRPr>
                    </a:p>
                  </a:txBody>
                  <a:tcPr/>
                </a:tc>
              </a:tr>
              <a:tr h="1119362">
                <a:tc>
                  <a:txBody>
                    <a:bodyPr/>
                    <a:lstStyle/>
                    <a:p>
                      <a:pPr marL="171450" indent="-171450">
                        <a:buFont typeface="Arial" panose="020B0604020202020204" pitchFamily="34" charset="0"/>
                        <a:buChar char="•"/>
                      </a:pPr>
                      <a:endParaRPr lang="en-US" sz="800" kern="1200" dirty="0">
                        <a:solidFill>
                          <a:schemeClr val="tx2"/>
                        </a:solidFill>
                        <a:latin typeface="+mn-lt"/>
                        <a:ea typeface="+mn-ea"/>
                        <a:cs typeface="+mn-cs"/>
                      </a:endParaRPr>
                    </a:p>
                  </a:txBody>
                  <a:tcPr/>
                </a:tc>
                <a:tc>
                  <a:txBody>
                    <a:bodyPr/>
                    <a:lstStyle/>
                    <a:p>
                      <a:pPr marL="171450" indent="-171450">
                        <a:buFont typeface="Arial" panose="020B0604020202020204" pitchFamily="34" charset="0"/>
                        <a:buChar char="•"/>
                      </a:pPr>
                      <a:endParaRPr lang="en-US" sz="800" kern="1200" dirty="0">
                        <a:solidFill>
                          <a:schemeClr val="tx1"/>
                        </a:solidFill>
                        <a:latin typeface="+mn-lt"/>
                        <a:ea typeface="+mn-ea"/>
                        <a:cs typeface="+mn-cs"/>
                      </a:endParaRPr>
                    </a:p>
                  </a:txBody>
                  <a:tcPr/>
                </a:tc>
                <a:tc>
                  <a:txBody>
                    <a:bodyPr/>
                    <a:lstStyle/>
                    <a:p>
                      <a:pPr marL="171450" indent="-171450">
                        <a:buFont typeface="Wingdings" panose="05000000000000000000" pitchFamily="2" charset="2"/>
                        <a:buChar char="§"/>
                      </a:pPr>
                      <a:r>
                        <a:rPr lang="en-US" sz="800" dirty="0" smtClean="0"/>
                        <a:t>Implement Puppet/ Ansible/Chef for Environment configuration and provisioning.</a:t>
                      </a:r>
                    </a:p>
                    <a:p>
                      <a:pPr marL="171450" indent="-171450">
                        <a:buFont typeface="Wingdings" panose="05000000000000000000" pitchFamily="2" charset="2"/>
                        <a:buChar char="§"/>
                      </a:pPr>
                      <a:r>
                        <a:rPr lang="en-US" sz="800" dirty="0" smtClean="0"/>
                        <a:t>Introduce self service enablement towards booking and scheduling – Leverage SharePoint/other tools.</a:t>
                      </a:r>
                    </a:p>
                    <a:p>
                      <a:pPr marL="171450" indent="-171450">
                        <a:buFont typeface="Wingdings" panose="05000000000000000000" pitchFamily="2" charset="2"/>
                        <a:buChar char="§"/>
                      </a:pPr>
                      <a:r>
                        <a:rPr lang="en-US" sz="800" dirty="0" smtClean="0"/>
                        <a:t>Implement Recipe based environment provisioning and build for quicker turnaround</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0" kern="1200" dirty="0">
                        <a:solidFill>
                          <a:schemeClr val="tx1"/>
                        </a:solidFill>
                        <a:latin typeface="+mn-lt"/>
                        <a:ea typeface="+mn-ea"/>
                        <a:cs typeface="+mn-cs"/>
                      </a:endParaRPr>
                    </a:p>
                  </a:txBody>
                  <a:tcPr/>
                </a:tc>
              </a:tr>
            </a:tbl>
          </a:graphicData>
        </a:graphic>
      </p:graphicFrame>
      <p:sp>
        <p:nvSpPr>
          <p:cNvPr id="9" name="Rounded Rectangle 8"/>
          <p:cNvSpPr/>
          <p:nvPr/>
        </p:nvSpPr>
        <p:spPr>
          <a:xfrm>
            <a:off x="1460638" y="625506"/>
            <a:ext cx="1298863" cy="232879"/>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Short</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ounded Rectangle 9"/>
          <p:cNvSpPr/>
          <p:nvPr/>
        </p:nvSpPr>
        <p:spPr>
          <a:xfrm>
            <a:off x="6723905" y="625565"/>
            <a:ext cx="1298863" cy="232761"/>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dirty="0" smtClean="0">
                <a:solidFill>
                  <a:prstClr val="white"/>
                </a:solidFill>
                <a:latin typeface="Verdana" panose="020B0604030504040204" pitchFamily="34" charset="0"/>
                <a:ea typeface="Verdana" panose="020B0604030504040204" pitchFamily="34" charset="0"/>
                <a:cs typeface="Verdana" panose="020B0604030504040204" pitchFamily="34" charset="0"/>
              </a:rPr>
              <a:t>Long</a:t>
            </a:r>
            <a:endPar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725287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t>NOL - Current SDLC Tool State</a:t>
            </a:r>
            <a:endParaRPr lang="en-US" dirty="0"/>
          </a:p>
        </p:txBody>
      </p:sp>
      <p:grpSp>
        <p:nvGrpSpPr>
          <p:cNvPr id="4" name="Group 3"/>
          <p:cNvGrpSpPr/>
          <p:nvPr/>
        </p:nvGrpSpPr>
        <p:grpSpPr>
          <a:xfrm>
            <a:off x="210615" y="693309"/>
            <a:ext cx="5544126" cy="3396542"/>
            <a:chOff x="231182" y="773376"/>
            <a:chExt cx="6931618" cy="4597398"/>
          </a:xfrm>
        </p:grpSpPr>
        <p:graphicFrame>
          <p:nvGraphicFramePr>
            <p:cNvPr id="5" name="Diagram 4"/>
            <p:cNvGraphicFramePr/>
            <p:nvPr>
              <p:extLst>
                <p:ext uri="{D42A27DB-BD31-4B8C-83A1-F6EECF244321}">
                  <p14:modId xmlns:p14="http://schemas.microsoft.com/office/powerpoint/2010/main" val="3212044879"/>
                </p:ext>
              </p:extLst>
            </p:nvPr>
          </p:nvGraphicFramePr>
          <p:xfrm>
            <a:off x="231182" y="773376"/>
            <a:ext cx="6931618" cy="45973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298433" y="2295273"/>
              <a:ext cx="6187975" cy="2860722"/>
              <a:chOff x="298433" y="2295273"/>
              <a:chExt cx="6187975" cy="2860722"/>
            </a:xfrm>
          </p:grpSpPr>
          <p:pic>
            <p:nvPicPr>
              <p:cNvPr id="9" name="Picture 1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98433" y="3226694"/>
                <a:ext cx="342900" cy="17747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150243" y="2650191"/>
                <a:ext cx="24014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298433" y="4085776"/>
                <a:ext cx="199892" cy="19903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6" descr="Image result for VS 2013 Logo"/>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7354" t="37619" r="9305" b="38482"/>
              <a:stretch/>
            </p:blipFill>
            <p:spPr bwMode="auto">
              <a:xfrm>
                <a:off x="317406" y="5018827"/>
                <a:ext cx="717452" cy="1371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737326" y="2303983"/>
                <a:ext cx="174714" cy="17396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237842" y="2329682"/>
                <a:ext cx="166731" cy="16601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4"/>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720469" y="3239733"/>
                <a:ext cx="181857" cy="18107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3179993" y="4875215"/>
                <a:ext cx="311594" cy="28078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8"/>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113865" y="2295273"/>
                <a:ext cx="372543" cy="2782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p:cNvGrpSpPr/>
          <p:nvPr/>
        </p:nvGrpSpPr>
        <p:grpSpPr>
          <a:xfrm>
            <a:off x="7818151" y="3908008"/>
            <a:ext cx="1209675" cy="866542"/>
            <a:chOff x="7696200" y="2494526"/>
            <a:chExt cx="1209675" cy="866542"/>
          </a:xfrm>
        </p:grpSpPr>
        <p:grpSp>
          <p:nvGrpSpPr>
            <p:cNvPr id="21" name="Group 20"/>
            <p:cNvGrpSpPr/>
            <p:nvPr/>
          </p:nvGrpSpPr>
          <p:grpSpPr>
            <a:xfrm>
              <a:off x="7696200" y="2494526"/>
              <a:ext cx="1038225" cy="230832"/>
              <a:chOff x="7696200" y="2494526"/>
              <a:chExt cx="1038225" cy="230832"/>
            </a:xfrm>
          </p:grpSpPr>
          <p:sp>
            <p:nvSpPr>
              <p:cNvPr id="31" name="Rounded Rectangle 30"/>
              <p:cNvSpPr/>
              <p:nvPr/>
            </p:nvSpPr>
            <p:spPr>
              <a:xfrm>
                <a:off x="7696200" y="2543865"/>
                <a:ext cx="228600" cy="1524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7896225" y="2494526"/>
                <a:ext cx="838200" cy="230832"/>
              </a:xfrm>
              <a:prstGeom prst="rect">
                <a:avLst/>
              </a:prstGeom>
              <a:noFill/>
            </p:spPr>
            <p:txBody>
              <a:bodyPr wrap="square" rtlCol="0">
                <a:spAutoFit/>
              </a:bodyPr>
              <a:lstStyle/>
              <a:p>
                <a:r>
                  <a:rPr lang="en-US" sz="900" dirty="0" smtClean="0"/>
                  <a:t>Manual Task</a:t>
                </a:r>
                <a:endParaRPr lang="en-US" sz="900" dirty="0"/>
              </a:p>
            </p:txBody>
          </p:sp>
        </p:grpSp>
        <p:grpSp>
          <p:nvGrpSpPr>
            <p:cNvPr id="22" name="Group 21"/>
            <p:cNvGrpSpPr/>
            <p:nvPr/>
          </p:nvGrpSpPr>
          <p:grpSpPr>
            <a:xfrm>
              <a:off x="7696200" y="2705111"/>
              <a:ext cx="1038225" cy="230832"/>
              <a:chOff x="7696200" y="2705111"/>
              <a:chExt cx="1038225" cy="230832"/>
            </a:xfrm>
          </p:grpSpPr>
          <p:sp>
            <p:nvSpPr>
              <p:cNvPr id="29" name="Rounded Rectangle 28"/>
              <p:cNvSpPr/>
              <p:nvPr/>
            </p:nvSpPr>
            <p:spPr>
              <a:xfrm>
                <a:off x="7696200" y="2754450"/>
                <a:ext cx="228600" cy="1524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7896225" y="2705111"/>
                <a:ext cx="838200" cy="230832"/>
              </a:xfrm>
              <a:prstGeom prst="rect">
                <a:avLst/>
              </a:prstGeom>
              <a:noFill/>
            </p:spPr>
            <p:txBody>
              <a:bodyPr wrap="square" rtlCol="0">
                <a:spAutoFit/>
              </a:bodyPr>
              <a:lstStyle/>
              <a:p>
                <a:r>
                  <a:rPr lang="en-US" sz="900" dirty="0" smtClean="0"/>
                  <a:t>Tool driven</a:t>
                </a:r>
                <a:endParaRPr lang="en-US" sz="900" dirty="0"/>
              </a:p>
            </p:txBody>
          </p:sp>
        </p:grpSp>
        <p:grpSp>
          <p:nvGrpSpPr>
            <p:cNvPr id="23" name="Group 22"/>
            <p:cNvGrpSpPr/>
            <p:nvPr/>
          </p:nvGrpSpPr>
          <p:grpSpPr>
            <a:xfrm>
              <a:off x="7696200" y="2926417"/>
              <a:ext cx="1209675" cy="230832"/>
              <a:chOff x="7696200" y="2926417"/>
              <a:chExt cx="1209675" cy="230832"/>
            </a:xfrm>
          </p:grpSpPr>
          <p:sp>
            <p:nvSpPr>
              <p:cNvPr id="27" name="Rounded Rectangle 26"/>
              <p:cNvSpPr/>
              <p:nvPr/>
            </p:nvSpPr>
            <p:spPr>
              <a:xfrm>
                <a:off x="7696200" y="2965035"/>
                <a:ext cx="22860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7896225" y="2926417"/>
                <a:ext cx="1009650" cy="230832"/>
              </a:xfrm>
              <a:prstGeom prst="rect">
                <a:avLst/>
              </a:prstGeom>
              <a:noFill/>
            </p:spPr>
            <p:txBody>
              <a:bodyPr wrap="square" rtlCol="0">
                <a:spAutoFit/>
              </a:bodyPr>
              <a:lstStyle/>
              <a:p>
                <a:r>
                  <a:rPr lang="en-US" sz="900" dirty="0" smtClean="0"/>
                  <a:t>Non automated</a:t>
                </a:r>
                <a:endParaRPr lang="en-US" sz="900" dirty="0"/>
              </a:p>
            </p:txBody>
          </p:sp>
        </p:grpSp>
        <p:grpSp>
          <p:nvGrpSpPr>
            <p:cNvPr id="24" name="Group 23"/>
            <p:cNvGrpSpPr/>
            <p:nvPr/>
          </p:nvGrpSpPr>
          <p:grpSpPr>
            <a:xfrm>
              <a:off x="7696200" y="3130236"/>
              <a:ext cx="1209675" cy="230832"/>
              <a:chOff x="7696200" y="3130236"/>
              <a:chExt cx="1209675" cy="230832"/>
            </a:xfrm>
          </p:grpSpPr>
          <p:sp>
            <p:nvSpPr>
              <p:cNvPr id="25" name="Rounded Rectangle 24"/>
              <p:cNvSpPr/>
              <p:nvPr/>
            </p:nvSpPr>
            <p:spPr>
              <a:xfrm>
                <a:off x="7696200" y="3175620"/>
                <a:ext cx="228600" cy="1524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896225" y="3130236"/>
                <a:ext cx="1009650" cy="230832"/>
              </a:xfrm>
              <a:prstGeom prst="rect">
                <a:avLst/>
              </a:prstGeom>
              <a:noFill/>
            </p:spPr>
            <p:txBody>
              <a:bodyPr wrap="square" rtlCol="0">
                <a:spAutoFit/>
              </a:bodyPr>
              <a:lstStyle/>
              <a:p>
                <a:r>
                  <a:rPr lang="en-US" sz="900" dirty="0" smtClean="0"/>
                  <a:t>Out of Scope</a:t>
                </a:r>
                <a:endParaRPr lang="en-US" sz="900" dirty="0"/>
              </a:p>
            </p:txBody>
          </p:sp>
        </p:grpSp>
      </p:grpSp>
      <p:sp>
        <p:nvSpPr>
          <p:cNvPr id="33" name="Rounded Rectangle 32"/>
          <p:cNvSpPr/>
          <p:nvPr/>
        </p:nvSpPr>
        <p:spPr>
          <a:xfrm>
            <a:off x="3622741" y="1406507"/>
            <a:ext cx="1021829" cy="2607832"/>
          </a:xfrm>
          <a:prstGeom prst="roundRect">
            <a:avLst>
              <a:gd name="adj" fmla="val 8854"/>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4811709" y="643090"/>
            <a:ext cx="996822" cy="1673147"/>
          </a:xfrm>
          <a:prstGeom prst="roundRect">
            <a:avLst>
              <a:gd name="adj" fmla="val 8854"/>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679745" y="3990778"/>
            <a:ext cx="1071964" cy="369332"/>
          </a:xfrm>
          <a:prstGeom prst="rect">
            <a:avLst/>
          </a:prstGeom>
          <a:noFill/>
        </p:spPr>
        <p:txBody>
          <a:bodyPr wrap="square" rtlCol="0">
            <a:spAutoFit/>
          </a:bodyPr>
          <a:lstStyle/>
          <a:p>
            <a:pPr algn="ctr"/>
            <a:r>
              <a:rPr lang="en-US" sz="900" dirty="0" smtClean="0"/>
              <a:t>Test Case/Data Management</a:t>
            </a:r>
            <a:endParaRPr lang="en-US" sz="900" dirty="0"/>
          </a:p>
        </p:txBody>
      </p:sp>
      <p:sp>
        <p:nvSpPr>
          <p:cNvPr id="36" name="TextBox 35"/>
          <p:cNvSpPr txBox="1"/>
          <p:nvPr/>
        </p:nvSpPr>
        <p:spPr>
          <a:xfrm>
            <a:off x="4798013" y="2445744"/>
            <a:ext cx="1071964" cy="369332"/>
          </a:xfrm>
          <a:prstGeom prst="rect">
            <a:avLst/>
          </a:prstGeom>
          <a:noFill/>
        </p:spPr>
        <p:txBody>
          <a:bodyPr wrap="square" rtlCol="0">
            <a:spAutoFit/>
          </a:bodyPr>
          <a:lstStyle/>
          <a:p>
            <a:pPr algn="ctr"/>
            <a:r>
              <a:rPr lang="en-US" sz="900" dirty="0" smtClean="0"/>
              <a:t>CMDB/Change Management</a:t>
            </a:r>
            <a:endParaRPr lang="en-US" sz="900" dirty="0"/>
          </a:p>
        </p:txBody>
      </p:sp>
      <p:pic>
        <p:nvPicPr>
          <p:cNvPr id="39" name="Picture 12"/>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2581063" y="1156592"/>
            <a:ext cx="293496" cy="15848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4"/>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2557174" y="2535621"/>
            <a:ext cx="362503" cy="10131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1401793" y="1046011"/>
            <a:ext cx="153225" cy="15848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908122" y="1461153"/>
            <a:ext cx="872175" cy="215444"/>
          </a:xfrm>
          <a:prstGeom prst="rect">
            <a:avLst/>
          </a:prstGeom>
          <a:noFill/>
        </p:spPr>
        <p:txBody>
          <a:bodyPr wrap="square" rtlCol="0">
            <a:spAutoFit/>
          </a:bodyPr>
          <a:lstStyle/>
          <a:p>
            <a:r>
              <a:rPr lang="en-US" sz="800" b="1" dirty="0" smtClean="0"/>
              <a:t>Cloud Control</a:t>
            </a:r>
            <a:endParaRPr lang="en-US" sz="800" b="1" dirty="0"/>
          </a:p>
        </p:txBody>
      </p:sp>
      <p:pic>
        <p:nvPicPr>
          <p:cNvPr id="43" name="Picture 28"/>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5191343" y="2048575"/>
            <a:ext cx="597587" cy="21636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999767" y="1224661"/>
            <a:ext cx="174203" cy="133237"/>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5136938" y="1796706"/>
            <a:ext cx="745691" cy="215444"/>
          </a:xfrm>
          <a:prstGeom prst="rect">
            <a:avLst/>
          </a:prstGeom>
          <a:noFill/>
        </p:spPr>
        <p:txBody>
          <a:bodyPr wrap="square" rtlCol="0">
            <a:spAutoFit/>
          </a:bodyPr>
          <a:lstStyle/>
          <a:p>
            <a:r>
              <a:rPr lang="en-US" sz="800" b="1" dirty="0" smtClean="0"/>
              <a:t>Barcelona</a:t>
            </a:r>
            <a:endParaRPr lang="en-US" sz="800" b="1" dirty="0"/>
          </a:p>
        </p:txBody>
      </p:sp>
      <p:sp>
        <p:nvSpPr>
          <p:cNvPr id="47" name="TextBox 46"/>
          <p:cNvSpPr txBox="1"/>
          <p:nvPr/>
        </p:nvSpPr>
        <p:spPr>
          <a:xfrm>
            <a:off x="1319214" y="3097971"/>
            <a:ext cx="872175" cy="215444"/>
          </a:xfrm>
          <a:prstGeom prst="rect">
            <a:avLst/>
          </a:prstGeom>
          <a:noFill/>
        </p:spPr>
        <p:txBody>
          <a:bodyPr wrap="square" rtlCol="0">
            <a:spAutoFit/>
          </a:bodyPr>
          <a:lstStyle/>
          <a:p>
            <a:r>
              <a:rPr lang="en-US" sz="800" b="1" dirty="0" smtClean="0"/>
              <a:t>Crucible</a:t>
            </a:r>
            <a:endParaRPr lang="en-US" sz="800" b="1" dirty="0"/>
          </a:p>
        </p:txBody>
      </p:sp>
      <p:sp>
        <p:nvSpPr>
          <p:cNvPr id="48" name="Rectangle 47"/>
          <p:cNvSpPr/>
          <p:nvPr/>
        </p:nvSpPr>
        <p:spPr>
          <a:xfrm>
            <a:off x="5908185" y="636569"/>
            <a:ext cx="3103248" cy="2723932"/>
          </a:xfrm>
          <a:prstGeom prst="rec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marL="171450" indent="-171450">
              <a:buFont typeface="Wingdings" panose="05000000000000000000" pitchFamily="2" charset="2"/>
              <a:buChar char="q"/>
            </a:pPr>
            <a:r>
              <a:rPr lang="en-US" sz="1100" dirty="0" smtClean="0"/>
              <a:t>Collaboration Tools like Confluence is not available.</a:t>
            </a:r>
          </a:p>
          <a:p>
            <a:pPr marL="171450" indent="-171450">
              <a:buFont typeface="Wingdings" panose="05000000000000000000" pitchFamily="2" charset="2"/>
              <a:buChar char="q"/>
            </a:pPr>
            <a:r>
              <a:rPr lang="en-US" sz="1100" dirty="0" smtClean="0"/>
              <a:t>Verifying Branching and Merging is taking too much time. </a:t>
            </a:r>
          </a:p>
          <a:p>
            <a:pPr marL="171450" indent="-171450">
              <a:buFont typeface="Wingdings" panose="05000000000000000000" pitchFamily="2" charset="2"/>
              <a:buChar char="q"/>
            </a:pPr>
            <a:r>
              <a:rPr lang="en-US" sz="1100" dirty="0" smtClean="0"/>
              <a:t>Automated Branching and Merging is not in place.</a:t>
            </a:r>
          </a:p>
          <a:p>
            <a:pPr marL="171450" indent="-171450">
              <a:buFont typeface="Wingdings" panose="05000000000000000000" pitchFamily="2" charset="2"/>
              <a:buChar char="q"/>
            </a:pPr>
            <a:r>
              <a:rPr lang="en-US" sz="1100" dirty="0"/>
              <a:t>Unit Test happens before code review.</a:t>
            </a:r>
          </a:p>
          <a:p>
            <a:pPr marL="171450" indent="-171450">
              <a:buFont typeface="Wingdings" panose="05000000000000000000" pitchFamily="2" charset="2"/>
              <a:buChar char="q"/>
            </a:pPr>
            <a:r>
              <a:rPr lang="en-US" sz="1100" dirty="0"/>
              <a:t>Unit Test is not automated</a:t>
            </a:r>
          </a:p>
          <a:p>
            <a:pPr marL="171450" indent="-171450">
              <a:buFont typeface="Wingdings" panose="05000000000000000000" pitchFamily="2" charset="2"/>
              <a:buChar char="q"/>
            </a:pPr>
            <a:r>
              <a:rPr lang="en-US" sz="1100" dirty="0"/>
              <a:t>Artifact Management Tools like Nexus is not used instead SCM Repositories are being </a:t>
            </a:r>
            <a:r>
              <a:rPr lang="en-US" sz="1100" dirty="0" smtClean="0"/>
              <a:t>used</a:t>
            </a:r>
          </a:p>
          <a:p>
            <a:pPr marL="171450" indent="-171450">
              <a:buFont typeface="Wingdings" panose="05000000000000000000" pitchFamily="2" charset="2"/>
              <a:buChar char="q"/>
            </a:pPr>
            <a:r>
              <a:rPr lang="en-US" sz="1100" dirty="0"/>
              <a:t>No Tools for </a:t>
            </a:r>
            <a:r>
              <a:rPr lang="en-US" sz="1100" dirty="0" smtClean="0"/>
              <a:t>Service Virtualization </a:t>
            </a:r>
            <a:r>
              <a:rPr lang="en-US" sz="1100" dirty="0"/>
              <a:t>and Test </a:t>
            </a:r>
            <a:r>
              <a:rPr lang="en-US" sz="1100" dirty="0" smtClean="0"/>
              <a:t>Managements</a:t>
            </a:r>
            <a:endParaRPr lang="en-US" sz="1100" dirty="0"/>
          </a:p>
          <a:p>
            <a:pPr marL="171450" indent="-171450">
              <a:buFont typeface="Wingdings" panose="05000000000000000000" pitchFamily="2" charset="2"/>
              <a:buChar char="q"/>
            </a:pPr>
            <a:r>
              <a:rPr lang="en-US" sz="1100" dirty="0" smtClean="0"/>
              <a:t>Release &amp; Deployment Orchestration is not done</a:t>
            </a:r>
            <a:endParaRPr lang="en-US" sz="1100" dirty="0"/>
          </a:p>
        </p:txBody>
      </p:sp>
      <p:graphicFrame>
        <p:nvGraphicFramePr>
          <p:cNvPr id="49" name="Table 48"/>
          <p:cNvGraphicFramePr>
            <a:graphicFrameLocks noGrp="1"/>
          </p:cNvGraphicFramePr>
          <p:nvPr>
            <p:extLst>
              <p:ext uri="{D42A27DB-BD31-4B8C-83A1-F6EECF244321}">
                <p14:modId xmlns:p14="http://schemas.microsoft.com/office/powerpoint/2010/main" val="438684052"/>
              </p:ext>
            </p:extLst>
          </p:nvPr>
        </p:nvGraphicFramePr>
        <p:xfrm>
          <a:off x="5907778" y="3463188"/>
          <a:ext cx="992627" cy="1348646"/>
        </p:xfrm>
        <a:graphic>
          <a:graphicData uri="http://schemas.openxmlformats.org/drawingml/2006/table">
            <a:tbl>
              <a:tblPr firstRow="1" bandRow="1">
                <a:tableStyleId>{69012ECD-51FC-41F1-AA8D-1B2483CD663E}</a:tableStyleId>
              </a:tblPr>
              <a:tblGrid>
                <a:gridCol w="992627"/>
              </a:tblGrid>
              <a:tr h="203007">
                <a:tc>
                  <a:txBody>
                    <a:bodyPr/>
                    <a:lstStyle/>
                    <a:p>
                      <a:pPr algn="ctr"/>
                      <a:r>
                        <a:rPr lang="en-US" sz="800" dirty="0" smtClean="0"/>
                        <a:t>Technologies</a:t>
                      </a:r>
                      <a:endParaRPr lang="en-US" sz="800" dirty="0">
                        <a:latin typeface="+mn-lt"/>
                      </a:endParaRPr>
                    </a:p>
                  </a:txBody>
                  <a:tcPr marL="51449" marR="51449" marT="34290" marB="34290" anchor="ctr">
                    <a:solidFill>
                      <a:schemeClr val="bg2">
                        <a:lumMod val="50000"/>
                      </a:schemeClr>
                    </a:solidFill>
                  </a:tcPr>
                </a:tc>
              </a:tr>
              <a:tr h="159217">
                <a:tc>
                  <a:txBody>
                    <a:bodyPr/>
                    <a:lstStyle/>
                    <a:p>
                      <a:pPr marL="53975" indent="0" algn="l" fontAlgn="b"/>
                      <a:r>
                        <a:rPr lang="en-US" sz="800" b="0" i="0" u="none" strike="noStrike" dirty="0" smtClean="0">
                          <a:solidFill>
                            <a:schemeClr val="tx1"/>
                          </a:solidFill>
                          <a:effectLst/>
                          <a:latin typeface="+mn-lt"/>
                        </a:rPr>
                        <a:t>Microsoft</a:t>
                      </a:r>
                      <a:r>
                        <a:rPr lang="en-US" sz="800" b="0" i="0" u="none" strike="noStrike" baseline="0" dirty="0" smtClean="0">
                          <a:solidFill>
                            <a:schemeClr val="tx1"/>
                          </a:solidFill>
                          <a:effectLst/>
                          <a:latin typeface="+mn-lt"/>
                        </a:rPr>
                        <a:t> </a:t>
                      </a:r>
                      <a:r>
                        <a:rPr lang="en-US" sz="800" b="0" i="0" u="none" strike="noStrike" baseline="0" dirty="0" err="1" smtClean="0">
                          <a:solidFill>
                            <a:schemeClr val="tx1"/>
                          </a:solidFill>
                          <a:effectLst/>
                          <a:latin typeface="+mn-lt"/>
                        </a:rPr>
                        <a:t>.Net</a:t>
                      </a:r>
                      <a:endParaRPr lang="en-US" sz="800" b="0" i="0" u="none" strike="noStrike" dirty="0">
                        <a:solidFill>
                          <a:schemeClr val="tx1"/>
                        </a:solidFill>
                        <a:effectLst/>
                        <a:latin typeface="+mn-lt"/>
                      </a:endParaRPr>
                    </a:p>
                  </a:txBody>
                  <a:tcPr marL="5360" marR="5360" marT="7144" marB="0" anchor="ctr"/>
                </a:tc>
              </a:tr>
              <a:tr h="176981">
                <a:tc>
                  <a:txBody>
                    <a:bodyPr/>
                    <a:lstStyle/>
                    <a:p>
                      <a:pPr marL="53975" indent="0" algn="l" defTabSz="914400" rtl="0" eaLnBrk="1" fontAlgn="b" latinLnBrk="0" hangingPunct="1"/>
                      <a:r>
                        <a:rPr lang="en-US" sz="800" u="none" strike="noStrike" kern="1200" dirty="0" smtClean="0">
                          <a:solidFill>
                            <a:schemeClr val="tx1"/>
                          </a:solidFill>
                          <a:effectLst/>
                          <a:latin typeface="+mn-lt"/>
                          <a:ea typeface="+mn-ea"/>
                          <a:cs typeface="+mn-cs"/>
                        </a:rPr>
                        <a:t>Windows</a:t>
                      </a:r>
                      <a:endParaRPr lang="en-US" sz="800" u="none" strike="noStrike" kern="1200" dirty="0">
                        <a:solidFill>
                          <a:schemeClr val="tx1"/>
                        </a:solidFill>
                        <a:effectLst/>
                        <a:latin typeface="+mn-lt"/>
                        <a:ea typeface="+mn-ea"/>
                        <a:cs typeface="+mn-cs"/>
                      </a:endParaRPr>
                    </a:p>
                  </a:txBody>
                  <a:tcPr marL="5360" marR="5360" marT="7144" marB="0" anchor="ctr"/>
                </a:tc>
              </a:tr>
              <a:tr h="165919">
                <a:tc>
                  <a:txBody>
                    <a:bodyPr/>
                    <a:lstStyle/>
                    <a:p>
                      <a:pPr marL="53975" indent="0" algn="l" fontAlgn="b"/>
                      <a:r>
                        <a:rPr lang="en-US" sz="800" b="0" i="0" u="none" strike="noStrike" dirty="0" smtClean="0">
                          <a:solidFill>
                            <a:schemeClr val="tx1"/>
                          </a:solidFill>
                          <a:effectLst/>
                          <a:latin typeface="+mn-lt"/>
                        </a:rPr>
                        <a:t>Oracle</a:t>
                      </a:r>
                      <a:endParaRPr lang="en-US" sz="800" b="0" i="0" u="none" strike="noStrike" dirty="0">
                        <a:solidFill>
                          <a:schemeClr val="tx1"/>
                        </a:solidFill>
                        <a:effectLst/>
                        <a:latin typeface="+mn-lt"/>
                      </a:endParaRPr>
                    </a:p>
                  </a:txBody>
                  <a:tcPr marL="5360" marR="5360" marT="7144" marB="0" anchor="ctr"/>
                </a:tc>
              </a:tr>
              <a:tr h="254032">
                <a:tc>
                  <a:txBody>
                    <a:bodyPr/>
                    <a:lstStyle/>
                    <a:p>
                      <a:pPr marL="53975" indent="0" algn="l" fontAlgn="b"/>
                      <a:r>
                        <a:rPr lang="en-US" sz="800" b="0" i="0" u="none" strike="noStrike" dirty="0" smtClean="0">
                          <a:solidFill>
                            <a:schemeClr val="tx1"/>
                          </a:solidFill>
                          <a:effectLst/>
                          <a:latin typeface="+mn-lt"/>
                        </a:rPr>
                        <a:t>Cobol</a:t>
                      </a:r>
                      <a:endParaRPr lang="en-US" sz="800" b="0" i="0" u="none" strike="noStrike" dirty="0">
                        <a:solidFill>
                          <a:schemeClr val="tx1"/>
                        </a:solidFill>
                        <a:effectLst/>
                        <a:latin typeface="+mn-lt"/>
                      </a:endParaRPr>
                    </a:p>
                  </a:txBody>
                  <a:tcPr marL="5360" marR="5360" marT="7144" marB="0" anchor="ctr"/>
                </a:tc>
              </a:tr>
              <a:tr h="194745">
                <a:tc>
                  <a:txBody>
                    <a:bodyPr/>
                    <a:lstStyle/>
                    <a:p>
                      <a:pPr marL="53975" indent="0" algn="l" fontAlgn="b"/>
                      <a:r>
                        <a:rPr lang="en-US" sz="800" b="0" i="0" u="none" strike="noStrike" dirty="0" smtClean="0">
                          <a:solidFill>
                            <a:schemeClr val="tx1"/>
                          </a:solidFill>
                          <a:effectLst/>
                          <a:latin typeface="+mn-lt"/>
                        </a:rPr>
                        <a:t>MQ Series</a:t>
                      </a:r>
                      <a:endParaRPr lang="en-US" sz="800" b="0" i="0" u="none" strike="noStrike" dirty="0">
                        <a:solidFill>
                          <a:schemeClr val="tx1"/>
                        </a:solidFill>
                        <a:effectLst/>
                        <a:latin typeface="+mn-lt"/>
                      </a:endParaRPr>
                    </a:p>
                  </a:txBody>
                  <a:tcPr marL="5360" marR="5360" marT="7144" marB="0" anchor="ctr"/>
                </a:tc>
              </a:tr>
              <a:tr h="194745">
                <a:tc>
                  <a:txBody>
                    <a:bodyPr/>
                    <a:lstStyle/>
                    <a:p>
                      <a:pPr marL="53975" indent="0" algn="l" fontAlgn="b"/>
                      <a:r>
                        <a:rPr lang="en-US" sz="800" b="0" i="0" u="none" strike="noStrike" dirty="0" smtClean="0">
                          <a:solidFill>
                            <a:schemeClr val="tx1"/>
                          </a:solidFill>
                          <a:effectLst/>
                          <a:latin typeface="+mn-lt"/>
                        </a:rPr>
                        <a:t>SQL Server</a:t>
                      </a:r>
                      <a:endParaRPr lang="en-US" sz="800" b="0" i="0" u="none" strike="noStrike" dirty="0">
                        <a:solidFill>
                          <a:schemeClr val="tx1"/>
                        </a:solidFill>
                        <a:effectLst/>
                        <a:latin typeface="+mn-lt"/>
                      </a:endParaRPr>
                    </a:p>
                  </a:txBody>
                  <a:tcPr marL="5360" marR="5360" marT="7144" marB="0" anchor="ctr"/>
                </a:tc>
              </a:tr>
            </a:tbl>
          </a:graphicData>
        </a:graphic>
      </p:graphicFrame>
      <p:sp>
        <p:nvSpPr>
          <p:cNvPr id="44" name="Rectangle 43"/>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50" name="Picture 2" descr="https://www.naranja.com/images/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40399" y="1904427"/>
            <a:ext cx="274262" cy="1311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2844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 </a:t>
            </a:r>
            <a:endParaRPr lang="en-US" dirty="0"/>
          </a:p>
        </p:txBody>
      </p:sp>
      <p:sp>
        <p:nvSpPr>
          <p:cNvPr id="3" name="Title 2"/>
          <p:cNvSpPr>
            <a:spLocks noGrp="1"/>
          </p:cNvSpPr>
          <p:nvPr>
            <p:ph type="title"/>
          </p:nvPr>
        </p:nvSpPr>
        <p:spPr/>
        <p:txBody>
          <a:bodyPr/>
          <a:lstStyle/>
          <a:p>
            <a:r>
              <a:rPr lang="en-US" dirty="0" smtClean="0">
                <a:latin typeface="Segoe UI Light" panose="020B0502040204020203" pitchFamily="34" charset="0"/>
              </a:rPr>
              <a:t>NOL - Over </a:t>
            </a:r>
            <a:r>
              <a:rPr lang="en-US" dirty="0">
                <a:latin typeface="Segoe UI Light" panose="020B0502040204020203" pitchFamily="34" charset="0"/>
              </a:rPr>
              <a:t>all DevOps Maturity </a:t>
            </a:r>
            <a:endParaRPr lang="en-US" dirty="0"/>
          </a:p>
        </p:txBody>
      </p:sp>
      <p:sp>
        <p:nvSpPr>
          <p:cNvPr id="6" name="Rectangle 5"/>
          <p:cNvSpPr/>
          <p:nvPr/>
        </p:nvSpPr>
        <p:spPr>
          <a:xfrm>
            <a:off x="5742001" y="76926"/>
            <a:ext cx="853284" cy="299255"/>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smtClean="0">
                <a:solidFill>
                  <a:prstClr val="white"/>
                </a:solidFill>
              </a:rPr>
              <a:t>Score</a:t>
            </a:r>
            <a:endParaRPr lang="en-US" dirty="0">
              <a:solidFill>
                <a:prstClr val="white"/>
              </a:solidFill>
            </a:endParaRPr>
          </a:p>
        </p:txBody>
      </p:sp>
      <p:sp>
        <p:nvSpPr>
          <p:cNvPr id="7" name="Rectangle 6"/>
          <p:cNvSpPr/>
          <p:nvPr/>
        </p:nvSpPr>
        <p:spPr>
          <a:xfrm>
            <a:off x="6615954" y="66653"/>
            <a:ext cx="853284" cy="309528"/>
          </a:xfrm>
          <a:prstGeom prst="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prstClr val="white"/>
                </a:solidFill>
              </a:rPr>
              <a:t>2</a:t>
            </a:r>
            <a:r>
              <a:rPr lang="en-US" dirty="0" smtClean="0">
                <a:solidFill>
                  <a:prstClr val="white"/>
                </a:solidFill>
              </a:rPr>
              <a:t> </a:t>
            </a:r>
            <a:r>
              <a:rPr lang="en-US" dirty="0">
                <a:solidFill>
                  <a:prstClr val="white"/>
                </a:solidFill>
              </a:rPr>
              <a:t>/ </a:t>
            </a:r>
            <a:r>
              <a:rPr lang="en-US" dirty="0" smtClean="0">
                <a:solidFill>
                  <a:prstClr val="white"/>
                </a:solidFill>
              </a:rPr>
              <a:t>5</a:t>
            </a:r>
            <a:endParaRPr lang="en-US" dirty="0">
              <a:solidFill>
                <a:prstClr val="white"/>
              </a:solidFill>
            </a:endParaRPr>
          </a:p>
        </p:txBody>
      </p:sp>
      <p:sp>
        <p:nvSpPr>
          <p:cNvPr id="8" name="Rectangle 7"/>
          <p:cNvSpPr/>
          <p:nvPr/>
        </p:nvSpPr>
        <p:spPr>
          <a:xfrm>
            <a:off x="7497899" y="59078"/>
            <a:ext cx="1512541" cy="309529"/>
          </a:xfrm>
          <a:prstGeom prst="rect">
            <a:avLst/>
          </a:prstGeom>
          <a:solidFill>
            <a:schemeClr val="accent4"/>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dirty="0" smtClean="0">
                <a:solidFill>
                  <a:prstClr val="white"/>
                </a:solidFill>
              </a:rPr>
              <a:t>Embracing</a:t>
            </a:r>
            <a:endParaRPr lang="en-US" dirty="0">
              <a:solidFill>
                <a:prstClr val="white"/>
              </a:solidFill>
            </a:endParaRPr>
          </a:p>
        </p:txBody>
      </p:sp>
      <p:graphicFrame>
        <p:nvGraphicFramePr>
          <p:cNvPr id="10" name="Chart 9"/>
          <p:cNvGraphicFramePr>
            <a:graphicFrameLocks/>
          </p:cNvGraphicFramePr>
          <p:nvPr>
            <p:extLst>
              <p:ext uri="{D42A27DB-BD31-4B8C-83A1-F6EECF244321}">
                <p14:modId xmlns:p14="http://schemas.microsoft.com/office/powerpoint/2010/main" val="1355261432"/>
              </p:ext>
            </p:extLst>
          </p:nvPr>
        </p:nvGraphicFramePr>
        <p:xfrm>
          <a:off x="107004" y="691046"/>
          <a:ext cx="4464996" cy="39447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a:graphicFrameLocks/>
          </p:cNvGraphicFramePr>
          <p:nvPr>
            <p:extLst>
              <p:ext uri="{D42A27DB-BD31-4B8C-83A1-F6EECF244321}">
                <p14:modId xmlns:p14="http://schemas.microsoft.com/office/powerpoint/2010/main" val="3520033829"/>
              </p:ext>
            </p:extLst>
          </p:nvPr>
        </p:nvGraphicFramePr>
        <p:xfrm>
          <a:off x="4572000" y="691046"/>
          <a:ext cx="4438440" cy="402981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p:cNvSpPr/>
          <p:nvPr/>
        </p:nvSpPr>
        <p:spPr>
          <a:xfrm>
            <a:off x="1642146" y="4640245"/>
            <a:ext cx="882502" cy="409757"/>
          </a:xfrm>
          <a:prstGeom prst="rect">
            <a:avLst/>
          </a:prstGeom>
          <a:solidFill>
            <a:schemeClr val="bg1"/>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pic>
        <p:nvPicPr>
          <p:cNvPr id="12" name="Picture 2" descr="https://www.naranja.com/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46" y="4746625"/>
            <a:ext cx="761591" cy="354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90138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W8aOgMNtEm32FkO0qPMY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_Blank">
  <a:themeElements>
    <a:clrScheme name="cognizant2016">
      <a:dk1>
        <a:srgbClr val="000000"/>
      </a:dk1>
      <a:lt1>
        <a:srgbClr val="FFFFFF"/>
      </a:lt1>
      <a:dk2>
        <a:srgbClr val="50B3CF"/>
      </a:dk2>
      <a:lt2>
        <a:srgbClr val="6DB33F"/>
      </a:lt2>
      <a:accent1>
        <a:srgbClr val="72CDF4"/>
      </a:accent1>
      <a:accent2>
        <a:srgbClr val="387C2C"/>
      </a:accent2>
      <a:accent3>
        <a:srgbClr val="DF701C"/>
      </a:accent3>
      <a:accent4>
        <a:srgbClr val="E1AD00"/>
      </a:accent4>
      <a:accent5>
        <a:srgbClr val="CF87C3"/>
      </a:accent5>
      <a:accent6>
        <a:srgbClr val="C3B6DC"/>
      </a:accent6>
      <a:hlink>
        <a:srgbClr val="0070C0"/>
      </a:hlink>
      <a:folHlink>
        <a:srgbClr val="7131A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runge Texture">
      <a:fillStyleLst>
        <a:solidFill>
          <a:schemeClr val="phClr"/>
        </a:solidFill>
        <a:blipFill rotWithShape="1">
          <a:blip xmlns:r="http://schemas.openxmlformats.org/officeDocument/2006/relationships" r:embed="rId1">
            <a:duotone>
              <a:schemeClr val="phClr">
                <a:tint val="67000"/>
                <a:shade val="65000"/>
              </a:schemeClr>
              <a:schemeClr val="phClr">
                <a:tint val="10000"/>
                <a:satMod val="130000"/>
              </a:schemeClr>
            </a:duotone>
          </a:blip>
          <a:tile tx="0" ty="0" sx="60000" sy="59000" flip="none" algn="b"/>
        </a:blipFill>
        <a:blipFill rotWithShape="1">
          <a:blip xmlns:r="http://schemas.openxmlformats.org/officeDocument/2006/relationships" r:embed="rId1">
            <a:duotone>
              <a:schemeClr val="phClr">
                <a:shade val="30000"/>
                <a:satMod val="115000"/>
              </a:schemeClr>
              <a:schemeClr val="phClr">
                <a:tint val="34000"/>
              </a:schemeClr>
            </a:duotone>
          </a:blip>
          <a:tile tx="0" ty="0" sx="60000" sy="59000" flip="none" algn="b"/>
        </a:blipFill>
      </a:fillStyleLst>
      <a:lnStyleLst>
        <a:ln w="6350" cap="flat" cmpd="sng" algn="ctr">
          <a:solidFill>
            <a:schemeClr val="phClr">
              <a:tint val="70000"/>
            </a:scheme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tlCol="0" anchor="ctr"/>
      <a:lstStyle>
        <a:defPPr algn="ctr">
          <a:defRPr sz="1400" dirty="0"/>
        </a:defPPr>
      </a:lstStyle>
      <a:style>
        <a:lnRef idx="1">
          <a:schemeClr val="accent1"/>
        </a:lnRef>
        <a:fillRef idx="0">
          <a:schemeClr val="accent1"/>
        </a:fillRef>
        <a:effectRef idx="0">
          <a:schemeClr val="accent1"/>
        </a:effectRef>
        <a:fontRef idx="minor">
          <a:schemeClr val="tx1"/>
        </a:fontRef>
      </a:style>
    </a:sp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4620</TotalTime>
  <Words>11900</Words>
  <Application>Microsoft Office PowerPoint</Application>
  <PresentationFormat>On-screen Show (16:9)</PresentationFormat>
  <Paragraphs>1954</Paragraphs>
  <Slides>73</Slides>
  <Notes>16</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73</vt:i4>
      </vt:variant>
    </vt:vector>
  </HeadingPairs>
  <TitlesOfParts>
    <vt:vector size="87" baseType="lpstr">
      <vt:lpstr>Arial Unicode MS</vt:lpstr>
      <vt:lpstr>MS PGothic</vt:lpstr>
      <vt:lpstr>Arial</vt:lpstr>
      <vt:lpstr>Calibri</vt:lpstr>
      <vt:lpstr>Helvetica Neue</vt:lpstr>
      <vt:lpstr>Interstate-Light Normal</vt:lpstr>
      <vt:lpstr>Segoe UI</vt:lpstr>
      <vt:lpstr>Segoe UI Light</vt:lpstr>
      <vt:lpstr>Times New Roman</vt:lpstr>
      <vt:lpstr>Verdana</vt:lpstr>
      <vt:lpstr>Wingdings</vt:lpstr>
      <vt:lpstr>3_Blank</vt:lpstr>
      <vt:lpstr>9_Office Theme</vt:lpstr>
      <vt:lpstr>14_Office Theme</vt:lpstr>
      <vt:lpstr>PowerPoint Presentation</vt:lpstr>
      <vt:lpstr>Context and background</vt:lpstr>
      <vt:lpstr>Current State Maturity Mapping</vt:lpstr>
      <vt:lpstr>PowerPoint Presentation</vt:lpstr>
      <vt:lpstr>Project Current Status</vt:lpstr>
      <vt:lpstr>Phase 1 – Interview Status</vt:lpstr>
      <vt:lpstr>NOL - Artifacts Reviewed</vt:lpstr>
      <vt:lpstr>NOL - Current SDLC Tool State</vt:lpstr>
      <vt:lpstr>NOL - Over all DevOps Maturity </vt:lpstr>
      <vt:lpstr>NOL - Build</vt:lpstr>
      <vt:lpstr>NOL – Build continues</vt:lpstr>
      <vt:lpstr>NOL – Build continues</vt:lpstr>
      <vt:lpstr>NOL – Build continues</vt:lpstr>
      <vt:lpstr>NOL - Deploy</vt:lpstr>
      <vt:lpstr>NOL - Verify</vt:lpstr>
      <vt:lpstr>NOL - Release</vt:lpstr>
      <vt:lpstr>NOL – Measure and Monitor</vt:lpstr>
      <vt:lpstr>NOL – Environment Management</vt:lpstr>
      <vt:lpstr>DevOps Metrics</vt:lpstr>
      <vt:lpstr>NOL CA - Current SDLC Tool State</vt:lpstr>
      <vt:lpstr>NOL CA - Over all DevOps Maturity </vt:lpstr>
      <vt:lpstr>NOL CA - Build</vt:lpstr>
      <vt:lpstr>NOL CA – Build continues</vt:lpstr>
      <vt:lpstr>NOL CA – Build continues</vt:lpstr>
      <vt:lpstr>NOL CA – Build continues</vt:lpstr>
      <vt:lpstr>NOL CA - Deploy</vt:lpstr>
      <vt:lpstr>NOL CA - Verify</vt:lpstr>
      <vt:lpstr>NOL CA - Release</vt:lpstr>
      <vt:lpstr>NOL CA – Measure and Monitor</vt:lpstr>
      <vt:lpstr>NOL CA – Environment Management</vt:lpstr>
      <vt:lpstr>Naranja App - Over all DevOps Maturity </vt:lpstr>
      <vt:lpstr>Naranja App - Current SDLC Tool State</vt:lpstr>
      <vt:lpstr>Naranja App - Build</vt:lpstr>
      <vt:lpstr>Naranja App – Build continues</vt:lpstr>
      <vt:lpstr>Naranja App - Deploy</vt:lpstr>
      <vt:lpstr>Naranja App - Verify</vt:lpstr>
      <vt:lpstr>Naranja App - Release</vt:lpstr>
      <vt:lpstr>Naranja App – Measure and Monitor</vt:lpstr>
      <vt:lpstr>Naranja App  – Environment Management</vt:lpstr>
      <vt:lpstr>Current SDLC Tool State for BPM</vt:lpstr>
      <vt:lpstr>BPM - Over all DevOps Maturity </vt:lpstr>
      <vt:lpstr>BPM - Build</vt:lpstr>
      <vt:lpstr>BPM – Build continues</vt:lpstr>
      <vt:lpstr>BPM – Build continues</vt:lpstr>
      <vt:lpstr>BPM - Deploy</vt:lpstr>
      <vt:lpstr>BPM - Verify</vt:lpstr>
      <vt:lpstr>BPM - Release</vt:lpstr>
      <vt:lpstr>BPM – Measure and Monitor</vt:lpstr>
      <vt:lpstr>BPM – Environment Management</vt:lpstr>
      <vt:lpstr>GEN - Current SDLC Tool State</vt:lpstr>
      <vt:lpstr>GEN - Over all DevOps Maturity </vt:lpstr>
      <vt:lpstr>GEN - Build</vt:lpstr>
      <vt:lpstr>GEN – Build continues</vt:lpstr>
      <vt:lpstr>GEN – Build continues</vt:lpstr>
      <vt:lpstr>GEN - Deploy</vt:lpstr>
      <vt:lpstr>GEN - Verify</vt:lpstr>
      <vt:lpstr>GEN - Release</vt:lpstr>
      <vt:lpstr>GEN – Measure and Monitor</vt:lpstr>
      <vt:lpstr>GEN – Environment Management</vt:lpstr>
      <vt:lpstr>Future State – CI/CD Architecture</vt:lpstr>
      <vt:lpstr>PowerPoint Presentation</vt:lpstr>
      <vt:lpstr>PowerPoint Presentation</vt:lpstr>
      <vt:lpstr>Target CI/CD State – Web App (.NET)</vt:lpstr>
      <vt:lpstr>Target CI/CD State – Web App (Java)</vt:lpstr>
      <vt:lpstr>Target CI/CD State – Mobile App (NodeJS &amp; AngularJS)</vt:lpstr>
      <vt:lpstr>High level summary</vt:lpstr>
      <vt:lpstr>PowerPoint Presentation</vt:lpstr>
      <vt:lpstr>PowerPoint Presentation</vt:lpstr>
      <vt:lpstr>PowerPoint Presentation</vt:lpstr>
      <vt:lpstr>PowerPoint Presentation</vt:lpstr>
      <vt:lpstr> Implementation Roadmap: Short/Mid/Long Term Strategy</vt:lpstr>
      <vt:lpstr> Implementation Roadmap: Short/Mid/Long Term Strategy</vt:lpstr>
      <vt:lpstr> Implementation Roadmap: Short/Mid/Long Term Strateg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hul Joshi</dc:creator>
  <cp:lastModifiedBy>Mathai, Moncy (Cognizant)</cp:lastModifiedBy>
  <cp:revision>2200</cp:revision>
  <dcterms:created xsi:type="dcterms:W3CDTF">2015-06-04T11:47:56Z</dcterms:created>
  <dcterms:modified xsi:type="dcterms:W3CDTF">2018-03-15T14:02:36Z</dcterms:modified>
</cp:coreProperties>
</file>